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svg" ContentType="image/svg+xml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2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1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1.xml" ContentType="application/vnd.openxmlformats-officedocument.presentationml.tags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6" r:id="rId1"/>
  </p:sldMasterIdLst>
  <p:notesMasterIdLst>
    <p:notesMasterId r:id="rId42"/>
  </p:notesMasterIdLst>
  <p:sldIdLst>
    <p:sldId id="414" r:id="rId2"/>
    <p:sldId id="441" r:id="rId3"/>
    <p:sldId id="415" r:id="rId4"/>
    <p:sldId id="419" r:id="rId5"/>
    <p:sldId id="418" r:id="rId6"/>
    <p:sldId id="349" r:id="rId7"/>
    <p:sldId id="431" r:id="rId8"/>
    <p:sldId id="422" r:id="rId9"/>
    <p:sldId id="436" r:id="rId10"/>
    <p:sldId id="437" r:id="rId11"/>
    <p:sldId id="420" r:id="rId12"/>
    <p:sldId id="440" r:id="rId13"/>
    <p:sldId id="432" r:id="rId14"/>
    <p:sldId id="424" r:id="rId15"/>
    <p:sldId id="426" r:id="rId16"/>
    <p:sldId id="342" r:id="rId17"/>
    <p:sldId id="286" r:id="rId18"/>
    <p:sldId id="347" r:id="rId19"/>
    <p:sldId id="348" r:id="rId20"/>
    <p:sldId id="408" r:id="rId21"/>
    <p:sldId id="390" r:id="rId22"/>
    <p:sldId id="392" r:id="rId23"/>
    <p:sldId id="388" r:id="rId24"/>
    <p:sldId id="395" r:id="rId25"/>
    <p:sldId id="393" r:id="rId26"/>
    <p:sldId id="364" r:id="rId27"/>
    <p:sldId id="366" r:id="rId28"/>
    <p:sldId id="367" r:id="rId29"/>
    <p:sldId id="368" r:id="rId30"/>
    <p:sldId id="372" r:id="rId31"/>
    <p:sldId id="396" r:id="rId32"/>
    <p:sldId id="397" r:id="rId33"/>
    <p:sldId id="370" r:id="rId34"/>
    <p:sldId id="373" r:id="rId35"/>
    <p:sldId id="374" r:id="rId36"/>
    <p:sldId id="380" r:id="rId37"/>
    <p:sldId id="379" r:id="rId38"/>
    <p:sldId id="407" r:id="rId39"/>
    <p:sldId id="412" r:id="rId40"/>
    <p:sldId id="434" r:id="rId41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DC8E7"/>
    <a:srgbClr val="BAA266"/>
    <a:srgbClr val="404040"/>
    <a:srgbClr val="FF33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3063" autoAdjust="0"/>
    <p:restoredTop sz="94660"/>
  </p:normalViewPr>
  <p:slideViewPr>
    <p:cSldViewPr snapToGrid="0">
      <p:cViewPr varScale="1">
        <p:scale>
          <a:sx n="83" d="100"/>
          <a:sy n="83" d="100"/>
        </p:scale>
        <p:origin x="-76" y="-156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slide" Target="slides/slide40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1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A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rgbClr val="92D050"/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0-435E-4C8A-8F59-C54E1945FF86}"/>
              </c:ext>
            </c:extLst>
          </c:dPt>
          <c:dPt>
            <c:idx val="1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1-435E-4C8A-8F59-C54E1945FF86}"/>
              </c:ext>
            </c:extLst>
          </c:dPt>
          <c:dPt>
            <c:idx val="2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2-435E-4C8A-8F59-C54E1945FF86}"/>
              </c:ext>
            </c:extLst>
          </c:dPt>
          <c:dPt>
            <c:idx val="3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3-435E-4C8A-8F59-C54E1945FF86}"/>
              </c:ext>
            </c:extLst>
          </c:dPt>
          <c:dPt>
            <c:idx val="5"/>
            <c:bubble3D val="0"/>
          </c:dPt>
          <c:dLbls>
            <c:dLbl>
              <c:idx val="5"/>
              <c:layout>
                <c:manualLayout>
                  <c:x val="-5.1098044674980853E-3"/>
                  <c:y val="-5.225201021094793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2400" b="1">
                    <a:solidFill>
                      <a:schemeClr val="tx1"/>
                    </a:solidFill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7</c:f>
              <c:strCache>
                <c:ptCount val="6"/>
                <c:pt idx="0">
                  <c:v>A</c:v>
                </c:pt>
                <c:pt idx="1">
                  <c:v>B</c:v>
                </c:pt>
                <c:pt idx="2">
                  <c:v>C</c:v>
                </c:pt>
                <c:pt idx="3">
                  <c:v>D</c:v>
                </c:pt>
                <c:pt idx="4">
                  <c:v>D Pratama</c:v>
                </c:pt>
                <c:pt idx="5">
                  <c:v>Non Kelas</c:v>
                </c:pt>
              </c:strCache>
            </c:strRef>
          </c:cat>
          <c:val>
            <c:numRef>
              <c:f>Sheet1!$B$2:$B$7</c:f>
              <c:numCache>
                <c:formatCode>General</c:formatCode>
                <c:ptCount val="6"/>
                <c:pt idx="0">
                  <c:v>63</c:v>
                </c:pt>
                <c:pt idx="1">
                  <c:v>417</c:v>
                </c:pt>
                <c:pt idx="2">
                  <c:v>1449</c:v>
                </c:pt>
                <c:pt idx="3">
                  <c:v>775</c:v>
                </c:pt>
                <c:pt idx="4">
                  <c:v>27</c:v>
                </c:pt>
                <c:pt idx="5">
                  <c:v>74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5-435E-4C8A-8F59-C54E1945FF8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  <c:spPr>
        <a:noFill/>
        <a:ln w="17905">
          <a:noFill/>
        </a:ln>
      </c:spPr>
    </c:plotArea>
    <c:legend>
      <c:legendPos val="b"/>
      <c:layout/>
      <c:overlay val="0"/>
      <c:txPr>
        <a:bodyPr/>
        <a:lstStyle/>
        <a:p>
          <a:pPr>
            <a:defRPr sz="2000">
              <a:solidFill>
                <a:schemeClr val="tx1"/>
              </a:solidFill>
            </a:defRPr>
          </a:pPr>
          <a:endParaRPr lang="en-US"/>
        </a:p>
      </c:txPr>
    </c:legend>
    <c:plotVisOnly val="1"/>
    <c:dispBlanksAs val="zero"/>
    <c:showDLblsOverMax val="0"/>
  </c:chart>
  <c:spPr>
    <a:noFill/>
  </c:spPr>
  <c:txPr>
    <a:bodyPr/>
    <a:lstStyle/>
    <a:p>
      <a:pPr>
        <a:defRPr sz="846">
          <a:solidFill>
            <a:schemeClr val="tx1"/>
          </a:solidFill>
        </a:defRPr>
      </a:pPr>
      <a:endParaRPr lang="en-US"/>
    </a:p>
  </c:txPr>
  <c:externalData r:id="rId1">
    <c:autoUpdate val="0"/>
  </c:externalData>
  <c:userShapes r:id="rId2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A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127071348586129E-3"/>
          <c:y val="0.17320785712260958"/>
          <c:w val="0.97520443033110515"/>
          <c:h val="0.6227412189824670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RUMAH SAKIT</c:v>
                </c:pt>
              </c:strCache>
            </c:strRef>
          </c:tx>
          <c:spPr>
            <a:gradFill rotWithShape="1">
              <a:gsLst>
                <a:gs pos="0">
                  <a:schemeClr val="accent6">
                    <a:satMod val="103000"/>
                    <a:lumMod val="102000"/>
                    <a:tint val="94000"/>
                  </a:schemeClr>
                </a:gs>
                <a:gs pos="50000">
                  <a:schemeClr val="accent6">
                    <a:satMod val="110000"/>
                    <a:lumMod val="100000"/>
                    <a:shade val="100000"/>
                  </a:schemeClr>
                </a:gs>
                <a:gs pos="100000">
                  <a:schemeClr val="accent6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/>
          </c:spPr>
          <c:invertIfNegative val="0"/>
          <c:dPt>
            <c:idx val="4"/>
            <c:invertIfNegative val="0"/>
            <c:bubble3D val="0"/>
            <c:spPr>
              <a:solidFill>
                <a:srgbClr val="76B44D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473F-4ED1-B95A-14954B283097}"/>
              </c:ext>
            </c:extLst>
          </c:dPt>
          <c:dPt>
            <c:idx val="5"/>
            <c:invertIfNegative val="0"/>
            <c:bubble3D val="0"/>
            <c:spPr>
              <a:solidFill>
                <a:srgbClr val="71B346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0-D7D9-4DCA-BC07-FA655D2F5B71}"/>
              </c:ext>
            </c:extLst>
          </c:dPt>
          <c:dPt>
            <c:idx val="6"/>
            <c:invertIfNegative val="0"/>
            <c:bubble3D val="0"/>
            <c:spPr>
              <a:solidFill>
                <a:srgbClr val="71B346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4-AB79-492F-886F-F5FCA807EA51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2400" b="1" i="0" u="none" strike="noStrike" kern="1200" baseline="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2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Sheet1!$A$2:$A$8</c:f>
              <c:numCache>
                <c:formatCode>General</c:formatCode>
                <c:ptCount val="7"/>
                <c:pt idx="0">
                  <c:v>2013</c:v>
                </c:pt>
                <c:pt idx="1">
                  <c:v>2014</c:v>
                </c:pt>
                <c:pt idx="2">
                  <c:v>2015</c:v>
                </c:pt>
                <c:pt idx="3">
                  <c:v>2016</c:v>
                </c:pt>
                <c:pt idx="4">
                  <c:v>2017</c:v>
                </c:pt>
                <c:pt idx="5">
                  <c:v>2018</c:v>
                </c:pt>
                <c:pt idx="6">
                  <c:v>2019</c:v>
                </c:pt>
              </c:numCache>
            </c:numRef>
          </c:cat>
          <c:val>
            <c:numRef>
              <c:f>Sheet1!$B$2:$B$8</c:f>
              <c:numCache>
                <c:formatCode>_(* #,##0_);_(* \(#,##0\);_(* "-"_);_(@_)</c:formatCode>
                <c:ptCount val="7"/>
                <c:pt idx="0">
                  <c:v>2228</c:v>
                </c:pt>
                <c:pt idx="1">
                  <c:v>2406</c:v>
                </c:pt>
                <c:pt idx="2">
                  <c:v>2488</c:v>
                </c:pt>
                <c:pt idx="3">
                  <c:v>2601</c:v>
                </c:pt>
                <c:pt idx="4">
                  <c:v>2776</c:v>
                </c:pt>
                <c:pt idx="5">
                  <c:v>2813</c:v>
                </c:pt>
                <c:pt idx="6">
                  <c:v>280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473F-4ED1-B95A-14954B28309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18"/>
        <c:axId val="173845888"/>
        <c:axId val="173962368"/>
      </c:barChart>
      <c:catAx>
        <c:axId val="17384588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2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2000" b="1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73962368"/>
        <c:crosses val="autoZero"/>
        <c:auto val="1"/>
        <c:lblAlgn val="ctr"/>
        <c:lblOffset val="100"/>
        <c:noMultiLvlLbl val="0"/>
      </c:catAx>
      <c:valAx>
        <c:axId val="173962368"/>
        <c:scaling>
          <c:orientation val="minMax"/>
        </c:scaling>
        <c:delete val="1"/>
        <c:axPos val="l"/>
        <c:numFmt formatCode="_(* #,##0_);_(* \(#,##0\);_(* &quot;-&quot;_);_(@_)" sourceLinked="1"/>
        <c:majorTickMark val="out"/>
        <c:minorTickMark val="none"/>
        <c:tickLblPos val="nextTo"/>
        <c:crossAx val="173845888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800" b="1"/>
      </a:pPr>
      <a:endParaRPr lang="en-US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A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Jumlah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2"/>
            <c:invertIfNegative val="0"/>
            <c:bubble3D val="0"/>
            <c:spPr>
              <a:solidFill>
                <a:srgbClr val="F1A78A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5E37-4189-BC94-5DE84FFB271B}"/>
              </c:ext>
            </c:extLst>
          </c:dPt>
          <c:dPt>
            <c:idx val="3"/>
            <c:invertIfNegative val="0"/>
            <c:bubble3D val="0"/>
            <c:spPr>
              <a:solidFill>
                <a:srgbClr val="E6E6E6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5E37-4189-BC94-5DE84FFB271B}"/>
              </c:ext>
            </c:extLst>
          </c:dPt>
          <c:dPt>
            <c:idx val="4"/>
            <c:invertIfNegative val="0"/>
            <c:bubble3D val="0"/>
            <c:spPr>
              <a:solidFill>
                <a:srgbClr val="929292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5E37-4189-BC94-5DE84FFB271B}"/>
              </c:ext>
            </c:extLst>
          </c:dPt>
          <c:dPt>
            <c:idx val="5"/>
            <c:invertIfNegative val="0"/>
            <c:bubble3D val="0"/>
            <c:spPr>
              <a:solidFill>
                <a:srgbClr val="F1A78A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7-5E37-4189-BC94-5DE84FFB271B}"/>
              </c:ext>
            </c:extLst>
          </c:dPt>
          <c:dPt>
            <c:idx val="6"/>
            <c:invertIfNegative val="0"/>
            <c:bubble3D val="0"/>
            <c:spPr>
              <a:solidFill>
                <a:srgbClr val="D26E2A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9-5E37-4189-BC94-5DE84FFB271B}"/>
              </c:ext>
            </c:extLst>
          </c:dPt>
          <c:dPt>
            <c:idx val="7"/>
            <c:invertIfNegative val="0"/>
            <c:bubble3D val="0"/>
            <c:spPr>
              <a:solidFill>
                <a:srgbClr val="E2AA00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B-5E37-4189-BC94-5DE84FFB271B}"/>
              </c:ext>
            </c:extLst>
          </c:dPt>
          <c:dPt>
            <c:idx val="8"/>
            <c:invertIfNegative val="0"/>
            <c:bubble3D val="0"/>
            <c:spPr>
              <a:solidFill>
                <a:srgbClr val="8FA2D4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D-5E37-4189-BC94-5DE84FFB271B}"/>
              </c:ext>
            </c:extLst>
          </c:dPt>
          <c:dPt>
            <c:idx val="9"/>
            <c:invertIfNegative val="0"/>
            <c:bubble3D val="0"/>
            <c:spPr>
              <a:solidFill>
                <a:srgbClr val="62993E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F-5E37-4189-BC94-5DE84FFB271B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1</c:f>
              <c:strCache>
                <c:ptCount val="10"/>
                <c:pt idx="0">
                  <c:v>KEMENTERIAN LAIN</c:v>
                </c:pt>
                <c:pt idx="1">
                  <c:v>KEMENKES</c:v>
                </c:pt>
                <c:pt idx="2">
                  <c:v>POLRI</c:v>
                </c:pt>
                <c:pt idx="3">
                  <c:v>BUMN</c:v>
                </c:pt>
                <c:pt idx="4">
                  <c:v>PEMDA KOTA</c:v>
                </c:pt>
                <c:pt idx="5">
                  <c:v>TNI</c:v>
                </c:pt>
                <c:pt idx="6">
                  <c:v>PEMDA PROVINSI</c:v>
                </c:pt>
                <c:pt idx="7">
                  <c:v>PEMDA KABUPATEN</c:v>
                </c:pt>
                <c:pt idx="8">
                  <c:v>SWASTA NON PROFIT</c:v>
                </c:pt>
                <c:pt idx="9">
                  <c:v>SWASTA</c:v>
                </c:pt>
              </c:strCache>
            </c:strRef>
          </c:cat>
          <c:val>
            <c:numRef>
              <c:f>Sheet1!$B$2:$B$11</c:f>
              <c:numCache>
                <c:formatCode>_(* #,##0_);_(* \(#,##0\);_(* "-"_);_(@_)</c:formatCode>
                <c:ptCount val="10"/>
                <c:pt idx="0">
                  <c:v>21</c:v>
                </c:pt>
                <c:pt idx="1">
                  <c:v>33</c:v>
                </c:pt>
                <c:pt idx="2">
                  <c:v>45</c:v>
                </c:pt>
                <c:pt idx="3">
                  <c:v>48</c:v>
                </c:pt>
                <c:pt idx="4">
                  <c:v>90</c:v>
                </c:pt>
                <c:pt idx="5">
                  <c:v>119</c:v>
                </c:pt>
                <c:pt idx="6">
                  <c:v>141</c:v>
                </c:pt>
                <c:pt idx="7">
                  <c:v>525</c:v>
                </c:pt>
                <c:pt idx="8">
                  <c:v>560</c:v>
                </c:pt>
                <c:pt idx="9">
                  <c:v>122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10-5E37-4189-BC94-5DE84FFB271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95"/>
        <c:overlap val="60"/>
        <c:axId val="232570880"/>
        <c:axId val="232572416"/>
      </c:barChart>
      <c:catAx>
        <c:axId val="232570880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32572416"/>
        <c:crosses val="autoZero"/>
        <c:auto val="1"/>
        <c:lblAlgn val="ctr"/>
        <c:lblOffset val="100"/>
        <c:noMultiLvlLbl val="0"/>
      </c:catAx>
      <c:valAx>
        <c:axId val="232572416"/>
        <c:scaling>
          <c:orientation val="minMax"/>
        </c:scaling>
        <c:delete val="1"/>
        <c:axPos val="b"/>
        <c:numFmt formatCode="_(* #,##0_);_(* \(#,##0\);_(* &quot;-&quot;_);_(@_)" sourceLinked="1"/>
        <c:majorTickMark val="none"/>
        <c:minorTickMark val="none"/>
        <c:tickLblPos val="nextTo"/>
        <c:crossAx val="23257088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E769DACA-B1EF-4AF8-93BE-59036F691EAC}" type="doc">
      <dgm:prSet loTypeId="urn:microsoft.com/office/officeart/2005/8/layout/orgChart1" loCatId="hierarchy" qsTypeId="urn:microsoft.com/office/officeart/2005/8/quickstyle/simple1" qsCatId="simple" csTypeId="urn:microsoft.com/office/officeart/2005/8/colors/colorful2" csCatId="colorful" phldr="1"/>
      <dgm:spPr/>
      <dgm:t>
        <a:bodyPr/>
        <a:lstStyle/>
        <a:p>
          <a:endParaRPr lang="en-US"/>
        </a:p>
      </dgm:t>
    </dgm:pt>
    <dgm:pt modelId="{EA9E4AE1-6887-4079-B445-01AE2010F60D}">
      <dgm:prSet phldrT="[Text]" custT="1"/>
      <dgm:spPr/>
      <dgm:t>
        <a:bodyPr/>
        <a:lstStyle/>
        <a:p>
          <a:pPr algn="ctr"/>
          <a:r>
            <a:rPr lang="en-AU" sz="2800" b="0" i="0" dirty="0" err="1" smtClean="0"/>
            <a:t>Sistem</a:t>
          </a:r>
          <a:r>
            <a:rPr lang="en-AU" sz="2800" b="0" i="0" dirty="0" smtClean="0"/>
            <a:t> </a:t>
          </a:r>
          <a:r>
            <a:rPr lang="en-AU" sz="2800" b="0" i="0" dirty="0" err="1" smtClean="0"/>
            <a:t>komputerisasi</a:t>
          </a:r>
          <a:r>
            <a:rPr lang="en-AU" sz="2800" b="0" i="0" dirty="0" smtClean="0"/>
            <a:t> yang </a:t>
          </a:r>
          <a:r>
            <a:rPr lang="en-AU" sz="2800" b="0" i="0" dirty="0" err="1" smtClean="0"/>
            <a:t>memproses</a:t>
          </a:r>
          <a:r>
            <a:rPr lang="en-AU" sz="2800" b="0" i="0" dirty="0" smtClean="0"/>
            <a:t> </a:t>
          </a:r>
          <a:r>
            <a:rPr lang="en-AU" sz="2800" b="0" i="0" dirty="0" err="1" smtClean="0"/>
            <a:t>dan</a:t>
          </a:r>
          <a:r>
            <a:rPr lang="en-AU" sz="2800" b="0" i="0" dirty="0" smtClean="0"/>
            <a:t> </a:t>
          </a:r>
          <a:r>
            <a:rPr lang="en-AU" sz="2800" b="0" i="0" dirty="0" err="1" smtClean="0"/>
            <a:t>mengintegrasikan</a:t>
          </a:r>
          <a:r>
            <a:rPr lang="en-AU" sz="2800" b="0" i="0" dirty="0" smtClean="0"/>
            <a:t> </a:t>
          </a:r>
          <a:r>
            <a:rPr lang="en-AU" sz="2800" b="0" i="0" dirty="0" err="1" smtClean="0"/>
            <a:t>seluruh</a:t>
          </a:r>
          <a:r>
            <a:rPr lang="en-AU" sz="2800" b="0" i="0" dirty="0" smtClean="0"/>
            <a:t> </a:t>
          </a:r>
          <a:r>
            <a:rPr lang="en-AU" sz="2800" b="0" i="0" dirty="0" err="1" smtClean="0"/>
            <a:t>alur</a:t>
          </a:r>
          <a:r>
            <a:rPr lang="en-AU" sz="2800" b="0" i="0" dirty="0" smtClean="0"/>
            <a:t> proses </a:t>
          </a:r>
          <a:r>
            <a:rPr lang="en-AU" sz="2800" b="0" i="0" dirty="0" err="1" smtClean="0"/>
            <a:t>bisnis</a:t>
          </a:r>
          <a:r>
            <a:rPr lang="en-AU" sz="2800" b="0" i="0" dirty="0" smtClean="0"/>
            <a:t> di </a:t>
          </a:r>
          <a:r>
            <a:rPr lang="en-AU" sz="2800" b="0" i="0" dirty="0" err="1" smtClean="0"/>
            <a:t>layanan</a:t>
          </a:r>
          <a:r>
            <a:rPr lang="en-AU" sz="2800" b="0" i="0" dirty="0" smtClean="0"/>
            <a:t> </a:t>
          </a:r>
          <a:r>
            <a:rPr lang="en-AU" sz="2800" b="0" i="0" dirty="0" err="1" smtClean="0"/>
            <a:t>kesehatan</a:t>
          </a:r>
          <a:r>
            <a:rPr lang="en-AU" sz="2800" b="0" i="0" dirty="0" smtClean="0"/>
            <a:t> </a:t>
          </a:r>
          <a:r>
            <a:rPr lang="en-AU" sz="2800" b="0" i="0" dirty="0" err="1" smtClean="0"/>
            <a:t>dalam</a:t>
          </a:r>
          <a:r>
            <a:rPr lang="en-AU" sz="2800" b="0" i="0" dirty="0" smtClean="0"/>
            <a:t> </a:t>
          </a:r>
          <a:r>
            <a:rPr lang="en-AU" sz="2800" b="0" i="0" dirty="0" err="1" smtClean="0"/>
            <a:t>bentuk</a:t>
          </a:r>
          <a:r>
            <a:rPr lang="en-AU" sz="2800" b="0" i="0" dirty="0" smtClean="0"/>
            <a:t> </a:t>
          </a:r>
          <a:r>
            <a:rPr lang="en-AU" sz="2800" b="0" i="0" dirty="0" err="1" smtClean="0"/>
            <a:t>koneksi</a:t>
          </a:r>
          <a:r>
            <a:rPr lang="en-AU" sz="2800" b="0" i="0" dirty="0" smtClean="0"/>
            <a:t> </a:t>
          </a:r>
          <a:r>
            <a:rPr lang="en-AU" sz="2800" b="0" i="0" dirty="0" err="1" smtClean="0"/>
            <a:t>jaringan</a:t>
          </a:r>
          <a:r>
            <a:rPr lang="en-AU" sz="2800" b="0" i="0" dirty="0" smtClean="0"/>
            <a:t> , </a:t>
          </a:r>
          <a:r>
            <a:rPr lang="en-AU" sz="2800" b="0" i="0" dirty="0" err="1" smtClean="0"/>
            <a:t>pelaporan</a:t>
          </a:r>
          <a:r>
            <a:rPr lang="en-AU" sz="2800" b="0" i="0" dirty="0" smtClean="0"/>
            <a:t> </a:t>
          </a:r>
          <a:r>
            <a:rPr lang="en-AU" sz="2800" b="0" i="0" dirty="0" err="1" smtClean="0"/>
            <a:t>dan</a:t>
          </a:r>
          <a:r>
            <a:rPr lang="en-AU" sz="2800" b="0" i="0" dirty="0" smtClean="0"/>
            <a:t> </a:t>
          </a:r>
          <a:r>
            <a:rPr lang="en-AU" sz="2800" b="0" i="0" dirty="0" err="1" smtClean="0"/>
            <a:t>prosedur</a:t>
          </a:r>
          <a:r>
            <a:rPr lang="en-AU" sz="2800" b="0" i="0" dirty="0" smtClean="0"/>
            <a:t> </a:t>
          </a:r>
          <a:r>
            <a:rPr lang="en-AU" sz="2800" b="0" i="0" dirty="0" err="1" smtClean="0"/>
            <a:t>administrasi</a:t>
          </a:r>
          <a:r>
            <a:rPr lang="en-AU" sz="2800" b="0" i="0" dirty="0" smtClean="0"/>
            <a:t> </a:t>
          </a:r>
          <a:r>
            <a:rPr lang="en-AU" sz="2800" b="0" i="0" dirty="0" err="1" smtClean="0"/>
            <a:t>untuk</a:t>
          </a:r>
          <a:r>
            <a:rPr lang="en-AU" sz="2800" b="0" i="0" dirty="0" smtClean="0"/>
            <a:t> </a:t>
          </a:r>
          <a:r>
            <a:rPr lang="en-AU" sz="2800" b="0" i="0" dirty="0" err="1" smtClean="0"/>
            <a:t>mendukung</a:t>
          </a:r>
          <a:r>
            <a:rPr lang="en-AU" sz="2800" b="0" i="0" dirty="0" smtClean="0"/>
            <a:t> </a:t>
          </a:r>
          <a:r>
            <a:rPr lang="en-AU" sz="2800" b="0" i="0" dirty="0" err="1" smtClean="0"/>
            <a:t>kinerja</a:t>
          </a:r>
          <a:r>
            <a:rPr lang="en-AU" sz="2800" b="0" i="0" dirty="0" smtClean="0"/>
            <a:t> </a:t>
          </a:r>
          <a:r>
            <a:rPr lang="en-AU" sz="2800" b="0" i="0" dirty="0" err="1" smtClean="0"/>
            <a:t>dan</a:t>
          </a:r>
          <a:r>
            <a:rPr lang="en-AU" sz="2800" b="0" i="0" dirty="0" smtClean="0"/>
            <a:t> </a:t>
          </a:r>
          <a:r>
            <a:rPr lang="en-AU" sz="2800" b="0" i="0" dirty="0" err="1" smtClean="0"/>
            <a:t>memperoleh</a:t>
          </a:r>
          <a:r>
            <a:rPr lang="en-AU" sz="2800" b="0" i="0" dirty="0" smtClean="0"/>
            <a:t> </a:t>
          </a:r>
          <a:r>
            <a:rPr lang="en-AU" sz="2800" b="0" i="0" dirty="0" err="1" smtClean="0"/>
            <a:t>informasi</a:t>
          </a:r>
          <a:r>
            <a:rPr lang="en-AU" sz="2800" b="0" i="0" dirty="0" smtClean="0"/>
            <a:t> </a:t>
          </a:r>
          <a:r>
            <a:rPr lang="en-AU" sz="2800" b="0" i="0" dirty="0" err="1" smtClean="0"/>
            <a:t>secara</a:t>
          </a:r>
          <a:r>
            <a:rPr lang="en-AU" sz="2800" b="0" i="0" dirty="0" smtClean="0"/>
            <a:t> </a:t>
          </a:r>
          <a:r>
            <a:rPr lang="en-AU" sz="2800" b="0" i="0" dirty="0" err="1" smtClean="0"/>
            <a:t>cepat</a:t>
          </a:r>
          <a:r>
            <a:rPr lang="en-AU" sz="2800" b="0" i="0" dirty="0" smtClean="0"/>
            <a:t>, </a:t>
          </a:r>
          <a:r>
            <a:rPr lang="en-AU" sz="2800" b="0" i="0" dirty="0" err="1" smtClean="0"/>
            <a:t>tepat</a:t>
          </a:r>
          <a:r>
            <a:rPr lang="en-AU" sz="2800" b="0" i="0" dirty="0" smtClean="0"/>
            <a:t> </a:t>
          </a:r>
          <a:r>
            <a:rPr lang="en-AU" sz="2800" b="0" i="0" dirty="0" err="1" smtClean="0"/>
            <a:t>dan</a:t>
          </a:r>
          <a:r>
            <a:rPr lang="en-AU" sz="2800" b="0" i="0" dirty="0" smtClean="0"/>
            <a:t> </a:t>
          </a:r>
          <a:r>
            <a:rPr lang="en-AU" sz="2800" b="0" i="0" dirty="0" err="1" smtClean="0"/>
            <a:t>akurat</a:t>
          </a:r>
          <a:endParaRPr lang="en-US" sz="2800" dirty="0"/>
        </a:p>
      </dgm:t>
    </dgm:pt>
    <dgm:pt modelId="{ADBDF6BA-1A62-40DC-A6B7-F96CAFFBFFB0}" type="parTrans" cxnId="{E791F458-CBE7-4123-AD68-916DFD184D56}">
      <dgm:prSet/>
      <dgm:spPr/>
      <dgm:t>
        <a:bodyPr/>
        <a:lstStyle/>
        <a:p>
          <a:endParaRPr lang="en-US" sz="1800"/>
        </a:p>
      </dgm:t>
    </dgm:pt>
    <dgm:pt modelId="{6131DBE3-65AC-419F-9B98-10C527C370C6}" type="sibTrans" cxnId="{E791F458-CBE7-4123-AD68-916DFD184D56}">
      <dgm:prSet/>
      <dgm:spPr/>
      <dgm:t>
        <a:bodyPr/>
        <a:lstStyle/>
        <a:p>
          <a:endParaRPr lang="en-US" sz="1800"/>
        </a:p>
      </dgm:t>
    </dgm:pt>
    <dgm:pt modelId="{21EA34EA-234A-428A-8349-CFA51D3E8302}" type="pres">
      <dgm:prSet presAssocID="{E769DACA-B1EF-4AF8-93BE-59036F691EAC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en-US"/>
        </a:p>
      </dgm:t>
    </dgm:pt>
    <dgm:pt modelId="{66EBDA17-D3C1-4A8C-8E6F-56E41E9546E6}" type="pres">
      <dgm:prSet presAssocID="{EA9E4AE1-6887-4079-B445-01AE2010F60D}" presName="hierRoot1" presStyleCnt="0">
        <dgm:presLayoutVars>
          <dgm:hierBranch val="init"/>
        </dgm:presLayoutVars>
      </dgm:prSet>
      <dgm:spPr/>
    </dgm:pt>
    <dgm:pt modelId="{54FEC13C-05C6-4972-909A-3CFD20E98AA6}" type="pres">
      <dgm:prSet presAssocID="{EA9E4AE1-6887-4079-B445-01AE2010F60D}" presName="rootComposite1" presStyleCnt="0"/>
      <dgm:spPr/>
    </dgm:pt>
    <dgm:pt modelId="{151EBF9E-3221-4E8C-B83C-E9F608BE8A81}" type="pres">
      <dgm:prSet presAssocID="{EA9E4AE1-6887-4079-B445-01AE2010F60D}" presName="rootText1" presStyleLbl="node0" presStyleIdx="0" presStyleCnt="1" custScaleY="67642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09A5817A-968F-454B-BE8B-22C8B885848B}" type="pres">
      <dgm:prSet presAssocID="{EA9E4AE1-6887-4079-B445-01AE2010F60D}" presName="rootConnector1" presStyleLbl="node1" presStyleIdx="0" presStyleCnt="0"/>
      <dgm:spPr/>
      <dgm:t>
        <a:bodyPr/>
        <a:lstStyle/>
        <a:p>
          <a:endParaRPr lang="en-US"/>
        </a:p>
      </dgm:t>
    </dgm:pt>
    <dgm:pt modelId="{AAF9BAF5-73B2-4539-8E9C-50C3D7D0212F}" type="pres">
      <dgm:prSet presAssocID="{EA9E4AE1-6887-4079-B445-01AE2010F60D}" presName="hierChild2" presStyleCnt="0"/>
      <dgm:spPr/>
    </dgm:pt>
    <dgm:pt modelId="{F1490768-A152-4346-9EA4-90BAE3805DE4}" type="pres">
      <dgm:prSet presAssocID="{EA9E4AE1-6887-4079-B445-01AE2010F60D}" presName="hierChild3" presStyleCnt="0"/>
      <dgm:spPr/>
    </dgm:pt>
  </dgm:ptLst>
  <dgm:cxnLst>
    <dgm:cxn modelId="{467AF60B-3E0E-4B25-8C84-8F4118A8C12C}" type="presOf" srcId="{EA9E4AE1-6887-4079-B445-01AE2010F60D}" destId="{09A5817A-968F-454B-BE8B-22C8B885848B}" srcOrd="1" destOrd="0" presId="urn:microsoft.com/office/officeart/2005/8/layout/orgChart1"/>
    <dgm:cxn modelId="{E791F458-CBE7-4123-AD68-916DFD184D56}" srcId="{E769DACA-B1EF-4AF8-93BE-59036F691EAC}" destId="{EA9E4AE1-6887-4079-B445-01AE2010F60D}" srcOrd="0" destOrd="0" parTransId="{ADBDF6BA-1A62-40DC-A6B7-F96CAFFBFFB0}" sibTransId="{6131DBE3-65AC-419F-9B98-10C527C370C6}"/>
    <dgm:cxn modelId="{C5DEA737-08DB-4323-A514-8F16EF256FC3}" type="presOf" srcId="{EA9E4AE1-6887-4079-B445-01AE2010F60D}" destId="{151EBF9E-3221-4E8C-B83C-E9F608BE8A81}" srcOrd="0" destOrd="0" presId="urn:microsoft.com/office/officeart/2005/8/layout/orgChart1"/>
    <dgm:cxn modelId="{0B711D0A-15E2-4468-AC6F-6E91F78D6547}" type="presOf" srcId="{E769DACA-B1EF-4AF8-93BE-59036F691EAC}" destId="{21EA34EA-234A-428A-8349-CFA51D3E8302}" srcOrd="0" destOrd="0" presId="urn:microsoft.com/office/officeart/2005/8/layout/orgChart1"/>
    <dgm:cxn modelId="{F530115F-8D7E-4501-BA14-6236F1AF31E5}" type="presParOf" srcId="{21EA34EA-234A-428A-8349-CFA51D3E8302}" destId="{66EBDA17-D3C1-4A8C-8E6F-56E41E9546E6}" srcOrd="0" destOrd="0" presId="urn:microsoft.com/office/officeart/2005/8/layout/orgChart1"/>
    <dgm:cxn modelId="{9E72C15C-C77E-4D98-8562-38BC100684D3}" type="presParOf" srcId="{66EBDA17-D3C1-4A8C-8E6F-56E41E9546E6}" destId="{54FEC13C-05C6-4972-909A-3CFD20E98AA6}" srcOrd="0" destOrd="0" presId="urn:microsoft.com/office/officeart/2005/8/layout/orgChart1"/>
    <dgm:cxn modelId="{3D6BDEEE-9CD3-4C0B-987A-FA61396E287D}" type="presParOf" srcId="{54FEC13C-05C6-4972-909A-3CFD20E98AA6}" destId="{151EBF9E-3221-4E8C-B83C-E9F608BE8A81}" srcOrd="0" destOrd="0" presId="urn:microsoft.com/office/officeart/2005/8/layout/orgChart1"/>
    <dgm:cxn modelId="{D3CCCE7E-BE80-410F-9913-CD6FC7287B9F}" type="presParOf" srcId="{54FEC13C-05C6-4972-909A-3CFD20E98AA6}" destId="{09A5817A-968F-454B-BE8B-22C8B885848B}" srcOrd="1" destOrd="0" presId="urn:microsoft.com/office/officeart/2005/8/layout/orgChart1"/>
    <dgm:cxn modelId="{5A7081B0-2F0D-4811-9224-A6C205EB59B3}" type="presParOf" srcId="{66EBDA17-D3C1-4A8C-8E6F-56E41E9546E6}" destId="{AAF9BAF5-73B2-4539-8E9C-50C3D7D0212F}" srcOrd="1" destOrd="0" presId="urn:microsoft.com/office/officeart/2005/8/layout/orgChart1"/>
    <dgm:cxn modelId="{E5852DD5-E364-4870-A55A-1EB70B1C47C6}" type="presParOf" srcId="{66EBDA17-D3C1-4A8C-8E6F-56E41E9546E6}" destId="{F1490768-A152-4346-9EA4-90BAE3805DE4}" srcOrd="2" destOrd="0" presId="urn:microsoft.com/office/officeart/2005/8/layout/orgChar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49B5AE6A-75DD-412B-866C-787A7AC280CD}" type="doc">
      <dgm:prSet loTypeId="urn:microsoft.com/office/officeart/2005/8/layout/list1" loCatId="list" qsTypeId="urn:microsoft.com/office/officeart/2005/8/quickstyle/simple1" qsCatId="simple" csTypeId="urn:microsoft.com/office/officeart/2005/8/colors/colorful5" csCatId="colorful" phldr="1"/>
      <dgm:spPr/>
      <dgm:t>
        <a:bodyPr/>
        <a:lstStyle/>
        <a:p>
          <a:endParaRPr lang="en-GB"/>
        </a:p>
      </dgm:t>
    </dgm:pt>
    <dgm:pt modelId="{240D2817-9B6A-4214-B392-40E277CF25EB}">
      <dgm:prSet custT="1"/>
      <dgm:spPr>
        <a:solidFill>
          <a:srgbClr val="002060"/>
        </a:solidFill>
      </dgm:spPr>
      <dgm:t>
        <a:bodyPr/>
        <a:lstStyle/>
        <a:p>
          <a:r>
            <a:rPr lang="id-ID" sz="2800" dirty="0"/>
            <a:t>Meningkatkan efisiensi, efektivitas, profesionalisme, kinerja, serta akses dan pelayanan Rumah </a:t>
          </a:r>
          <a:r>
            <a:rPr lang="id-ID" sz="2800" dirty="0" smtClean="0"/>
            <a:t>Sakit</a:t>
          </a:r>
          <a:r>
            <a:rPr lang="en-AU" sz="2800" dirty="0" smtClean="0"/>
            <a:t> </a:t>
          </a:r>
          <a:r>
            <a:rPr lang="en-AU" sz="2800" i="1" dirty="0" smtClean="0">
              <a:solidFill>
                <a:srgbClr val="FFFF00"/>
              </a:solidFill>
            </a:rPr>
            <a:t>(</a:t>
          </a:r>
          <a:r>
            <a:rPr lang="en-AU" sz="2800" i="1" dirty="0" err="1" smtClean="0">
              <a:solidFill>
                <a:srgbClr val="FFFF00"/>
              </a:solidFill>
            </a:rPr>
            <a:t>Rekam</a:t>
          </a:r>
          <a:r>
            <a:rPr lang="en-AU" sz="2800" i="1" dirty="0" smtClean="0">
              <a:solidFill>
                <a:srgbClr val="FFFF00"/>
              </a:solidFill>
            </a:rPr>
            <a:t> </a:t>
          </a:r>
          <a:r>
            <a:rPr lang="en-AU" sz="2800" i="1" dirty="0" err="1" smtClean="0">
              <a:solidFill>
                <a:srgbClr val="FFFF00"/>
              </a:solidFill>
            </a:rPr>
            <a:t>medis</a:t>
          </a:r>
          <a:r>
            <a:rPr lang="en-AU" sz="2800" i="1" dirty="0" smtClean="0">
              <a:solidFill>
                <a:srgbClr val="FFFF00"/>
              </a:solidFill>
            </a:rPr>
            <a:t> </a:t>
          </a:r>
          <a:r>
            <a:rPr lang="en-AU" sz="2800" i="1" dirty="0" err="1" smtClean="0">
              <a:solidFill>
                <a:srgbClr val="FFFF00"/>
              </a:solidFill>
            </a:rPr>
            <a:t>elektronik</a:t>
          </a:r>
          <a:r>
            <a:rPr lang="en-AU" sz="2800" i="1" dirty="0" smtClean="0">
              <a:solidFill>
                <a:srgbClr val="FFFF00"/>
              </a:solidFill>
            </a:rPr>
            <a:t>, </a:t>
          </a:r>
          <a:r>
            <a:rPr lang="en-AU" sz="2800" i="1" dirty="0" err="1" smtClean="0">
              <a:solidFill>
                <a:srgbClr val="FFFF00"/>
              </a:solidFill>
            </a:rPr>
            <a:t>Resep</a:t>
          </a:r>
          <a:r>
            <a:rPr lang="en-AU" sz="2800" i="1" dirty="0" smtClean="0">
              <a:solidFill>
                <a:srgbClr val="FFFF00"/>
              </a:solidFill>
            </a:rPr>
            <a:t> </a:t>
          </a:r>
          <a:r>
            <a:rPr lang="en-AU" sz="2800" i="1" dirty="0" err="1" smtClean="0">
              <a:solidFill>
                <a:srgbClr val="FFFF00"/>
              </a:solidFill>
            </a:rPr>
            <a:t>Elektronik</a:t>
          </a:r>
          <a:r>
            <a:rPr lang="en-AU" sz="2800" i="1" dirty="0" smtClean="0">
              <a:solidFill>
                <a:srgbClr val="FFFF00"/>
              </a:solidFill>
            </a:rPr>
            <a:t>, </a:t>
          </a:r>
          <a:r>
            <a:rPr lang="en-AU" sz="2800" i="1" dirty="0" err="1" smtClean="0">
              <a:solidFill>
                <a:srgbClr val="FFFF00"/>
              </a:solidFill>
            </a:rPr>
            <a:t>Arsip</a:t>
          </a:r>
          <a:r>
            <a:rPr lang="en-AU" sz="2800" i="1" dirty="0" smtClean="0">
              <a:solidFill>
                <a:srgbClr val="FFFF00"/>
              </a:solidFill>
            </a:rPr>
            <a:t> Digital, </a:t>
          </a:r>
          <a:r>
            <a:rPr lang="en-AU" sz="2800" i="1" dirty="0" err="1" smtClean="0">
              <a:solidFill>
                <a:srgbClr val="FFFF00"/>
              </a:solidFill>
            </a:rPr>
            <a:t>Pengolahan</a:t>
          </a:r>
          <a:r>
            <a:rPr lang="en-AU" sz="2800" i="1" dirty="0" smtClean="0">
              <a:solidFill>
                <a:srgbClr val="FFFF00"/>
              </a:solidFill>
            </a:rPr>
            <a:t> </a:t>
          </a:r>
          <a:r>
            <a:rPr lang="en-AU" sz="2800" i="1" dirty="0" err="1" smtClean="0">
              <a:solidFill>
                <a:srgbClr val="FFFF00"/>
              </a:solidFill>
            </a:rPr>
            <a:t>citra</a:t>
          </a:r>
          <a:r>
            <a:rPr lang="en-AU" sz="2800" i="1" dirty="0" smtClean="0">
              <a:solidFill>
                <a:srgbClr val="FFFF00"/>
              </a:solidFill>
            </a:rPr>
            <a:t> </a:t>
          </a:r>
          <a:r>
            <a:rPr lang="en-AU" sz="2800" i="1" dirty="0" err="1" smtClean="0">
              <a:solidFill>
                <a:srgbClr val="FFFF00"/>
              </a:solidFill>
            </a:rPr>
            <a:t>radiologi</a:t>
          </a:r>
          <a:r>
            <a:rPr lang="en-AU" sz="2800" i="1" dirty="0" smtClean="0">
              <a:solidFill>
                <a:srgbClr val="FFFF00"/>
              </a:solidFill>
            </a:rPr>
            <a:t>, INA-CBGS)</a:t>
          </a:r>
          <a:endParaRPr lang="en-GB" sz="2800" i="1" dirty="0">
            <a:solidFill>
              <a:srgbClr val="FFFF00"/>
            </a:solidFill>
          </a:endParaRPr>
        </a:p>
      </dgm:t>
    </dgm:pt>
    <dgm:pt modelId="{18E4A229-AACD-4C08-97A5-5BFFDD5B4E84}" type="parTrans" cxnId="{7227C6BF-630B-4D57-9103-FD6A6DCFFD8C}">
      <dgm:prSet/>
      <dgm:spPr/>
      <dgm:t>
        <a:bodyPr/>
        <a:lstStyle/>
        <a:p>
          <a:endParaRPr lang="en-GB" sz="2800"/>
        </a:p>
      </dgm:t>
    </dgm:pt>
    <dgm:pt modelId="{EF3F7678-B804-4DCC-B60A-55EB241E174B}" type="sibTrans" cxnId="{7227C6BF-630B-4D57-9103-FD6A6DCFFD8C}">
      <dgm:prSet/>
      <dgm:spPr/>
      <dgm:t>
        <a:bodyPr/>
        <a:lstStyle/>
        <a:p>
          <a:endParaRPr lang="en-GB" sz="2800"/>
        </a:p>
      </dgm:t>
    </dgm:pt>
    <dgm:pt modelId="{DB2A3323-CC76-4191-BC6F-0A0F2EF9EFEB}">
      <dgm:prSet custT="1"/>
      <dgm:spPr>
        <a:solidFill>
          <a:srgbClr val="002060"/>
        </a:solidFill>
      </dgm:spPr>
      <dgm:t>
        <a:bodyPr/>
        <a:lstStyle/>
        <a:p>
          <a:r>
            <a:rPr lang="id-ID" sz="2800" dirty="0"/>
            <a:t>SIMRS </a:t>
          </a:r>
          <a:r>
            <a:rPr lang="id-ID" sz="2800" dirty="0" smtClean="0"/>
            <a:t>dapat </a:t>
          </a:r>
          <a:r>
            <a:rPr lang="id-ID" sz="2800" dirty="0"/>
            <a:t>diintegrasikan dengan program pemerintah atau pemda </a:t>
          </a:r>
          <a:r>
            <a:rPr lang="en-AU" sz="2800" i="1" dirty="0" smtClean="0">
              <a:solidFill>
                <a:srgbClr val="FFFF00"/>
              </a:solidFill>
            </a:rPr>
            <a:t>(JAMKESMAS, JAMSOSTEK, ASKES,SPGDT,SISRUTE </a:t>
          </a:r>
          <a:r>
            <a:rPr lang="en-AU" sz="2800" i="1" dirty="0" err="1" smtClean="0">
              <a:solidFill>
                <a:srgbClr val="FFFF00"/>
              </a:solidFill>
            </a:rPr>
            <a:t>dan</a:t>
          </a:r>
          <a:r>
            <a:rPr lang="en-AU" sz="2800" i="1" dirty="0" smtClean="0">
              <a:solidFill>
                <a:srgbClr val="FFFF00"/>
              </a:solidFill>
            </a:rPr>
            <a:t> </a:t>
          </a:r>
          <a:r>
            <a:rPr lang="en-AU" sz="2800" i="1" dirty="0" err="1" smtClean="0">
              <a:solidFill>
                <a:srgbClr val="FFFF00"/>
              </a:solidFill>
            </a:rPr>
            <a:t>Asuransi</a:t>
          </a:r>
          <a:r>
            <a:rPr lang="en-AU" sz="2800" i="1" dirty="0" smtClean="0">
              <a:solidFill>
                <a:srgbClr val="FFFF00"/>
              </a:solidFill>
            </a:rPr>
            <a:t> </a:t>
          </a:r>
          <a:r>
            <a:rPr lang="en-AU" sz="2800" i="1" dirty="0" err="1" smtClean="0">
              <a:solidFill>
                <a:srgbClr val="FFFF00"/>
              </a:solidFill>
            </a:rPr>
            <a:t>lainnya</a:t>
          </a:r>
          <a:r>
            <a:rPr lang="en-AU" sz="2800" i="1" dirty="0" smtClean="0">
              <a:solidFill>
                <a:srgbClr val="FFFF00"/>
              </a:solidFill>
            </a:rPr>
            <a:t> ) </a:t>
          </a:r>
          <a:endParaRPr lang="en-GB" sz="2800" i="1" dirty="0">
            <a:solidFill>
              <a:srgbClr val="FFFF00"/>
            </a:solidFill>
          </a:endParaRPr>
        </a:p>
      </dgm:t>
    </dgm:pt>
    <dgm:pt modelId="{39A56E5D-6FF9-4E68-996D-9512B2B568FE}" type="parTrans" cxnId="{9F3B2C1D-5EA6-4F85-9E9F-19AD5483265A}">
      <dgm:prSet/>
      <dgm:spPr/>
      <dgm:t>
        <a:bodyPr/>
        <a:lstStyle/>
        <a:p>
          <a:endParaRPr lang="en-GB" sz="2800"/>
        </a:p>
      </dgm:t>
    </dgm:pt>
    <dgm:pt modelId="{1227271C-4590-45F5-A33D-7962694FB9BD}" type="sibTrans" cxnId="{9F3B2C1D-5EA6-4F85-9E9F-19AD5483265A}">
      <dgm:prSet/>
      <dgm:spPr/>
      <dgm:t>
        <a:bodyPr/>
        <a:lstStyle/>
        <a:p>
          <a:endParaRPr lang="en-GB" sz="2800"/>
        </a:p>
      </dgm:t>
    </dgm:pt>
    <dgm:pt modelId="{DF26B370-B912-4B91-9762-9240C4D33D5D}">
      <dgm:prSet custT="1"/>
      <dgm:spPr>
        <a:solidFill>
          <a:srgbClr val="002060"/>
        </a:solidFill>
      </dgm:spPr>
      <dgm:t>
        <a:bodyPr/>
        <a:lstStyle/>
        <a:p>
          <a:r>
            <a:rPr lang="en-AU" sz="2800" dirty="0" err="1" smtClean="0"/>
            <a:t>Memiliki</a:t>
          </a:r>
          <a:r>
            <a:rPr lang="en-AU" sz="2800" dirty="0" smtClean="0"/>
            <a:t> </a:t>
          </a:r>
          <a:r>
            <a:rPr lang="en-AU" sz="2800" dirty="0" err="1" smtClean="0"/>
            <a:t>fitur</a:t>
          </a:r>
          <a:r>
            <a:rPr lang="en-AU" sz="2800" dirty="0" smtClean="0"/>
            <a:t> </a:t>
          </a:r>
          <a:r>
            <a:rPr lang="id-ID" sz="2800" dirty="0" smtClean="0"/>
            <a:t>: </a:t>
          </a:r>
          <a:r>
            <a:rPr lang="id-ID" sz="2800" i="1" dirty="0"/>
            <a:t>Front Office</a:t>
          </a:r>
          <a:r>
            <a:rPr lang="id-ID" sz="2800" dirty="0"/>
            <a:t>, </a:t>
          </a:r>
          <a:r>
            <a:rPr lang="id-ID" sz="2800" i="1" dirty="0"/>
            <a:t>Back Office</a:t>
          </a:r>
          <a:r>
            <a:rPr lang="id-ID" sz="2800" dirty="0"/>
            <a:t>, integrasi</a:t>
          </a:r>
          <a:endParaRPr lang="en-GB" sz="2800" dirty="0"/>
        </a:p>
      </dgm:t>
    </dgm:pt>
    <dgm:pt modelId="{A2C68936-4AD5-4E66-8B6C-078F9ADFA40F}" type="parTrans" cxnId="{22B388E4-CE3A-4206-8373-284CE01381CC}">
      <dgm:prSet/>
      <dgm:spPr/>
      <dgm:t>
        <a:bodyPr/>
        <a:lstStyle/>
        <a:p>
          <a:endParaRPr lang="en-GB" sz="2800"/>
        </a:p>
      </dgm:t>
    </dgm:pt>
    <dgm:pt modelId="{A8273827-9DB7-49E1-A636-745A8C68DC39}" type="sibTrans" cxnId="{22B388E4-CE3A-4206-8373-284CE01381CC}">
      <dgm:prSet/>
      <dgm:spPr/>
      <dgm:t>
        <a:bodyPr/>
        <a:lstStyle/>
        <a:p>
          <a:endParaRPr lang="en-GB" sz="2800"/>
        </a:p>
      </dgm:t>
    </dgm:pt>
    <dgm:pt modelId="{FD416C43-5488-43F3-A48A-05FCDC69E80F}" type="pres">
      <dgm:prSet presAssocID="{49B5AE6A-75DD-412B-866C-787A7AC280CD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AU"/>
        </a:p>
      </dgm:t>
    </dgm:pt>
    <dgm:pt modelId="{82F01B1D-9093-44EE-846E-EE51B2133706}" type="pres">
      <dgm:prSet presAssocID="{240D2817-9B6A-4214-B392-40E277CF25EB}" presName="parentLin" presStyleCnt="0"/>
      <dgm:spPr/>
    </dgm:pt>
    <dgm:pt modelId="{C85646C1-E6E2-4438-9BFE-262B093D5F28}" type="pres">
      <dgm:prSet presAssocID="{240D2817-9B6A-4214-B392-40E277CF25EB}" presName="parentLeftMargin" presStyleLbl="node1" presStyleIdx="0" presStyleCnt="3"/>
      <dgm:spPr/>
      <dgm:t>
        <a:bodyPr/>
        <a:lstStyle/>
        <a:p>
          <a:endParaRPr lang="en-AU"/>
        </a:p>
      </dgm:t>
    </dgm:pt>
    <dgm:pt modelId="{15226E55-9324-4BAA-B3AB-821622D96D98}" type="pres">
      <dgm:prSet presAssocID="{240D2817-9B6A-4214-B392-40E277CF25EB}" presName="parentText" presStyleLbl="node1" presStyleIdx="0" presStyleCnt="3" custScaleX="142857" custScaleY="183174" custLinFactNeighborX="4872" custLinFactNeighborY="-2766">
        <dgm:presLayoutVars>
          <dgm:chMax val="0"/>
          <dgm:bulletEnabled val="1"/>
        </dgm:presLayoutVars>
      </dgm:prSet>
      <dgm:spPr/>
      <dgm:t>
        <a:bodyPr/>
        <a:lstStyle/>
        <a:p>
          <a:endParaRPr lang="en-AU"/>
        </a:p>
      </dgm:t>
    </dgm:pt>
    <dgm:pt modelId="{29CC0D7A-CBA5-4626-BAE9-8671D9646FD9}" type="pres">
      <dgm:prSet presAssocID="{240D2817-9B6A-4214-B392-40E277CF25EB}" presName="negativeSpace" presStyleCnt="0"/>
      <dgm:spPr/>
    </dgm:pt>
    <dgm:pt modelId="{CA2DF4EF-8804-49FA-8D90-829F9845034F}" type="pres">
      <dgm:prSet presAssocID="{240D2817-9B6A-4214-B392-40E277CF25EB}" presName="childText" presStyleLbl="conFgAcc1" presStyleIdx="0" presStyleCnt="3">
        <dgm:presLayoutVars>
          <dgm:bulletEnabled val="1"/>
        </dgm:presLayoutVars>
      </dgm:prSet>
      <dgm:spPr/>
    </dgm:pt>
    <dgm:pt modelId="{54A09A78-24FE-4D7E-B1BC-B6DF8D0E9085}" type="pres">
      <dgm:prSet presAssocID="{EF3F7678-B804-4DCC-B60A-55EB241E174B}" presName="spaceBetweenRectangles" presStyleCnt="0"/>
      <dgm:spPr/>
    </dgm:pt>
    <dgm:pt modelId="{B51B5A48-3E61-4043-BFBA-15CAF17FBCA8}" type="pres">
      <dgm:prSet presAssocID="{DB2A3323-CC76-4191-BC6F-0A0F2EF9EFEB}" presName="parentLin" presStyleCnt="0"/>
      <dgm:spPr/>
    </dgm:pt>
    <dgm:pt modelId="{CD2C6254-84B2-45E6-AD23-1C922DFC5095}" type="pres">
      <dgm:prSet presAssocID="{DB2A3323-CC76-4191-BC6F-0A0F2EF9EFEB}" presName="parentLeftMargin" presStyleLbl="node1" presStyleIdx="0" presStyleCnt="3"/>
      <dgm:spPr/>
      <dgm:t>
        <a:bodyPr/>
        <a:lstStyle/>
        <a:p>
          <a:endParaRPr lang="en-AU"/>
        </a:p>
      </dgm:t>
    </dgm:pt>
    <dgm:pt modelId="{97ABD287-DA62-4638-AA69-A8C9138F42A6}" type="pres">
      <dgm:prSet presAssocID="{DB2A3323-CC76-4191-BC6F-0A0F2EF9EFEB}" presName="parentText" presStyleLbl="node1" presStyleIdx="1" presStyleCnt="3" custScaleX="141531" custScaleY="142874">
        <dgm:presLayoutVars>
          <dgm:chMax val="0"/>
          <dgm:bulletEnabled val="1"/>
        </dgm:presLayoutVars>
      </dgm:prSet>
      <dgm:spPr/>
      <dgm:t>
        <a:bodyPr/>
        <a:lstStyle/>
        <a:p>
          <a:endParaRPr lang="en-AU"/>
        </a:p>
      </dgm:t>
    </dgm:pt>
    <dgm:pt modelId="{D32972F1-003B-4C85-BA7D-D264BCA55750}" type="pres">
      <dgm:prSet presAssocID="{DB2A3323-CC76-4191-BC6F-0A0F2EF9EFEB}" presName="negativeSpace" presStyleCnt="0"/>
      <dgm:spPr/>
    </dgm:pt>
    <dgm:pt modelId="{59F3E31F-7164-4D81-8F12-AB7143709CCE}" type="pres">
      <dgm:prSet presAssocID="{DB2A3323-CC76-4191-BC6F-0A0F2EF9EFEB}" presName="childText" presStyleLbl="conFgAcc1" presStyleIdx="1" presStyleCnt="3">
        <dgm:presLayoutVars>
          <dgm:bulletEnabled val="1"/>
        </dgm:presLayoutVars>
      </dgm:prSet>
      <dgm:spPr/>
    </dgm:pt>
    <dgm:pt modelId="{F44CD70C-08F3-4584-969F-F8DC3134E8AB}" type="pres">
      <dgm:prSet presAssocID="{1227271C-4590-45F5-A33D-7962694FB9BD}" presName="spaceBetweenRectangles" presStyleCnt="0"/>
      <dgm:spPr/>
    </dgm:pt>
    <dgm:pt modelId="{572DBA96-A9E7-4478-B12F-13DC6E996348}" type="pres">
      <dgm:prSet presAssocID="{DF26B370-B912-4B91-9762-9240C4D33D5D}" presName="parentLin" presStyleCnt="0"/>
      <dgm:spPr/>
    </dgm:pt>
    <dgm:pt modelId="{A832F3F4-CA61-4BD6-ABA7-CA97FDC556EB}" type="pres">
      <dgm:prSet presAssocID="{DF26B370-B912-4B91-9762-9240C4D33D5D}" presName="parentLeftMargin" presStyleLbl="node1" presStyleIdx="1" presStyleCnt="3"/>
      <dgm:spPr/>
      <dgm:t>
        <a:bodyPr/>
        <a:lstStyle/>
        <a:p>
          <a:endParaRPr lang="en-AU"/>
        </a:p>
      </dgm:t>
    </dgm:pt>
    <dgm:pt modelId="{F3440C03-4BDC-4D8F-A7AE-F366A7EFE140}" type="pres">
      <dgm:prSet presAssocID="{DF26B370-B912-4B91-9762-9240C4D33D5D}" presName="parentText" presStyleLbl="node1" presStyleIdx="2" presStyleCnt="3" custScaleX="137665">
        <dgm:presLayoutVars>
          <dgm:chMax val="0"/>
          <dgm:bulletEnabled val="1"/>
        </dgm:presLayoutVars>
      </dgm:prSet>
      <dgm:spPr/>
      <dgm:t>
        <a:bodyPr/>
        <a:lstStyle/>
        <a:p>
          <a:endParaRPr lang="en-AU"/>
        </a:p>
      </dgm:t>
    </dgm:pt>
    <dgm:pt modelId="{BFF5A281-C2C7-4A31-9018-99C8B21957C1}" type="pres">
      <dgm:prSet presAssocID="{DF26B370-B912-4B91-9762-9240C4D33D5D}" presName="negativeSpace" presStyleCnt="0"/>
      <dgm:spPr/>
    </dgm:pt>
    <dgm:pt modelId="{8D789212-F97B-4107-9DDC-23DD29DB1780}" type="pres">
      <dgm:prSet presAssocID="{DF26B370-B912-4B91-9762-9240C4D33D5D}" presName="childText" presStyleLbl="conFgAcc1" presStyleIdx="2" presStyleCnt="3">
        <dgm:presLayoutVars>
          <dgm:bulletEnabled val="1"/>
        </dgm:presLayoutVars>
      </dgm:prSet>
      <dgm:spPr/>
    </dgm:pt>
  </dgm:ptLst>
  <dgm:cxnLst>
    <dgm:cxn modelId="{B67DEABA-2C1E-40A9-9E72-7EA67322D003}" type="presOf" srcId="{49B5AE6A-75DD-412B-866C-787A7AC280CD}" destId="{FD416C43-5488-43F3-A48A-05FCDC69E80F}" srcOrd="0" destOrd="0" presId="urn:microsoft.com/office/officeart/2005/8/layout/list1"/>
    <dgm:cxn modelId="{22B388E4-CE3A-4206-8373-284CE01381CC}" srcId="{49B5AE6A-75DD-412B-866C-787A7AC280CD}" destId="{DF26B370-B912-4B91-9762-9240C4D33D5D}" srcOrd="2" destOrd="0" parTransId="{A2C68936-4AD5-4E66-8B6C-078F9ADFA40F}" sibTransId="{A8273827-9DB7-49E1-A636-745A8C68DC39}"/>
    <dgm:cxn modelId="{986BDF83-997C-419D-918D-74C1C31501F8}" type="presOf" srcId="{240D2817-9B6A-4214-B392-40E277CF25EB}" destId="{15226E55-9324-4BAA-B3AB-821622D96D98}" srcOrd="1" destOrd="0" presId="urn:microsoft.com/office/officeart/2005/8/layout/list1"/>
    <dgm:cxn modelId="{A362B65A-FC61-46CA-AD93-F54F875A5609}" type="presOf" srcId="{240D2817-9B6A-4214-B392-40E277CF25EB}" destId="{C85646C1-E6E2-4438-9BFE-262B093D5F28}" srcOrd="0" destOrd="0" presId="urn:microsoft.com/office/officeart/2005/8/layout/list1"/>
    <dgm:cxn modelId="{8E2EE3B5-910D-4D3B-A1B9-A10165BABD89}" type="presOf" srcId="{DB2A3323-CC76-4191-BC6F-0A0F2EF9EFEB}" destId="{97ABD287-DA62-4638-AA69-A8C9138F42A6}" srcOrd="1" destOrd="0" presId="urn:microsoft.com/office/officeart/2005/8/layout/list1"/>
    <dgm:cxn modelId="{9F3B2C1D-5EA6-4F85-9E9F-19AD5483265A}" srcId="{49B5AE6A-75DD-412B-866C-787A7AC280CD}" destId="{DB2A3323-CC76-4191-BC6F-0A0F2EF9EFEB}" srcOrd="1" destOrd="0" parTransId="{39A56E5D-6FF9-4E68-996D-9512B2B568FE}" sibTransId="{1227271C-4590-45F5-A33D-7962694FB9BD}"/>
    <dgm:cxn modelId="{7227C6BF-630B-4D57-9103-FD6A6DCFFD8C}" srcId="{49B5AE6A-75DD-412B-866C-787A7AC280CD}" destId="{240D2817-9B6A-4214-B392-40E277CF25EB}" srcOrd="0" destOrd="0" parTransId="{18E4A229-AACD-4C08-97A5-5BFFDD5B4E84}" sibTransId="{EF3F7678-B804-4DCC-B60A-55EB241E174B}"/>
    <dgm:cxn modelId="{2C8C87E0-8CCE-44AA-BD76-F30257B74905}" type="presOf" srcId="{DF26B370-B912-4B91-9762-9240C4D33D5D}" destId="{A832F3F4-CA61-4BD6-ABA7-CA97FDC556EB}" srcOrd="0" destOrd="0" presId="urn:microsoft.com/office/officeart/2005/8/layout/list1"/>
    <dgm:cxn modelId="{CBBA36CF-FE73-43DE-A68E-A4EFC07E71FE}" type="presOf" srcId="{DF26B370-B912-4B91-9762-9240C4D33D5D}" destId="{F3440C03-4BDC-4D8F-A7AE-F366A7EFE140}" srcOrd="1" destOrd="0" presId="urn:microsoft.com/office/officeart/2005/8/layout/list1"/>
    <dgm:cxn modelId="{31ACCA69-C2DB-4F76-B14B-79A6AC00D003}" type="presOf" srcId="{DB2A3323-CC76-4191-BC6F-0A0F2EF9EFEB}" destId="{CD2C6254-84B2-45E6-AD23-1C922DFC5095}" srcOrd="0" destOrd="0" presId="urn:microsoft.com/office/officeart/2005/8/layout/list1"/>
    <dgm:cxn modelId="{FC28B9DF-21DD-4E2F-8C30-090D354FC33C}" type="presParOf" srcId="{FD416C43-5488-43F3-A48A-05FCDC69E80F}" destId="{82F01B1D-9093-44EE-846E-EE51B2133706}" srcOrd="0" destOrd="0" presId="urn:microsoft.com/office/officeart/2005/8/layout/list1"/>
    <dgm:cxn modelId="{460641AF-4041-436B-8356-341EE5D19040}" type="presParOf" srcId="{82F01B1D-9093-44EE-846E-EE51B2133706}" destId="{C85646C1-E6E2-4438-9BFE-262B093D5F28}" srcOrd="0" destOrd="0" presId="urn:microsoft.com/office/officeart/2005/8/layout/list1"/>
    <dgm:cxn modelId="{94752C29-9B2A-41C6-9AF6-7043CDAD588F}" type="presParOf" srcId="{82F01B1D-9093-44EE-846E-EE51B2133706}" destId="{15226E55-9324-4BAA-B3AB-821622D96D98}" srcOrd="1" destOrd="0" presId="urn:microsoft.com/office/officeart/2005/8/layout/list1"/>
    <dgm:cxn modelId="{A99124B8-4C9D-46AE-B923-FA75BCEE91D3}" type="presParOf" srcId="{FD416C43-5488-43F3-A48A-05FCDC69E80F}" destId="{29CC0D7A-CBA5-4626-BAE9-8671D9646FD9}" srcOrd="1" destOrd="0" presId="urn:microsoft.com/office/officeart/2005/8/layout/list1"/>
    <dgm:cxn modelId="{34BBBEFE-792A-4347-B611-74983ED66A09}" type="presParOf" srcId="{FD416C43-5488-43F3-A48A-05FCDC69E80F}" destId="{CA2DF4EF-8804-49FA-8D90-829F9845034F}" srcOrd="2" destOrd="0" presId="urn:microsoft.com/office/officeart/2005/8/layout/list1"/>
    <dgm:cxn modelId="{3F54086B-230E-407A-B242-083BD935501C}" type="presParOf" srcId="{FD416C43-5488-43F3-A48A-05FCDC69E80F}" destId="{54A09A78-24FE-4D7E-B1BC-B6DF8D0E9085}" srcOrd="3" destOrd="0" presId="urn:microsoft.com/office/officeart/2005/8/layout/list1"/>
    <dgm:cxn modelId="{1F5B5933-4531-41EA-93DF-F5EA828C303B}" type="presParOf" srcId="{FD416C43-5488-43F3-A48A-05FCDC69E80F}" destId="{B51B5A48-3E61-4043-BFBA-15CAF17FBCA8}" srcOrd="4" destOrd="0" presId="urn:microsoft.com/office/officeart/2005/8/layout/list1"/>
    <dgm:cxn modelId="{682B988E-99E4-4894-9D49-B928E570DA4F}" type="presParOf" srcId="{B51B5A48-3E61-4043-BFBA-15CAF17FBCA8}" destId="{CD2C6254-84B2-45E6-AD23-1C922DFC5095}" srcOrd="0" destOrd="0" presId="urn:microsoft.com/office/officeart/2005/8/layout/list1"/>
    <dgm:cxn modelId="{D54633B9-A753-4405-926C-90D9A1AD6D8B}" type="presParOf" srcId="{B51B5A48-3E61-4043-BFBA-15CAF17FBCA8}" destId="{97ABD287-DA62-4638-AA69-A8C9138F42A6}" srcOrd="1" destOrd="0" presId="urn:microsoft.com/office/officeart/2005/8/layout/list1"/>
    <dgm:cxn modelId="{D8232A6B-1033-4B76-9E7A-9EDF01899067}" type="presParOf" srcId="{FD416C43-5488-43F3-A48A-05FCDC69E80F}" destId="{D32972F1-003B-4C85-BA7D-D264BCA55750}" srcOrd="5" destOrd="0" presId="urn:microsoft.com/office/officeart/2005/8/layout/list1"/>
    <dgm:cxn modelId="{4818724A-C136-4F55-A98A-FF153AA2BDA9}" type="presParOf" srcId="{FD416C43-5488-43F3-A48A-05FCDC69E80F}" destId="{59F3E31F-7164-4D81-8F12-AB7143709CCE}" srcOrd="6" destOrd="0" presId="urn:microsoft.com/office/officeart/2005/8/layout/list1"/>
    <dgm:cxn modelId="{01CA335C-6C19-4A17-9B38-13B7014C142E}" type="presParOf" srcId="{FD416C43-5488-43F3-A48A-05FCDC69E80F}" destId="{F44CD70C-08F3-4584-969F-F8DC3134E8AB}" srcOrd="7" destOrd="0" presId="urn:microsoft.com/office/officeart/2005/8/layout/list1"/>
    <dgm:cxn modelId="{13E6FD4A-BBD1-48FB-A0E1-BADC9C188B23}" type="presParOf" srcId="{FD416C43-5488-43F3-A48A-05FCDC69E80F}" destId="{572DBA96-A9E7-4478-B12F-13DC6E996348}" srcOrd="8" destOrd="0" presId="urn:microsoft.com/office/officeart/2005/8/layout/list1"/>
    <dgm:cxn modelId="{C3745EF1-ED10-4984-8980-BAEC4A37ED39}" type="presParOf" srcId="{572DBA96-A9E7-4478-B12F-13DC6E996348}" destId="{A832F3F4-CA61-4BD6-ABA7-CA97FDC556EB}" srcOrd="0" destOrd="0" presId="urn:microsoft.com/office/officeart/2005/8/layout/list1"/>
    <dgm:cxn modelId="{D99B1086-BD63-49C4-AB3F-D8254A496D57}" type="presParOf" srcId="{572DBA96-A9E7-4478-B12F-13DC6E996348}" destId="{F3440C03-4BDC-4D8F-A7AE-F366A7EFE140}" srcOrd="1" destOrd="0" presId="urn:microsoft.com/office/officeart/2005/8/layout/list1"/>
    <dgm:cxn modelId="{EE767A14-592A-4ED6-B891-6C93D34D6C7B}" type="presParOf" srcId="{FD416C43-5488-43F3-A48A-05FCDC69E80F}" destId="{BFF5A281-C2C7-4A31-9018-99C8B21957C1}" srcOrd="9" destOrd="0" presId="urn:microsoft.com/office/officeart/2005/8/layout/list1"/>
    <dgm:cxn modelId="{782FC46A-B0AD-4542-9302-DA00B92347CC}" type="presParOf" srcId="{FD416C43-5488-43F3-A48A-05FCDC69E80F}" destId="{8D789212-F97B-4107-9DDC-23DD29DB1780}" srcOrd="10" destOrd="0" presId="urn:microsoft.com/office/officeart/2005/8/layout/list1"/>
  </dgm:cxnLst>
  <dgm:bg>
    <a:noFill/>
  </dgm:bg>
  <dgm:whole/>
  <dgm:extLst>
    <a:ext uri="http://schemas.microsoft.com/office/drawing/2008/diagram">
      <dsp:dataModelExt xmlns:dsp="http://schemas.microsoft.com/office/drawing/2008/diagram" relId="rId9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1241397F-3AFE-4468-A427-F3D471EE9C37}" type="doc">
      <dgm:prSet loTypeId="urn:microsoft.com/office/officeart/2005/8/layout/cycle3" loCatId="cycle" qsTypeId="urn:microsoft.com/office/officeart/2005/8/quickstyle/3d2" qsCatId="3D" csTypeId="urn:microsoft.com/office/officeart/2005/8/colors/colorful1" csCatId="colorful" phldr="1"/>
      <dgm:spPr/>
      <dgm:t>
        <a:bodyPr/>
        <a:lstStyle/>
        <a:p>
          <a:endParaRPr lang="en-US"/>
        </a:p>
      </dgm:t>
    </dgm:pt>
    <dgm:pt modelId="{A3395A82-BCC3-4F05-93DF-762A42434D6B}">
      <dgm:prSet phldrT="[Text]"/>
      <dgm:spPr/>
      <dgm:t>
        <a:bodyPr/>
        <a:lstStyle/>
        <a:p>
          <a:r>
            <a:rPr lang="en-US" dirty="0" err="1" smtClean="0">
              <a:solidFill>
                <a:schemeClr val="tx1"/>
              </a:solidFill>
            </a:rPr>
            <a:t>Spesifikasi</a:t>
          </a:r>
          <a:r>
            <a:rPr lang="en-US" dirty="0" smtClean="0">
              <a:solidFill>
                <a:schemeClr val="tx1"/>
              </a:solidFill>
            </a:rPr>
            <a:t> </a:t>
          </a:r>
          <a:r>
            <a:rPr lang="en-US" dirty="0" err="1" smtClean="0">
              <a:solidFill>
                <a:schemeClr val="tx1"/>
              </a:solidFill>
            </a:rPr>
            <a:t>Kebutuhan</a:t>
          </a:r>
          <a:endParaRPr lang="en-US" dirty="0">
            <a:solidFill>
              <a:schemeClr val="tx1"/>
            </a:solidFill>
          </a:endParaRPr>
        </a:p>
      </dgm:t>
    </dgm:pt>
    <dgm:pt modelId="{9A6D6313-13BB-4900-B189-2548BE867793}" type="parTrans" cxnId="{FAE171BF-89CA-4371-B92F-D4D05B81BBFA}">
      <dgm:prSet/>
      <dgm:spPr/>
      <dgm:t>
        <a:bodyPr/>
        <a:lstStyle/>
        <a:p>
          <a:endParaRPr lang="en-US"/>
        </a:p>
      </dgm:t>
    </dgm:pt>
    <dgm:pt modelId="{582B3F16-0DAC-4F54-9DBB-DA92AB8CE3A9}" type="sibTrans" cxnId="{FAE171BF-89CA-4371-B92F-D4D05B81BBFA}">
      <dgm:prSet/>
      <dgm:spPr/>
      <dgm:t>
        <a:bodyPr/>
        <a:lstStyle/>
        <a:p>
          <a:endParaRPr lang="en-US"/>
        </a:p>
      </dgm:t>
    </dgm:pt>
    <dgm:pt modelId="{9E67E611-23EC-47D8-BA19-B5AD7F301043}">
      <dgm:prSet phldrT="[Text]"/>
      <dgm:spPr/>
      <dgm:t>
        <a:bodyPr/>
        <a:lstStyle/>
        <a:p>
          <a:r>
            <a:rPr lang="en-US" dirty="0" err="1" smtClean="0">
              <a:solidFill>
                <a:schemeClr val="tx1"/>
              </a:solidFill>
            </a:rPr>
            <a:t>Analisis</a:t>
          </a:r>
          <a:endParaRPr lang="en-US" dirty="0">
            <a:solidFill>
              <a:schemeClr val="tx1"/>
            </a:solidFill>
          </a:endParaRPr>
        </a:p>
      </dgm:t>
    </dgm:pt>
    <dgm:pt modelId="{50015E17-038B-4FEB-A3EB-C42F5731DA58}" type="parTrans" cxnId="{C38D5EE1-2F11-401D-89EF-696F8C3C116A}">
      <dgm:prSet/>
      <dgm:spPr/>
      <dgm:t>
        <a:bodyPr/>
        <a:lstStyle/>
        <a:p>
          <a:endParaRPr lang="en-US"/>
        </a:p>
      </dgm:t>
    </dgm:pt>
    <dgm:pt modelId="{19A6A447-853A-4DD1-AD33-9EAD98FF2793}" type="sibTrans" cxnId="{C38D5EE1-2F11-401D-89EF-696F8C3C116A}">
      <dgm:prSet/>
      <dgm:spPr/>
      <dgm:t>
        <a:bodyPr/>
        <a:lstStyle/>
        <a:p>
          <a:endParaRPr lang="en-US"/>
        </a:p>
      </dgm:t>
    </dgm:pt>
    <dgm:pt modelId="{CB733AAB-1FCD-47E0-8575-85AA111EA151}">
      <dgm:prSet phldrT="[Text]"/>
      <dgm:spPr/>
      <dgm:t>
        <a:bodyPr/>
        <a:lstStyle/>
        <a:p>
          <a:r>
            <a:rPr lang="en-US" dirty="0" err="1" smtClean="0">
              <a:solidFill>
                <a:schemeClr val="tx1"/>
              </a:solidFill>
            </a:rPr>
            <a:t>Pemeliharaan</a:t>
          </a:r>
          <a:endParaRPr lang="en-US" dirty="0">
            <a:solidFill>
              <a:schemeClr val="tx1"/>
            </a:solidFill>
          </a:endParaRPr>
        </a:p>
      </dgm:t>
    </dgm:pt>
    <dgm:pt modelId="{0BA7D53E-F4B3-4FD8-8407-689D291E21F0}" type="parTrans" cxnId="{C510210B-862F-420F-83BC-BDB376D0EFC3}">
      <dgm:prSet/>
      <dgm:spPr/>
      <dgm:t>
        <a:bodyPr/>
        <a:lstStyle/>
        <a:p>
          <a:endParaRPr lang="en-US"/>
        </a:p>
      </dgm:t>
    </dgm:pt>
    <dgm:pt modelId="{C1C816EE-90E0-46CF-9E25-A0330AB9B7E2}" type="sibTrans" cxnId="{C510210B-862F-420F-83BC-BDB376D0EFC3}">
      <dgm:prSet/>
      <dgm:spPr/>
      <dgm:t>
        <a:bodyPr/>
        <a:lstStyle/>
        <a:p>
          <a:endParaRPr lang="en-US"/>
        </a:p>
      </dgm:t>
    </dgm:pt>
    <dgm:pt modelId="{E73AB127-D11A-4CB7-AC0C-5313A9AB8DA5}">
      <dgm:prSet phldrT="[Text]"/>
      <dgm:spPr/>
      <dgm:t>
        <a:bodyPr/>
        <a:lstStyle/>
        <a:p>
          <a:r>
            <a:rPr lang="en-US" dirty="0" err="1" smtClean="0">
              <a:solidFill>
                <a:schemeClr val="tx1"/>
              </a:solidFill>
            </a:rPr>
            <a:t>Perancangan</a:t>
          </a:r>
          <a:endParaRPr lang="en-US" dirty="0">
            <a:solidFill>
              <a:schemeClr val="tx1"/>
            </a:solidFill>
          </a:endParaRPr>
        </a:p>
      </dgm:t>
    </dgm:pt>
    <dgm:pt modelId="{427463AA-822C-48B9-9C7D-CD9857B70D4F}" type="parTrans" cxnId="{45F25BBD-EDBC-47C1-A4BC-03AABD3BD85A}">
      <dgm:prSet/>
      <dgm:spPr/>
      <dgm:t>
        <a:bodyPr/>
        <a:lstStyle/>
        <a:p>
          <a:endParaRPr lang="en-US"/>
        </a:p>
      </dgm:t>
    </dgm:pt>
    <dgm:pt modelId="{6787F539-0887-4C20-9E76-1A9A23BFF670}" type="sibTrans" cxnId="{45F25BBD-EDBC-47C1-A4BC-03AABD3BD85A}">
      <dgm:prSet/>
      <dgm:spPr/>
      <dgm:t>
        <a:bodyPr/>
        <a:lstStyle/>
        <a:p>
          <a:endParaRPr lang="en-US"/>
        </a:p>
      </dgm:t>
    </dgm:pt>
    <dgm:pt modelId="{6C9706A2-828B-4176-88ED-099A1C67FDBA}">
      <dgm:prSet phldrT="[Text]"/>
      <dgm:spPr/>
      <dgm:t>
        <a:bodyPr/>
        <a:lstStyle/>
        <a:p>
          <a:r>
            <a:rPr lang="en-US" dirty="0" smtClean="0">
              <a:solidFill>
                <a:schemeClr val="tx1"/>
              </a:solidFill>
            </a:rPr>
            <a:t>Development</a:t>
          </a:r>
          <a:endParaRPr lang="en-US" dirty="0">
            <a:solidFill>
              <a:schemeClr val="tx1"/>
            </a:solidFill>
          </a:endParaRPr>
        </a:p>
      </dgm:t>
    </dgm:pt>
    <dgm:pt modelId="{F3D4A71A-9464-499C-823C-DB5D86A55CF5}" type="parTrans" cxnId="{2CD02F1C-E5B4-41BA-8623-685D4096A75A}">
      <dgm:prSet/>
      <dgm:spPr/>
      <dgm:t>
        <a:bodyPr/>
        <a:lstStyle/>
        <a:p>
          <a:endParaRPr lang="en-US"/>
        </a:p>
      </dgm:t>
    </dgm:pt>
    <dgm:pt modelId="{AACD1954-FE87-4A34-88FB-834A41A1A625}" type="sibTrans" cxnId="{2CD02F1C-E5B4-41BA-8623-685D4096A75A}">
      <dgm:prSet/>
      <dgm:spPr/>
      <dgm:t>
        <a:bodyPr/>
        <a:lstStyle/>
        <a:p>
          <a:endParaRPr lang="en-US"/>
        </a:p>
      </dgm:t>
    </dgm:pt>
    <dgm:pt modelId="{2DAE58EB-44B3-4FE0-8E2F-7D9B6F5EDD28}">
      <dgm:prSet phldrT="[Text]"/>
      <dgm:spPr/>
      <dgm:t>
        <a:bodyPr/>
        <a:lstStyle/>
        <a:p>
          <a:r>
            <a:rPr lang="en-US" dirty="0" err="1" smtClean="0">
              <a:solidFill>
                <a:schemeClr val="bg1"/>
              </a:solidFill>
            </a:rPr>
            <a:t>Implementasi</a:t>
          </a:r>
          <a:r>
            <a:rPr lang="en-US" dirty="0" smtClean="0">
              <a:solidFill>
                <a:schemeClr val="bg1"/>
              </a:solidFill>
            </a:rPr>
            <a:t> </a:t>
          </a:r>
          <a:r>
            <a:rPr lang="en-US" dirty="0" err="1" smtClean="0">
              <a:solidFill>
                <a:schemeClr val="bg1"/>
              </a:solidFill>
            </a:rPr>
            <a:t>dan</a:t>
          </a:r>
          <a:r>
            <a:rPr lang="en-US" dirty="0" smtClean="0">
              <a:solidFill>
                <a:schemeClr val="bg1"/>
              </a:solidFill>
            </a:rPr>
            <a:t> </a:t>
          </a:r>
          <a:r>
            <a:rPr lang="en-US" dirty="0" err="1" smtClean="0">
              <a:solidFill>
                <a:schemeClr val="bg1"/>
              </a:solidFill>
            </a:rPr>
            <a:t>Pengetesan</a:t>
          </a:r>
          <a:r>
            <a:rPr lang="en-US" dirty="0" smtClean="0">
              <a:solidFill>
                <a:schemeClr val="bg1"/>
              </a:solidFill>
            </a:rPr>
            <a:t> Unit</a:t>
          </a:r>
          <a:endParaRPr lang="en-US" dirty="0">
            <a:solidFill>
              <a:schemeClr val="bg1"/>
            </a:solidFill>
          </a:endParaRPr>
        </a:p>
      </dgm:t>
    </dgm:pt>
    <dgm:pt modelId="{57E825B2-966A-4BD3-8331-BAFF58363630}" type="parTrans" cxnId="{ABDEB5AB-00BD-4EAA-AC81-A25518C475B5}">
      <dgm:prSet/>
      <dgm:spPr/>
      <dgm:t>
        <a:bodyPr/>
        <a:lstStyle/>
        <a:p>
          <a:endParaRPr lang="en-US"/>
        </a:p>
      </dgm:t>
    </dgm:pt>
    <dgm:pt modelId="{0161948F-10BC-49B6-8CB4-FF31A3FB8143}" type="sibTrans" cxnId="{ABDEB5AB-00BD-4EAA-AC81-A25518C475B5}">
      <dgm:prSet/>
      <dgm:spPr/>
      <dgm:t>
        <a:bodyPr/>
        <a:lstStyle/>
        <a:p>
          <a:endParaRPr lang="en-US"/>
        </a:p>
      </dgm:t>
    </dgm:pt>
    <dgm:pt modelId="{8A7EBA91-F1B0-448A-9955-19EBDA87B862}" type="pres">
      <dgm:prSet presAssocID="{1241397F-3AFE-4468-A427-F3D471EE9C37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83403F2F-1E14-405E-A815-10A637DA2001}" type="pres">
      <dgm:prSet presAssocID="{1241397F-3AFE-4468-A427-F3D471EE9C37}" presName="cycle" presStyleCnt="0"/>
      <dgm:spPr/>
    </dgm:pt>
    <dgm:pt modelId="{278DE30F-D200-442F-A358-53676A15B9CD}" type="pres">
      <dgm:prSet presAssocID="{A3395A82-BCC3-4F05-93DF-762A42434D6B}" presName="nodeFirstNode" presStyleLbl="node1" presStyleIdx="0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265B744-7DFE-42F6-B089-95AEB8E4202F}" type="pres">
      <dgm:prSet presAssocID="{582B3F16-0DAC-4F54-9DBB-DA92AB8CE3A9}" presName="sibTransFirstNode" presStyleLbl="bgShp" presStyleIdx="0" presStyleCnt="1"/>
      <dgm:spPr/>
      <dgm:t>
        <a:bodyPr/>
        <a:lstStyle/>
        <a:p>
          <a:endParaRPr lang="en-US"/>
        </a:p>
      </dgm:t>
    </dgm:pt>
    <dgm:pt modelId="{EC8C8173-11B6-4CC7-88CC-21315B3F66A7}" type="pres">
      <dgm:prSet presAssocID="{9E67E611-23EC-47D8-BA19-B5AD7F301043}" presName="nodeFollowingNodes" presStyleLbl="node1" presStyleIdx="1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42ADB02-1215-47C5-83BE-B7BFA2FA4DCA}" type="pres">
      <dgm:prSet presAssocID="{E73AB127-D11A-4CB7-AC0C-5313A9AB8DA5}" presName="nodeFollowingNodes" presStyleLbl="node1" presStyleIdx="2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A302015-24D9-4D61-8469-03A7F71C4A9C}" type="pres">
      <dgm:prSet presAssocID="{6C9706A2-828B-4176-88ED-099A1C67FDBA}" presName="nodeFollowingNodes" presStyleLbl="node1" presStyleIdx="3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1318A0E-29D3-40B5-9779-E7D0AAA95403}" type="pres">
      <dgm:prSet presAssocID="{2DAE58EB-44B3-4FE0-8E2F-7D9B6F5EDD28}" presName="nodeFollowingNodes" presStyleLbl="node1" presStyleIdx="4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617D7C22-3EF0-49FB-B22F-76791A85F894}" type="pres">
      <dgm:prSet presAssocID="{CB733AAB-1FCD-47E0-8575-85AA111EA151}" presName="nodeFollowingNodes" presStyleLbl="node1" presStyleIdx="5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382AEDEE-3A16-4F38-A10F-549A05136C06}" type="presOf" srcId="{E73AB127-D11A-4CB7-AC0C-5313A9AB8DA5}" destId="{442ADB02-1215-47C5-83BE-B7BFA2FA4DCA}" srcOrd="0" destOrd="0" presId="urn:microsoft.com/office/officeart/2005/8/layout/cycle3"/>
    <dgm:cxn modelId="{EAD3776A-AE47-4001-B669-9EDD90402B93}" type="presOf" srcId="{582B3F16-0DAC-4F54-9DBB-DA92AB8CE3A9}" destId="{F265B744-7DFE-42F6-B089-95AEB8E4202F}" srcOrd="0" destOrd="0" presId="urn:microsoft.com/office/officeart/2005/8/layout/cycle3"/>
    <dgm:cxn modelId="{B0C10FF8-3C5F-444D-8A93-51C233DDC69E}" type="presOf" srcId="{9E67E611-23EC-47D8-BA19-B5AD7F301043}" destId="{EC8C8173-11B6-4CC7-88CC-21315B3F66A7}" srcOrd="0" destOrd="0" presId="urn:microsoft.com/office/officeart/2005/8/layout/cycle3"/>
    <dgm:cxn modelId="{4928C611-AF12-412A-9428-98F6770DD945}" type="presOf" srcId="{1241397F-3AFE-4468-A427-F3D471EE9C37}" destId="{8A7EBA91-F1B0-448A-9955-19EBDA87B862}" srcOrd="0" destOrd="0" presId="urn:microsoft.com/office/officeart/2005/8/layout/cycle3"/>
    <dgm:cxn modelId="{66781530-2103-4EF3-8065-84AB15CDF81E}" type="presOf" srcId="{6C9706A2-828B-4176-88ED-099A1C67FDBA}" destId="{FA302015-24D9-4D61-8469-03A7F71C4A9C}" srcOrd="0" destOrd="0" presId="urn:microsoft.com/office/officeart/2005/8/layout/cycle3"/>
    <dgm:cxn modelId="{BFFCDBC7-31B6-49D5-8EFE-D473630FE94E}" type="presOf" srcId="{A3395A82-BCC3-4F05-93DF-762A42434D6B}" destId="{278DE30F-D200-442F-A358-53676A15B9CD}" srcOrd="0" destOrd="0" presId="urn:microsoft.com/office/officeart/2005/8/layout/cycle3"/>
    <dgm:cxn modelId="{432EEA3E-116A-449F-848A-D0F9A80A044B}" type="presOf" srcId="{CB733AAB-1FCD-47E0-8575-85AA111EA151}" destId="{617D7C22-3EF0-49FB-B22F-76791A85F894}" srcOrd="0" destOrd="0" presId="urn:microsoft.com/office/officeart/2005/8/layout/cycle3"/>
    <dgm:cxn modelId="{ABDEB5AB-00BD-4EAA-AC81-A25518C475B5}" srcId="{1241397F-3AFE-4468-A427-F3D471EE9C37}" destId="{2DAE58EB-44B3-4FE0-8E2F-7D9B6F5EDD28}" srcOrd="4" destOrd="0" parTransId="{57E825B2-966A-4BD3-8331-BAFF58363630}" sibTransId="{0161948F-10BC-49B6-8CB4-FF31A3FB8143}"/>
    <dgm:cxn modelId="{C510210B-862F-420F-83BC-BDB376D0EFC3}" srcId="{1241397F-3AFE-4468-A427-F3D471EE9C37}" destId="{CB733AAB-1FCD-47E0-8575-85AA111EA151}" srcOrd="5" destOrd="0" parTransId="{0BA7D53E-F4B3-4FD8-8407-689D291E21F0}" sibTransId="{C1C816EE-90E0-46CF-9E25-A0330AB9B7E2}"/>
    <dgm:cxn modelId="{FAE171BF-89CA-4371-B92F-D4D05B81BBFA}" srcId="{1241397F-3AFE-4468-A427-F3D471EE9C37}" destId="{A3395A82-BCC3-4F05-93DF-762A42434D6B}" srcOrd="0" destOrd="0" parTransId="{9A6D6313-13BB-4900-B189-2548BE867793}" sibTransId="{582B3F16-0DAC-4F54-9DBB-DA92AB8CE3A9}"/>
    <dgm:cxn modelId="{2CD02F1C-E5B4-41BA-8623-685D4096A75A}" srcId="{1241397F-3AFE-4468-A427-F3D471EE9C37}" destId="{6C9706A2-828B-4176-88ED-099A1C67FDBA}" srcOrd="3" destOrd="0" parTransId="{F3D4A71A-9464-499C-823C-DB5D86A55CF5}" sibTransId="{AACD1954-FE87-4A34-88FB-834A41A1A625}"/>
    <dgm:cxn modelId="{C38D5EE1-2F11-401D-89EF-696F8C3C116A}" srcId="{1241397F-3AFE-4468-A427-F3D471EE9C37}" destId="{9E67E611-23EC-47D8-BA19-B5AD7F301043}" srcOrd="1" destOrd="0" parTransId="{50015E17-038B-4FEB-A3EB-C42F5731DA58}" sibTransId="{19A6A447-853A-4DD1-AD33-9EAD98FF2793}"/>
    <dgm:cxn modelId="{D41D97ED-D138-4574-BCA6-7C06541E6A4D}" type="presOf" srcId="{2DAE58EB-44B3-4FE0-8E2F-7D9B6F5EDD28}" destId="{41318A0E-29D3-40B5-9779-E7D0AAA95403}" srcOrd="0" destOrd="0" presId="urn:microsoft.com/office/officeart/2005/8/layout/cycle3"/>
    <dgm:cxn modelId="{45F25BBD-EDBC-47C1-A4BC-03AABD3BD85A}" srcId="{1241397F-3AFE-4468-A427-F3D471EE9C37}" destId="{E73AB127-D11A-4CB7-AC0C-5313A9AB8DA5}" srcOrd="2" destOrd="0" parTransId="{427463AA-822C-48B9-9C7D-CD9857B70D4F}" sibTransId="{6787F539-0887-4C20-9E76-1A9A23BFF670}"/>
    <dgm:cxn modelId="{A53BB675-CA54-41B5-8BAA-4362598D5DF3}" type="presParOf" srcId="{8A7EBA91-F1B0-448A-9955-19EBDA87B862}" destId="{83403F2F-1E14-405E-A815-10A637DA2001}" srcOrd="0" destOrd="0" presId="urn:microsoft.com/office/officeart/2005/8/layout/cycle3"/>
    <dgm:cxn modelId="{968E9027-0687-4043-BF09-CD7D782CD8EA}" type="presParOf" srcId="{83403F2F-1E14-405E-A815-10A637DA2001}" destId="{278DE30F-D200-442F-A358-53676A15B9CD}" srcOrd="0" destOrd="0" presId="urn:microsoft.com/office/officeart/2005/8/layout/cycle3"/>
    <dgm:cxn modelId="{C750F343-EFF6-4F44-B1CC-17CFEBC6AE67}" type="presParOf" srcId="{83403F2F-1E14-405E-A815-10A637DA2001}" destId="{F265B744-7DFE-42F6-B089-95AEB8E4202F}" srcOrd="1" destOrd="0" presId="urn:microsoft.com/office/officeart/2005/8/layout/cycle3"/>
    <dgm:cxn modelId="{FBD16A11-F357-4D70-B89F-CE1DCC4AD0B0}" type="presParOf" srcId="{83403F2F-1E14-405E-A815-10A637DA2001}" destId="{EC8C8173-11B6-4CC7-88CC-21315B3F66A7}" srcOrd="2" destOrd="0" presId="urn:microsoft.com/office/officeart/2005/8/layout/cycle3"/>
    <dgm:cxn modelId="{C975EA47-F622-454D-9D4C-5EFE2431C6EF}" type="presParOf" srcId="{83403F2F-1E14-405E-A815-10A637DA2001}" destId="{442ADB02-1215-47C5-83BE-B7BFA2FA4DCA}" srcOrd="3" destOrd="0" presId="urn:microsoft.com/office/officeart/2005/8/layout/cycle3"/>
    <dgm:cxn modelId="{45FAEBE1-F406-4445-A403-04B84A8D2751}" type="presParOf" srcId="{83403F2F-1E14-405E-A815-10A637DA2001}" destId="{FA302015-24D9-4D61-8469-03A7F71C4A9C}" srcOrd="4" destOrd="0" presId="urn:microsoft.com/office/officeart/2005/8/layout/cycle3"/>
    <dgm:cxn modelId="{0ECAC929-4FC1-4F10-A39D-F81844781475}" type="presParOf" srcId="{83403F2F-1E14-405E-A815-10A637DA2001}" destId="{41318A0E-29D3-40B5-9779-E7D0AAA95403}" srcOrd="5" destOrd="0" presId="urn:microsoft.com/office/officeart/2005/8/layout/cycle3"/>
    <dgm:cxn modelId="{268F49C2-FB44-4079-A644-1BA58CFF1697}" type="presParOf" srcId="{83403F2F-1E14-405E-A815-10A637DA2001}" destId="{617D7C22-3EF0-49FB-B22F-76791A85F894}" srcOrd="6" destOrd="0" presId="urn:microsoft.com/office/officeart/2005/8/layout/cycle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E769DACA-B1EF-4AF8-93BE-59036F691EAC}" type="doc">
      <dgm:prSet loTypeId="urn:microsoft.com/office/officeart/2005/8/layout/orgChart1" loCatId="hierarchy" qsTypeId="urn:microsoft.com/office/officeart/2005/8/quickstyle/simple1" qsCatId="simple" csTypeId="urn:microsoft.com/office/officeart/2005/8/colors/colorful2" csCatId="colorful" phldr="1"/>
      <dgm:spPr/>
      <dgm:t>
        <a:bodyPr/>
        <a:lstStyle/>
        <a:p>
          <a:endParaRPr lang="en-US"/>
        </a:p>
      </dgm:t>
    </dgm:pt>
    <dgm:pt modelId="{EA9E4AE1-6887-4079-B445-01AE2010F60D}">
      <dgm:prSet phldrT="[Text]" custT="1"/>
      <dgm:spPr/>
      <dgm:t>
        <a:bodyPr/>
        <a:lstStyle/>
        <a:p>
          <a:r>
            <a:rPr lang="en-GB" sz="1800" dirty="0" err="1" smtClean="0"/>
            <a:t>Direktur</a:t>
          </a:r>
          <a:r>
            <a:rPr lang="en-GB" sz="1800" dirty="0" smtClean="0"/>
            <a:t> </a:t>
          </a:r>
          <a:r>
            <a:rPr lang="en-GB" sz="1800" dirty="0" err="1" smtClean="0"/>
            <a:t>Utama</a:t>
          </a:r>
          <a:endParaRPr lang="en-US" sz="1800" dirty="0"/>
        </a:p>
      </dgm:t>
    </dgm:pt>
    <dgm:pt modelId="{ADBDF6BA-1A62-40DC-A6B7-F96CAFFBFFB0}" type="parTrans" cxnId="{E791F458-CBE7-4123-AD68-916DFD184D56}">
      <dgm:prSet/>
      <dgm:spPr/>
      <dgm:t>
        <a:bodyPr/>
        <a:lstStyle/>
        <a:p>
          <a:endParaRPr lang="en-US" sz="1800"/>
        </a:p>
      </dgm:t>
    </dgm:pt>
    <dgm:pt modelId="{6131DBE3-65AC-419F-9B98-10C527C370C6}" type="sibTrans" cxnId="{E791F458-CBE7-4123-AD68-916DFD184D56}">
      <dgm:prSet/>
      <dgm:spPr/>
      <dgm:t>
        <a:bodyPr/>
        <a:lstStyle/>
        <a:p>
          <a:endParaRPr lang="en-US" sz="1800"/>
        </a:p>
      </dgm:t>
    </dgm:pt>
    <dgm:pt modelId="{55521062-F506-4F5A-BAC6-A0B782A4542F}">
      <dgm:prSet phldrT="[Text]" custT="1"/>
      <dgm:spPr/>
      <dgm:t>
        <a:bodyPr/>
        <a:lstStyle/>
        <a:p>
          <a:r>
            <a:rPr lang="en-GB" sz="1800" dirty="0" err="1" smtClean="0"/>
            <a:t>Instalasi</a:t>
          </a:r>
          <a:r>
            <a:rPr lang="en-GB" sz="1800" dirty="0" smtClean="0"/>
            <a:t> </a:t>
          </a:r>
          <a:r>
            <a:rPr lang="en-GB" sz="1800" dirty="0" err="1" smtClean="0"/>
            <a:t>Sistem</a:t>
          </a:r>
          <a:r>
            <a:rPr lang="en-GB" sz="1800" dirty="0" smtClean="0"/>
            <a:t> </a:t>
          </a:r>
          <a:r>
            <a:rPr lang="en-GB" sz="1800" dirty="0" err="1" smtClean="0"/>
            <a:t>Informasi</a:t>
          </a:r>
          <a:r>
            <a:rPr lang="en-GB" sz="1800" dirty="0" smtClean="0"/>
            <a:t> </a:t>
          </a:r>
          <a:r>
            <a:rPr lang="en-GB" sz="1800" dirty="0" err="1" smtClean="0"/>
            <a:t>Manajemen</a:t>
          </a:r>
          <a:r>
            <a:rPr lang="en-GB" sz="1800" dirty="0" smtClean="0"/>
            <a:t> RS</a:t>
          </a:r>
          <a:endParaRPr lang="en-US" sz="1800" dirty="0"/>
        </a:p>
      </dgm:t>
    </dgm:pt>
    <dgm:pt modelId="{6F37C4D3-0CC0-4DDE-ADDC-666AF021E0EF}" type="parTrans" cxnId="{4AD3DBD5-E5C7-42F9-9A80-26DB2037EFFF}">
      <dgm:prSet/>
      <dgm:spPr/>
      <dgm:t>
        <a:bodyPr/>
        <a:lstStyle/>
        <a:p>
          <a:endParaRPr lang="en-US" sz="1800"/>
        </a:p>
      </dgm:t>
    </dgm:pt>
    <dgm:pt modelId="{B68BCC3D-CFF6-42C8-9C4A-4F72A44EA2EC}" type="sibTrans" cxnId="{4AD3DBD5-E5C7-42F9-9A80-26DB2037EFFF}">
      <dgm:prSet/>
      <dgm:spPr/>
      <dgm:t>
        <a:bodyPr/>
        <a:lstStyle/>
        <a:p>
          <a:endParaRPr lang="en-US" sz="1800"/>
        </a:p>
      </dgm:t>
    </dgm:pt>
    <dgm:pt modelId="{94601F6F-3BC5-4790-BCBC-0583F6764B07}">
      <dgm:prSet phldrT="[Text]" custT="1"/>
      <dgm:spPr/>
      <dgm:t>
        <a:bodyPr/>
        <a:lstStyle/>
        <a:p>
          <a:r>
            <a:rPr lang="en-GB" sz="1800" smtClean="0"/>
            <a:t>Direktur Umum Dan Operasional</a:t>
          </a:r>
          <a:endParaRPr lang="en-US" sz="1800" dirty="0"/>
        </a:p>
      </dgm:t>
    </dgm:pt>
    <dgm:pt modelId="{44D40F3E-4A30-4351-AA75-FFC9155A5B2B}" type="parTrans" cxnId="{0BD9046C-DA9A-409D-8AA7-6B64E7B86429}">
      <dgm:prSet/>
      <dgm:spPr/>
      <dgm:t>
        <a:bodyPr/>
        <a:lstStyle/>
        <a:p>
          <a:endParaRPr lang="en-US" sz="1800"/>
        </a:p>
      </dgm:t>
    </dgm:pt>
    <dgm:pt modelId="{AF85BE91-96FB-4E34-AC1D-066723C75D5A}" type="sibTrans" cxnId="{0BD9046C-DA9A-409D-8AA7-6B64E7B86429}">
      <dgm:prSet/>
      <dgm:spPr/>
      <dgm:t>
        <a:bodyPr/>
        <a:lstStyle/>
        <a:p>
          <a:endParaRPr lang="en-US" sz="1800"/>
        </a:p>
      </dgm:t>
    </dgm:pt>
    <dgm:pt modelId="{21EA34EA-234A-428A-8349-CFA51D3E8302}" type="pres">
      <dgm:prSet presAssocID="{E769DACA-B1EF-4AF8-93BE-59036F691EAC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en-US"/>
        </a:p>
      </dgm:t>
    </dgm:pt>
    <dgm:pt modelId="{66EBDA17-D3C1-4A8C-8E6F-56E41E9546E6}" type="pres">
      <dgm:prSet presAssocID="{EA9E4AE1-6887-4079-B445-01AE2010F60D}" presName="hierRoot1" presStyleCnt="0">
        <dgm:presLayoutVars>
          <dgm:hierBranch val="init"/>
        </dgm:presLayoutVars>
      </dgm:prSet>
      <dgm:spPr/>
    </dgm:pt>
    <dgm:pt modelId="{54FEC13C-05C6-4972-909A-3CFD20E98AA6}" type="pres">
      <dgm:prSet presAssocID="{EA9E4AE1-6887-4079-B445-01AE2010F60D}" presName="rootComposite1" presStyleCnt="0"/>
      <dgm:spPr/>
    </dgm:pt>
    <dgm:pt modelId="{151EBF9E-3221-4E8C-B83C-E9F608BE8A81}" type="pres">
      <dgm:prSet presAssocID="{EA9E4AE1-6887-4079-B445-01AE2010F60D}" presName="rootText1" presStyleLbl="node0" presStyleIdx="0" presStyleCnt="1" custScaleY="44738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09A5817A-968F-454B-BE8B-22C8B885848B}" type="pres">
      <dgm:prSet presAssocID="{EA9E4AE1-6887-4079-B445-01AE2010F60D}" presName="rootConnector1" presStyleLbl="node1" presStyleIdx="0" presStyleCnt="0"/>
      <dgm:spPr/>
      <dgm:t>
        <a:bodyPr/>
        <a:lstStyle/>
        <a:p>
          <a:endParaRPr lang="en-US"/>
        </a:p>
      </dgm:t>
    </dgm:pt>
    <dgm:pt modelId="{AAF9BAF5-73B2-4539-8E9C-50C3D7D0212F}" type="pres">
      <dgm:prSet presAssocID="{EA9E4AE1-6887-4079-B445-01AE2010F60D}" presName="hierChild2" presStyleCnt="0"/>
      <dgm:spPr/>
    </dgm:pt>
    <dgm:pt modelId="{9CD636EE-FA7C-446C-A087-D9567E717796}" type="pres">
      <dgm:prSet presAssocID="{44D40F3E-4A30-4351-AA75-FFC9155A5B2B}" presName="Name37" presStyleLbl="parChTrans1D2" presStyleIdx="0" presStyleCnt="1"/>
      <dgm:spPr/>
      <dgm:t>
        <a:bodyPr/>
        <a:lstStyle/>
        <a:p>
          <a:endParaRPr lang="en-US"/>
        </a:p>
      </dgm:t>
    </dgm:pt>
    <dgm:pt modelId="{94D429A8-DA85-416D-BDEB-A02F13565258}" type="pres">
      <dgm:prSet presAssocID="{94601F6F-3BC5-4790-BCBC-0583F6764B07}" presName="hierRoot2" presStyleCnt="0">
        <dgm:presLayoutVars>
          <dgm:hierBranch val="init"/>
        </dgm:presLayoutVars>
      </dgm:prSet>
      <dgm:spPr/>
    </dgm:pt>
    <dgm:pt modelId="{281AA707-E422-4826-9D7B-AF8B598DFD0D}" type="pres">
      <dgm:prSet presAssocID="{94601F6F-3BC5-4790-BCBC-0583F6764B07}" presName="rootComposite" presStyleCnt="0"/>
      <dgm:spPr/>
    </dgm:pt>
    <dgm:pt modelId="{480CF33C-0D6F-4588-B5D4-4D9862538E53}" type="pres">
      <dgm:prSet presAssocID="{94601F6F-3BC5-4790-BCBC-0583F6764B07}" presName="rootText" presStyleLbl="node2" presStyleIdx="0" presStyleCnt="1" custScaleY="43418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0185CDFA-D597-4BE3-9D51-BB21BEBE9672}" type="pres">
      <dgm:prSet presAssocID="{94601F6F-3BC5-4790-BCBC-0583F6764B07}" presName="rootConnector" presStyleLbl="node2" presStyleIdx="0" presStyleCnt="1"/>
      <dgm:spPr/>
      <dgm:t>
        <a:bodyPr/>
        <a:lstStyle/>
        <a:p>
          <a:endParaRPr lang="en-US"/>
        </a:p>
      </dgm:t>
    </dgm:pt>
    <dgm:pt modelId="{F8991EAE-DA0D-4435-8708-EFE1C1D71098}" type="pres">
      <dgm:prSet presAssocID="{94601F6F-3BC5-4790-BCBC-0583F6764B07}" presName="hierChild4" presStyleCnt="0"/>
      <dgm:spPr/>
    </dgm:pt>
    <dgm:pt modelId="{C812E486-F845-41CF-A436-DEA7CAC5E71B}" type="pres">
      <dgm:prSet presAssocID="{6F37C4D3-0CC0-4DDE-ADDC-666AF021E0EF}" presName="Name37" presStyleLbl="parChTrans1D3" presStyleIdx="0" presStyleCnt="1"/>
      <dgm:spPr/>
      <dgm:t>
        <a:bodyPr/>
        <a:lstStyle/>
        <a:p>
          <a:endParaRPr lang="en-US"/>
        </a:p>
      </dgm:t>
    </dgm:pt>
    <dgm:pt modelId="{FD32A7BE-B2A9-4C52-BA09-F656A15B9982}" type="pres">
      <dgm:prSet presAssocID="{55521062-F506-4F5A-BAC6-A0B782A4542F}" presName="hierRoot2" presStyleCnt="0">
        <dgm:presLayoutVars>
          <dgm:hierBranch val="init"/>
        </dgm:presLayoutVars>
      </dgm:prSet>
      <dgm:spPr/>
    </dgm:pt>
    <dgm:pt modelId="{C5A9E974-D166-4745-8C06-BA11E7384959}" type="pres">
      <dgm:prSet presAssocID="{55521062-F506-4F5A-BAC6-A0B782A4542F}" presName="rootComposite" presStyleCnt="0"/>
      <dgm:spPr/>
    </dgm:pt>
    <dgm:pt modelId="{352F91DF-A408-4123-AD53-C153BF6AFCD1}" type="pres">
      <dgm:prSet presAssocID="{55521062-F506-4F5A-BAC6-A0B782A4542F}" presName="rootText" presStyleLbl="node3" presStyleIdx="0" presStyleCnt="1" custScaleY="34516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83969B57-5D08-4103-A8B5-2F67C5C35CB3}" type="pres">
      <dgm:prSet presAssocID="{55521062-F506-4F5A-BAC6-A0B782A4542F}" presName="rootConnector" presStyleLbl="node3" presStyleIdx="0" presStyleCnt="1"/>
      <dgm:spPr/>
      <dgm:t>
        <a:bodyPr/>
        <a:lstStyle/>
        <a:p>
          <a:endParaRPr lang="en-US"/>
        </a:p>
      </dgm:t>
    </dgm:pt>
    <dgm:pt modelId="{1460A90A-269F-4D05-B431-E9B86D55E4B9}" type="pres">
      <dgm:prSet presAssocID="{55521062-F506-4F5A-BAC6-A0B782A4542F}" presName="hierChild4" presStyleCnt="0"/>
      <dgm:spPr/>
    </dgm:pt>
    <dgm:pt modelId="{5DADA7F9-44A6-4E62-B60D-94D96524B136}" type="pres">
      <dgm:prSet presAssocID="{55521062-F506-4F5A-BAC6-A0B782A4542F}" presName="hierChild5" presStyleCnt="0"/>
      <dgm:spPr/>
    </dgm:pt>
    <dgm:pt modelId="{5E3E4393-A938-4090-82C9-E1C8A5FD0043}" type="pres">
      <dgm:prSet presAssocID="{94601F6F-3BC5-4790-BCBC-0583F6764B07}" presName="hierChild5" presStyleCnt="0"/>
      <dgm:spPr/>
    </dgm:pt>
    <dgm:pt modelId="{F1490768-A152-4346-9EA4-90BAE3805DE4}" type="pres">
      <dgm:prSet presAssocID="{EA9E4AE1-6887-4079-B445-01AE2010F60D}" presName="hierChild3" presStyleCnt="0"/>
      <dgm:spPr/>
    </dgm:pt>
  </dgm:ptLst>
  <dgm:cxnLst>
    <dgm:cxn modelId="{3427C258-5BCA-474F-B5CF-30EFA414F263}" type="presOf" srcId="{EA9E4AE1-6887-4079-B445-01AE2010F60D}" destId="{151EBF9E-3221-4E8C-B83C-E9F608BE8A81}" srcOrd="0" destOrd="0" presId="urn:microsoft.com/office/officeart/2005/8/layout/orgChart1"/>
    <dgm:cxn modelId="{6C6A2077-BD60-4D56-81FA-08311E001C18}" type="presOf" srcId="{44D40F3E-4A30-4351-AA75-FFC9155A5B2B}" destId="{9CD636EE-FA7C-446C-A087-D9567E717796}" srcOrd="0" destOrd="0" presId="urn:microsoft.com/office/officeart/2005/8/layout/orgChart1"/>
    <dgm:cxn modelId="{D9D3A7A0-FE72-442C-BCE9-781118B60886}" type="presOf" srcId="{6F37C4D3-0CC0-4DDE-ADDC-666AF021E0EF}" destId="{C812E486-F845-41CF-A436-DEA7CAC5E71B}" srcOrd="0" destOrd="0" presId="urn:microsoft.com/office/officeart/2005/8/layout/orgChart1"/>
    <dgm:cxn modelId="{496A8C44-E08C-4E5A-B541-2C987867C773}" type="presOf" srcId="{55521062-F506-4F5A-BAC6-A0B782A4542F}" destId="{83969B57-5D08-4103-A8B5-2F67C5C35CB3}" srcOrd="1" destOrd="0" presId="urn:microsoft.com/office/officeart/2005/8/layout/orgChart1"/>
    <dgm:cxn modelId="{4AD3DBD5-E5C7-42F9-9A80-26DB2037EFFF}" srcId="{94601F6F-3BC5-4790-BCBC-0583F6764B07}" destId="{55521062-F506-4F5A-BAC6-A0B782A4542F}" srcOrd="0" destOrd="0" parTransId="{6F37C4D3-0CC0-4DDE-ADDC-666AF021E0EF}" sibTransId="{B68BCC3D-CFF6-42C8-9C4A-4F72A44EA2EC}"/>
    <dgm:cxn modelId="{77C703F7-EBF8-40DD-AD12-765E6DC03EA7}" type="presOf" srcId="{EA9E4AE1-6887-4079-B445-01AE2010F60D}" destId="{09A5817A-968F-454B-BE8B-22C8B885848B}" srcOrd="1" destOrd="0" presId="urn:microsoft.com/office/officeart/2005/8/layout/orgChart1"/>
    <dgm:cxn modelId="{E791F458-CBE7-4123-AD68-916DFD184D56}" srcId="{E769DACA-B1EF-4AF8-93BE-59036F691EAC}" destId="{EA9E4AE1-6887-4079-B445-01AE2010F60D}" srcOrd="0" destOrd="0" parTransId="{ADBDF6BA-1A62-40DC-A6B7-F96CAFFBFFB0}" sibTransId="{6131DBE3-65AC-419F-9B98-10C527C370C6}"/>
    <dgm:cxn modelId="{E02A3410-B80E-4C17-8CFA-45570347F34A}" type="presOf" srcId="{94601F6F-3BC5-4790-BCBC-0583F6764B07}" destId="{480CF33C-0D6F-4588-B5D4-4D9862538E53}" srcOrd="0" destOrd="0" presId="urn:microsoft.com/office/officeart/2005/8/layout/orgChart1"/>
    <dgm:cxn modelId="{0BD9046C-DA9A-409D-8AA7-6B64E7B86429}" srcId="{EA9E4AE1-6887-4079-B445-01AE2010F60D}" destId="{94601F6F-3BC5-4790-BCBC-0583F6764B07}" srcOrd="0" destOrd="0" parTransId="{44D40F3E-4A30-4351-AA75-FFC9155A5B2B}" sibTransId="{AF85BE91-96FB-4E34-AC1D-066723C75D5A}"/>
    <dgm:cxn modelId="{03BA74EF-63A4-4C32-858D-254E44BD2895}" type="presOf" srcId="{E769DACA-B1EF-4AF8-93BE-59036F691EAC}" destId="{21EA34EA-234A-428A-8349-CFA51D3E8302}" srcOrd="0" destOrd="0" presId="urn:microsoft.com/office/officeart/2005/8/layout/orgChart1"/>
    <dgm:cxn modelId="{92397034-624F-4248-94D0-7C443AA06230}" type="presOf" srcId="{55521062-F506-4F5A-BAC6-A0B782A4542F}" destId="{352F91DF-A408-4123-AD53-C153BF6AFCD1}" srcOrd="0" destOrd="0" presId="urn:microsoft.com/office/officeart/2005/8/layout/orgChart1"/>
    <dgm:cxn modelId="{B3A505FA-3FE1-4129-A18F-C83273D7F797}" type="presOf" srcId="{94601F6F-3BC5-4790-BCBC-0583F6764B07}" destId="{0185CDFA-D597-4BE3-9D51-BB21BEBE9672}" srcOrd="1" destOrd="0" presId="urn:microsoft.com/office/officeart/2005/8/layout/orgChart1"/>
    <dgm:cxn modelId="{2BCF1A65-674F-46F3-9A1D-D6C2990B4CFD}" type="presParOf" srcId="{21EA34EA-234A-428A-8349-CFA51D3E8302}" destId="{66EBDA17-D3C1-4A8C-8E6F-56E41E9546E6}" srcOrd="0" destOrd="0" presId="urn:microsoft.com/office/officeart/2005/8/layout/orgChart1"/>
    <dgm:cxn modelId="{7C3D8D02-9481-4DDD-8FA2-7712B430B5AB}" type="presParOf" srcId="{66EBDA17-D3C1-4A8C-8E6F-56E41E9546E6}" destId="{54FEC13C-05C6-4972-909A-3CFD20E98AA6}" srcOrd="0" destOrd="0" presId="urn:microsoft.com/office/officeart/2005/8/layout/orgChart1"/>
    <dgm:cxn modelId="{D0A7E46D-7E2B-4240-87A8-D07C25D63938}" type="presParOf" srcId="{54FEC13C-05C6-4972-909A-3CFD20E98AA6}" destId="{151EBF9E-3221-4E8C-B83C-E9F608BE8A81}" srcOrd="0" destOrd="0" presId="urn:microsoft.com/office/officeart/2005/8/layout/orgChart1"/>
    <dgm:cxn modelId="{84E95F7E-C365-4340-AADF-FFF67F524B57}" type="presParOf" srcId="{54FEC13C-05C6-4972-909A-3CFD20E98AA6}" destId="{09A5817A-968F-454B-BE8B-22C8B885848B}" srcOrd="1" destOrd="0" presId="urn:microsoft.com/office/officeart/2005/8/layout/orgChart1"/>
    <dgm:cxn modelId="{616DBB04-5072-4EA1-95D6-982ADD4EFB49}" type="presParOf" srcId="{66EBDA17-D3C1-4A8C-8E6F-56E41E9546E6}" destId="{AAF9BAF5-73B2-4539-8E9C-50C3D7D0212F}" srcOrd="1" destOrd="0" presId="urn:microsoft.com/office/officeart/2005/8/layout/orgChart1"/>
    <dgm:cxn modelId="{C28F723D-49EE-420B-AD96-3F89F295BA94}" type="presParOf" srcId="{AAF9BAF5-73B2-4539-8E9C-50C3D7D0212F}" destId="{9CD636EE-FA7C-446C-A087-D9567E717796}" srcOrd="0" destOrd="0" presId="urn:microsoft.com/office/officeart/2005/8/layout/orgChart1"/>
    <dgm:cxn modelId="{A1D2AA76-87D6-42BE-A57C-2F92EB791322}" type="presParOf" srcId="{AAF9BAF5-73B2-4539-8E9C-50C3D7D0212F}" destId="{94D429A8-DA85-416D-BDEB-A02F13565258}" srcOrd="1" destOrd="0" presId="urn:microsoft.com/office/officeart/2005/8/layout/orgChart1"/>
    <dgm:cxn modelId="{64F880A5-7377-4E2D-835F-50EACC0D5555}" type="presParOf" srcId="{94D429A8-DA85-416D-BDEB-A02F13565258}" destId="{281AA707-E422-4826-9D7B-AF8B598DFD0D}" srcOrd="0" destOrd="0" presId="urn:microsoft.com/office/officeart/2005/8/layout/orgChart1"/>
    <dgm:cxn modelId="{0DB3E342-1DA9-4910-B70D-8A87A05502DD}" type="presParOf" srcId="{281AA707-E422-4826-9D7B-AF8B598DFD0D}" destId="{480CF33C-0D6F-4588-B5D4-4D9862538E53}" srcOrd="0" destOrd="0" presId="urn:microsoft.com/office/officeart/2005/8/layout/orgChart1"/>
    <dgm:cxn modelId="{793518F4-251C-4257-8739-CE6E9CCA7210}" type="presParOf" srcId="{281AA707-E422-4826-9D7B-AF8B598DFD0D}" destId="{0185CDFA-D597-4BE3-9D51-BB21BEBE9672}" srcOrd="1" destOrd="0" presId="urn:microsoft.com/office/officeart/2005/8/layout/orgChart1"/>
    <dgm:cxn modelId="{7CB998D3-943B-4916-8FE5-360064186641}" type="presParOf" srcId="{94D429A8-DA85-416D-BDEB-A02F13565258}" destId="{F8991EAE-DA0D-4435-8708-EFE1C1D71098}" srcOrd="1" destOrd="0" presId="urn:microsoft.com/office/officeart/2005/8/layout/orgChart1"/>
    <dgm:cxn modelId="{32D5AAE3-3034-4FF3-8DB3-64E3C028EBF8}" type="presParOf" srcId="{F8991EAE-DA0D-4435-8708-EFE1C1D71098}" destId="{C812E486-F845-41CF-A436-DEA7CAC5E71B}" srcOrd="0" destOrd="0" presId="urn:microsoft.com/office/officeart/2005/8/layout/orgChart1"/>
    <dgm:cxn modelId="{347EA354-0CDE-431A-AE61-D453D63FF253}" type="presParOf" srcId="{F8991EAE-DA0D-4435-8708-EFE1C1D71098}" destId="{FD32A7BE-B2A9-4C52-BA09-F656A15B9982}" srcOrd="1" destOrd="0" presId="urn:microsoft.com/office/officeart/2005/8/layout/orgChart1"/>
    <dgm:cxn modelId="{4C92C5A0-A18B-4F2A-B048-47807631A9D1}" type="presParOf" srcId="{FD32A7BE-B2A9-4C52-BA09-F656A15B9982}" destId="{C5A9E974-D166-4745-8C06-BA11E7384959}" srcOrd="0" destOrd="0" presId="urn:microsoft.com/office/officeart/2005/8/layout/orgChart1"/>
    <dgm:cxn modelId="{852A04B8-5628-41D6-9237-A93689B5C8D4}" type="presParOf" srcId="{C5A9E974-D166-4745-8C06-BA11E7384959}" destId="{352F91DF-A408-4123-AD53-C153BF6AFCD1}" srcOrd="0" destOrd="0" presId="urn:microsoft.com/office/officeart/2005/8/layout/orgChart1"/>
    <dgm:cxn modelId="{120637DA-97A5-4CF4-AE8C-63EB1959EB9F}" type="presParOf" srcId="{C5A9E974-D166-4745-8C06-BA11E7384959}" destId="{83969B57-5D08-4103-A8B5-2F67C5C35CB3}" srcOrd="1" destOrd="0" presId="urn:microsoft.com/office/officeart/2005/8/layout/orgChart1"/>
    <dgm:cxn modelId="{6DA29AE2-ACEF-4FDF-BBB5-03B81C2006C5}" type="presParOf" srcId="{FD32A7BE-B2A9-4C52-BA09-F656A15B9982}" destId="{1460A90A-269F-4D05-B431-E9B86D55E4B9}" srcOrd="1" destOrd="0" presId="urn:microsoft.com/office/officeart/2005/8/layout/orgChart1"/>
    <dgm:cxn modelId="{E9EC2F2F-29E1-4AA0-BA53-D2C2456D5CE2}" type="presParOf" srcId="{FD32A7BE-B2A9-4C52-BA09-F656A15B9982}" destId="{5DADA7F9-44A6-4E62-B60D-94D96524B136}" srcOrd="2" destOrd="0" presId="urn:microsoft.com/office/officeart/2005/8/layout/orgChart1"/>
    <dgm:cxn modelId="{266FBECC-9EF3-45B3-8A0E-09BE2E0B7C1F}" type="presParOf" srcId="{94D429A8-DA85-416D-BDEB-A02F13565258}" destId="{5E3E4393-A938-4090-82C9-E1C8A5FD0043}" srcOrd="2" destOrd="0" presId="urn:microsoft.com/office/officeart/2005/8/layout/orgChart1"/>
    <dgm:cxn modelId="{88773C62-E1BD-4903-9BA6-D1C7F1F3F5FF}" type="presParOf" srcId="{66EBDA17-D3C1-4A8C-8E6F-56E41E9546E6}" destId="{F1490768-A152-4346-9EA4-90BAE3805DE4}" srcOrd="2" destOrd="0" presId="urn:microsoft.com/office/officeart/2005/8/layout/orgChar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51EBF9E-3221-4E8C-B83C-E9F608BE8A81}">
      <dsp:nvSpPr>
        <dsp:cNvPr id="0" name=""/>
        <dsp:cNvSpPr/>
      </dsp:nvSpPr>
      <dsp:spPr>
        <a:xfrm>
          <a:off x="1164" y="520209"/>
          <a:ext cx="9537185" cy="3225571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AU" sz="2800" b="0" i="0" kern="1200" dirty="0" err="1" smtClean="0"/>
            <a:t>Sistem</a:t>
          </a:r>
          <a:r>
            <a:rPr lang="en-AU" sz="2800" b="0" i="0" kern="1200" dirty="0" smtClean="0"/>
            <a:t> </a:t>
          </a:r>
          <a:r>
            <a:rPr lang="en-AU" sz="2800" b="0" i="0" kern="1200" dirty="0" err="1" smtClean="0"/>
            <a:t>komputerisasi</a:t>
          </a:r>
          <a:r>
            <a:rPr lang="en-AU" sz="2800" b="0" i="0" kern="1200" dirty="0" smtClean="0"/>
            <a:t> yang </a:t>
          </a:r>
          <a:r>
            <a:rPr lang="en-AU" sz="2800" b="0" i="0" kern="1200" dirty="0" err="1" smtClean="0"/>
            <a:t>memproses</a:t>
          </a:r>
          <a:r>
            <a:rPr lang="en-AU" sz="2800" b="0" i="0" kern="1200" dirty="0" smtClean="0"/>
            <a:t> </a:t>
          </a:r>
          <a:r>
            <a:rPr lang="en-AU" sz="2800" b="0" i="0" kern="1200" dirty="0" err="1" smtClean="0"/>
            <a:t>dan</a:t>
          </a:r>
          <a:r>
            <a:rPr lang="en-AU" sz="2800" b="0" i="0" kern="1200" dirty="0" smtClean="0"/>
            <a:t> </a:t>
          </a:r>
          <a:r>
            <a:rPr lang="en-AU" sz="2800" b="0" i="0" kern="1200" dirty="0" err="1" smtClean="0"/>
            <a:t>mengintegrasikan</a:t>
          </a:r>
          <a:r>
            <a:rPr lang="en-AU" sz="2800" b="0" i="0" kern="1200" dirty="0" smtClean="0"/>
            <a:t> </a:t>
          </a:r>
          <a:r>
            <a:rPr lang="en-AU" sz="2800" b="0" i="0" kern="1200" dirty="0" err="1" smtClean="0"/>
            <a:t>seluruh</a:t>
          </a:r>
          <a:r>
            <a:rPr lang="en-AU" sz="2800" b="0" i="0" kern="1200" dirty="0" smtClean="0"/>
            <a:t> </a:t>
          </a:r>
          <a:r>
            <a:rPr lang="en-AU" sz="2800" b="0" i="0" kern="1200" dirty="0" err="1" smtClean="0"/>
            <a:t>alur</a:t>
          </a:r>
          <a:r>
            <a:rPr lang="en-AU" sz="2800" b="0" i="0" kern="1200" dirty="0" smtClean="0"/>
            <a:t> proses </a:t>
          </a:r>
          <a:r>
            <a:rPr lang="en-AU" sz="2800" b="0" i="0" kern="1200" dirty="0" err="1" smtClean="0"/>
            <a:t>bisnis</a:t>
          </a:r>
          <a:r>
            <a:rPr lang="en-AU" sz="2800" b="0" i="0" kern="1200" dirty="0" smtClean="0"/>
            <a:t> di </a:t>
          </a:r>
          <a:r>
            <a:rPr lang="en-AU" sz="2800" b="0" i="0" kern="1200" dirty="0" err="1" smtClean="0"/>
            <a:t>layanan</a:t>
          </a:r>
          <a:r>
            <a:rPr lang="en-AU" sz="2800" b="0" i="0" kern="1200" dirty="0" smtClean="0"/>
            <a:t> </a:t>
          </a:r>
          <a:r>
            <a:rPr lang="en-AU" sz="2800" b="0" i="0" kern="1200" dirty="0" err="1" smtClean="0"/>
            <a:t>kesehatan</a:t>
          </a:r>
          <a:r>
            <a:rPr lang="en-AU" sz="2800" b="0" i="0" kern="1200" dirty="0" smtClean="0"/>
            <a:t> </a:t>
          </a:r>
          <a:r>
            <a:rPr lang="en-AU" sz="2800" b="0" i="0" kern="1200" dirty="0" err="1" smtClean="0"/>
            <a:t>dalam</a:t>
          </a:r>
          <a:r>
            <a:rPr lang="en-AU" sz="2800" b="0" i="0" kern="1200" dirty="0" smtClean="0"/>
            <a:t> </a:t>
          </a:r>
          <a:r>
            <a:rPr lang="en-AU" sz="2800" b="0" i="0" kern="1200" dirty="0" err="1" smtClean="0"/>
            <a:t>bentuk</a:t>
          </a:r>
          <a:r>
            <a:rPr lang="en-AU" sz="2800" b="0" i="0" kern="1200" dirty="0" smtClean="0"/>
            <a:t> </a:t>
          </a:r>
          <a:r>
            <a:rPr lang="en-AU" sz="2800" b="0" i="0" kern="1200" dirty="0" err="1" smtClean="0"/>
            <a:t>koneksi</a:t>
          </a:r>
          <a:r>
            <a:rPr lang="en-AU" sz="2800" b="0" i="0" kern="1200" dirty="0" smtClean="0"/>
            <a:t> </a:t>
          </a:r>
          <a:r>
            <a:rPr lang="en-AU" sz="2800" b="0" i="0" kern="1200" dirty="0" err="1" smtClean="0"/>
            <a:t>jaringan</a:t>
          </a:r>
          <a:r>
            <a:rPr lang="en-AU" sz="2800" b="0" i="0" kern="1200" dirty="0" smtClean="0"/>
            <a:t> , </a:t>
          </a:r>
          <a:r>
            <a:rPr lang="en-AU" sz="2800" b="0" i="0" kern="1200" dirty="0" err="1" smtClean="0"/>
            <a:t>pelaporan</a:t>
          </a:r>
          <a:r>
            <a:rPr lang="en-AU" sz="2800" b="0" i="0" kern="1200" dirty="0" smtClean="0"/>
            <a:t> </a:t>
          </a:r>
          <a:r>
            <a:rPr lang="en-AU" sz="2800" b="0" i="0" kern="1200" dirty="0" err="1" smtClean="0"/>
            <a:t>dan</a:t>
          </a:r>
          <a:r>
            <a:rPr lang="en-AU" sz="2800" b="0" i="0" kern="1200" dirty="0" smtClean="0"/>
            <a:t> </a:t>
          </a:r>
          <a:r>
            <a:rPr lang="en-AU" sz="2800" b="0" i="0" kern="1200" dirty="0" err="1" smtClean="0"/>
            <a:t>prosedur</a:t>
          </a:r>
          <a:r>
            <a:rPr lang="en-AU" sz="2800" b="0" i="0" kern="1200" dirty="0" smtClean="0"/>
            <a:t> </a:t>
          </a:r>
          <a:r>
            <a:rPr lang="en-AU" sz="2800" b="0" i="0" kern="1200" dirty="0" err="1" smtClean="0"/>
            <a:t>administrasi</a:t>
          </a:r>
          <a:r>
            <a:rPr lang="en-AU" sz="2800" b="0" i="0" kern="1200" dirty="0" smtClean="0"/>
            <a:t> </a:t>
          </a:r>
          <a:r>
            <a:rPr lang="en-AU" sz="2800" b="0" i="0" kern="1200" dirty="0" err="1" smtClean="0"/>
            <a:t>untuk</a:t>
          </a:r>
          <a:r>
            <a:rPr lang="en-AU" sz="2800" b="0" i="0" kern="1200" dirty="0" smtClean="0"/>
            <a:t> </a:t>
          </a:r>
          <a:r>
            <a:rPr lang="en-AU" sz="2800" b="0" i="0" kern="1200" dirty="0" err="1" smtClean="0"/>
            <a:t>mendukung</a:t>
          </a:r>
          <a:r>
            <a:rPr lang="en-AU" sz="2800" b="0" i="0" kern="1200" dirty="0" smtClean="0"/>
            <a:t> </a:t>
          </a:r>
          <a:r>
            <a:rPr lang="en-AU" sz="2800" b="0" i="0" kern="1200" dirty="0" err="1" smtClean="0"/>
            <a:t>kinerja</a:t>
          </a:r>
          <a:r>
            <a:rPr lang="en-AU" sz="2800" b="0" i="0" kern="1200" dirty="0" smtClean="0"/>
            <a:t> </a:t>
          </a:r>
          <a:r>
            <a:rPr lang="en-AU" sz="2800" b="0" i="0" kern="1200" dirty="0" err="1" smtClean="0"/>
            <a:t>dan</a:t>
          </a:r>
          <a:r>
            <a:rPr lang="en-AU" sz="2800" b="0" i="0" kern="1200" dirty="0" smtClean="0"/>
            <a:t> </a:t>
          </a:r>
          <a:r>
            <a:rPr lang="en-AU" sz="2800" b="0" i="0" kern="1200" dirty="0" err="1" smtClean="0"/>
            <a:t>memperoleh</a:t>
          </a:r>
          <a:r>
            <a:rPr lang="en-AU" sz="2800" b="0" i="0" kern="1200" dirty="0" smtClean="0"/>
            <a:t> </a:t>
          </a:r>
          <a:r>
            <a:rPr lang="en-AU" sz="2800" b="0" i="0" kern="1200" dirty="0" err="1" smtClean="0"/>
            <a:t>informasi</a:t>
          </a:r>
          <a:r>
            <a:rPr lang="en-AU" sz="2800" b="0" i="0" kern="1200" dirty="0" smtClean="0"/>
            <a:t> </a:t>
          </a:r>
          <a:r>
            <a:rPr lang="en-AU" sz="2800" b="0" i="0" kern="1200" dirty="0" err="1" smtClean="0"/>
            <a:t>secara</a:t>
          </a:r>
          <a:r>
            <a:rPr lang="en-AU" sz="2800" b="0" i="0" kern="1200" dirty="0" smtClean="0"/>
            <a:t> </a:t>
          </a:r>
          <a:r>
            <a:rPr lang="en-AU" sz="2800" b="0" i="0" kern="1200" dirty="0" err="1" smtClean="0"/>
            <a:t>cepat</a:t>
          </a:r>
          <a:r>
            <a:rPr lang="en-AU" sz="2800" b="0" i="0" kern="1200" dirty="0" smtClean="0"/>
            <a:t>, </a:t>
          </a:r>
          <a:r>
            <a:rPr lang="en-AU" sz="2800" b="0" i="0" kern="1200" dirty="0" err="1" smtClean="0"/>
            <a:t>tepat</a:t>
          </a:r>
          <a:r>
            <a:rPr lang="en-AU" sz="2800" b="0" i="0" kern="1200" dirty="0" smtClean="0"/>
            <a:t> </a:t>
          </a:r>
          <a:r>
            <a:rPr lang="en-AU" sz="2800" b="0" i="0" kern="1200" dirty="0" err="1" smtClean="0"/>
            <a:t>dan</a:t>
          </a:r>
          <a:r>
            <a:rPr lang="en-AU" sz="2800" b="0" i="0" kern="1200" dirty="0" smtClean="0"/>
            <a:t> </a:t>
          </a:r>
          <a:r>
            <a:rPr lang="en-AU" sz="2800" b="0" i="0" kern="1200" dirty="0" err="1" smtClean="0"/>
            <a:t>akurat</a:t>
          </a:r>
          <a:endParaRPr lang="en-US" sz="2800" kern="1200" dirty="0"/>
        </a:p>
      </dsp:txBody>
      <dsp:txXfrm>
        <a:off x="1164" y="520209"/>
        <a:ext cx="9537185" cy="3225571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A2DF4EF-8804-49FA-8D90-829F9845034F}">
      <dsp:nvSpPr>
        <dsp:cNvPr id="0" name=""/>
        <dsp:cNvSpPr/>
      </dsp:nvSpPr>
      <dsp:spPr>
        <a:xfrm>
          <a:off x="0" y="1455409"/>
          <a:ext cx="9856037" cy="8820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5226E55-9324-4BAA-B3AB-821622D96D98}">
      <dsp:nvSpPr>
        <dsp:cNvPr id="0" name=""/>
        <dsp:cNvSpPr/>
      </dsp:nvSpPr>
      <dsp:spPr>
        <a:xfrm>
          <a:off x="471636" y="50877"/>
          <a:ext cx="9384400" cy="1892553"/>
        </a:xfrm>
        <a:prstGeom prst="roundRect">
          <a:avLst/>
        </a:prstGeom>
        <a:solidFill>
          <a:srgbClr val="00206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60774" tIns="0" rIns="260774" bIns="0" numCol="1" spcCol="1270" anchor="ctr" anchorCtr="0">
          <a:noAutofit/>
        </a:bodyPr>
        <a:lstStyle/>
        <a:p>
          <a:pPr lvl="0" algn="l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d-ID" sz="2800" kern="1200" dirty="0"/>
            <a:t>Meningkatkan efisiensi, efektivitas, profesionalisme, kinerja, serta akses dan pelayanan Rumah </a:t>
          </a:r>
          <a:r>
            <a:rPr lang="id-ID" sz="2800" kern="1200" dirty="0" smtClean="0"/>
            <a:t>Sakit</a:t>
          </a:r>
          <a:r>
            <a:rPr lang="en-AU" sz="2800" kern="1200" dirty="0" smtClean="0"/>
            <a:t> </a:t>
          </a:r>
          <a:r>
            <a:rPr lang="en-AU" sz="2800" i="1" kern="1200" dirty="0" smtClean="0">
              <a:solidFill>
                <a:srgbClr val="FFFF00"/>
              </a:solidFill>
            </a:rPr>
            <a:t>(</a:t>
          </a:r>
          <a:r>
            <a:rPr lang="en-AU" sz="2800" i="1" kern="1200" dirty="0" err="1" smtClean="0">
              <a:solidFill>
                <a:srgbClr val="FFFF00"/>
              </a:solidFill>
            </a:rPr>
            <a:t>Rekam</a:t>
          </a:r>
          <a:r>
            <a:rPr lang="en-AU" sz="2800" i="1" kern="1200" dirty="0" smtClean="0">
              <a:solidFill>
                <a:srgbClr val="FFFF00"/>
              </a:solidFill>
            </a:rPr>
            <a:t> </a:t>
          </a:r>
          <a:r>
            <a:rPr lang="en-AU" sz="2800" i="1" kern="1200" dirty="0" err="1" smtClean="0">
              <a:solidFill>
                <a:srgbClr val="FFFF00"/>
              </a:solidFill>
            </a:rPr>
            <a:t>medis</a:t>
          </a:r>
          <a:r>
            <a:rPr lang="en-AU" sz="2800" i="1" kern="1200" dirty="0" smtClean="0">
              <a:solidFill>
                <a:srgbClr val="FFFF00"/>
              </a:solidFill>
            </a:rPr>
            <a:t> </a:t>
          </a:r>
          <a:r>
            <a:rPr lang="en-AU" sz="2800" i="1" kern="1200" dirty="0" err="1" smtClean="0">
              <a:solidFill>
                <a:srgbClr val="FFFF00"/>
              </a:solidFill>
            </a:rPr>
            <a:t>elektronik</a:t>
          </a:r>
          <a:r>
            <a:rPr lang="en-AU" sz="2800" i="1" kern="1200" dirty="0" smtClean="0">
              <a:solidFill>
                <a:srgbClr val="FFFF00"/>
              </a:solidFill>
            </a:rPr>
            <a:t>, </a:t>
          </a:r>
          <a:r>
            <a:rPr lang="en-AU" sz="2800" i="1" kern="1200" dirty="0" err="1" smtClean="0">
              <a:solidFill>
                <a:srgbClr val="FFFF00"/>
              </a:solidFill>
            </a:rPr>
            <a:t>Resep</a:t>
          </a:r>
          <a:r>
            <a:rPr lang="en-AU" sz="2800" i="1" kern="1200" dirty="0" smtClean="0">
              <a:solidFill>
                <a:srgbClr val="FFFF00"/>
              </a:solidFill>
            </a:rPr>
            <a:t> </a:t>
          </a:r>
          <a:r>
            <a:rPr lang="en-AU" sz="2800" i="1" kern="1200" dirty="0" err="1" smtClean="0">
              <a:solidFill>
                <a:srgbClr val="FFFF00"/>
              </a:solidFill>
            </a:rPr>
            <a:t>Elektronik</a:t>
          </a:r>
          <a:r>
            <a:rPr lang="en-AU" sz="2800" i="1" kern="1200" dirty="0" smtClean="0">
              <a:solidFill>
                <a:srgbClr val="FFFF00"/>
              </a:solidFill>
            </a:rPr>
            <a:t>, </a:t>
          </a:r>
          <a:r>
            <a:rPr lang="en-AU" sz="2800" i="1" kern="1200" dirty="0" err="1" smtClean="0">
              <a:solidFill>
                <a:srgbClr val="FFFF00"/>
              </a:solidFill>
            </a:rPr>
            <a:t>Arsip</a:t>
          </a:r>
          <a:r>
            <a:rPr lang="en-AU" sz="2800" i="1" kern="1200" dirty="0" smtClean="0">
              <a:solidFill>
                <a:srgbClr val="FFFF00"/>
              </a:solidFill>
            </a:rPr>
            <a:t> Digital, </a:t>
          </a:r>
          <a:r>
            <a:rPr lang="en-AU" sz="2800" i="1" kern="1200" dirty="0" err="1" smtClean="0">
              <a:solidFill>
                <a:srgbClr val="FFFF00"/>
              </a:solidFill>
            </a:rPr>
            <a:t>Pengolahan</a:t>
          </a:r>
          <a:r>
            <a:rPr lang="en-AU" sz="2800" i="1" kern="1200" dirty="0" smtClean="0">
              <a:solidFill>
                <a:srgbClr val="FFFF00"/>
              </a:solidFill>
            </a:rPr>
            <a:t> </a:t>
          </a:r>
          <a:r>
            <a:rPr lang="en-AU" sz="2800" i="1" kern="1200" dirty="0" err="1" smtClean="0">
              <a:solidFill>
                <a:srgbClr val="FFFF00"/>
              </a:solidFill>
            </a:rPr>
            <a:t>citra</a:t>
          </a:r>
          <a:r>
            <a:rPr lang="en-AU" sz="2800" i="1" kern="1200" dirty="0" smtClean="0">
              <a:solidFill>
                <a:srgbClr val="FFFF00"/>
              </a:solidFill>
            </a:rPr>
            <a:t> </a:t>
          </a:r>
          <a:r>
            <a:rPr lang="en-AU" sz="2800" i="1" kern="1200" dirty="0" err="1" smtClean="0">
              <a:solidFill>
                <a:srgbClr val="FFFF00"/>
              </a:solidFill>
            </a:rPr>
            <a:t>radiologi</a:t>
          </a:r>
          <a:r>
            <a:rPr lang="en-AU" sz="2800" i="1" kern="1200" dirty="0" smtClean="0">
              <a:solidFill>
                <a:srgbClr val="FFFF00"/>
              </a:solidFill>
            </a:rPr>
            <a:t>, INA-CBGS)</a:t>
          </a:r>
          <a:endParaRPr lang="en-GB" sz="2800" i="1" kern="1200" dirty="0">
            <a:solidFill>
              <a:srgbClr val="FFFF00"/>
            </a:solidFill>
          </a:endParaRPr>
        </a:p>
      </dsp:txBody>
      <dsp:txXfrm>
        <a:off x="564023" y="143264"/>
        <a:ext cx="9199626" cy="1707779"/>
      </dsp:txXfrm>
    </dsp:sp>
    <dsp:sp modelId="{59F3E31F-7164-4D81-8F12-AB7143709CCE}">
      <dsp:nvSpPr>
        <dsp:cNvPr id="0" name=""/>
        <dsp:cNvSpPr/>
      </dsp:nvSpPr>
      <dsp:spPr>
        <a:xfrm>
          <a:off x="0" y="3485983"/>
          <a:ext cx="9856037" cy="8820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hueOff val="6096547"/>
              <a:satOff val="-39081"/>
              <a:lumOff val="-8432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7ABD287-DA62-4638-AA69-A8C9138F42A6}">
      <dsp:nvSpPr>
        <dsp:cNvPr id="0" name=""/>
        <dsp:cNvSpPr/>
      </dsp:nvSpPr>
      <dsp:spPr>
        <a:xfrm>
          <a:off x="473070" y="2526409"/>
          <a:ext cx="9373580" cy="1476174"/>
        </a:xfrm>
        <a:prstGeom prst="roundRect">
          <a:avLst/>
        </a:prstGeom>
        <a:solidFill>
          <a:srgbClr val="00206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60774" tIns="0" rIns="260774" bIns="0" numCol="1" spcCol="1270" anchor="ctr" anchorCtr="0">
          <a:noAutofit/>
        </a:bodyPr>
        <a:lstStyle/>
        <a:p>
          <a:pPr lvl="0" algn="l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d-ID" sz="2800" kern="1200" dirty="0"/>
            <a:t>SIMRS </a:t>
          </a:r>
          <a:r>
            <a:rPr lang="id-ID" sz="2800" kern="1200" dirty="0" smtClean="0"/>
            <a:t>dapat </a:t>
          </a:r>
          <a:r>
            <a:rPr lang="id-ID" sz="2800" kern="1200" dirty="0"/>
            <a:t>diintegrasikan dengan program pemerintah atau pemda </a:t>
          </a:r>
          <a:r>
            <a:rPr lang="en-AU" sz="2800" i="1" kern="1200" dirty="0" smtClean="0">
              <a:solidFill>
                <a:srgbClr val="FFFF00"/>
              </a:solidFill>
            </a:rPr>
            <a:t>(JAMKESMAS, JAMSOSTEK, ASKES,SPGDT,SISRUTE </a:t>
          </a:r>
          <a:r>
            <a:rPr lang="en-AU" sz="2800" i="1" kern="1200" dirty="0" err="1" smtClean="0">
              <a:solidFill>
                <a:srgbClr val="FFFF00"/>
              </a:solidFill>
            </a:rPr>
            <a:t>dan</a:t>
          </a:r>
          <a:r>
            <a:rPr lang="en-AU" sz="2800" i="1" kern="1200" dirty="0" smtClean="0">
              <a:solidFill>
                <a:srgbClr val="FFFF00"/>
              </a:solidFill>
            </a:rPr>
            <a:t> </a:t>
          </a:r>
          <a:r>
            <a:rPr lang="en-AU" sz="2800" i="1" kern="1200" dirty="0" err="1" smtClean="0">
              <a:solidFill>
                <a:srgbClr val="FFFF00"/>
              </a:solidFill>
            </a:rPr>
            <a:t>Asuransi</a:t>
          </a:r>
          <a:r>
            <a:rPr lang="en-AU" sz="2800" i="1" kern="1200" dirty="0" smtClean="0">
              <a:solidFill>
                <a:srgbClr val="FFFF00"/>
              </a:solidFill>
            </a:rPr>
            <a:t> </a:t>
          </a:r>
          <a:r>
            <a:rPr lang="en-AU" sz="2800" i="1" kern="1200" dirty="0" err="1" smtClean="0">
              <a:solidFill>
                <a:srgbClr val="FFFF00"/>
              </a:solidFill>
            </a:rPr>
            <a:t>lainnya</a:t>
          </a:r>
          <a:r>
            <a:rPr lang="en-AU" sz="2800" i="1" kern="1200" dirty="0" smtClean="0">
              <a:solidFill>
                <a:srgbClr val="FFFF00"/>
              </a:solidFill>
            </a:rPr>
            <a:t> ) </a:t>
          </a:r>
          <a:endParaRPr lang="en-GB" sz="2800" i="1" kern="1200" dirty="0">
            <a:solidFill>
              <a:srgbClr val="FFFF00"/>
            </a:solidFill>
          </a:endParaRPr>
        </a:p>
      </dsp:txBody>
      <dsp:txXfrm>
        <a:off x="545131" y="2598470"/>
        <a:ext cx="9229458" cy="1332052"/>
      </dsp:txXfrm>
    </dsp:sp>
    <dsp:sp modelId="{8D789212-F97B-4107-9DDC-23DD29DB1780}">
      <dsp:nvSpPr>
        <dsp:cNvPr id="0" name=""/>
        <dsp:cNvSpPr/>
      </dsp:nvSpPr>
      <dsp:spPr>
        <a:xfrm>
          <a:off x="0" y="5073583"/>
          <a:ext cx="9856037" cy="8820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hueOff val="12193094"/>
              <a:satOff val="-78163"/>
              <a:lumOff val="-16864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3440C03-4BDC-4D8F-A7AE-F366A7EFE140}">
      <dsp:nvSpPr>
        <dsp:cNvPr id="0" name=""/>
        <dsp:cNvSpPr/>
      </dsp:nvSpPr>
      <dsp:spPr>
        <a:xfrm>
          <a:off x="486064" y="4556983"/>
          <a:ext cx="9367966" cy="1033200"/>
        </a:xfrm>
        <a:prstGeom prst="roundRect">
          <a:avLst/>
        </a:prstGeom>
        <a:solidFill>
          <a:srgbClr val="00206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60774" tIns="0" rIns="260774" bIns="0" numCol="1" spcCol="1270" anchor="ctr" anchorCtr="0">
          <a:noAutofit/>
        </a:bodyPr>
        <a:lstStyle/>
        <a:p>
          <a:pPr lvl="0" algn="l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AU" sz="2800" kern="1200" dirty="0" err="1" smtClean="0"/>
            <a:t>Memiliki</a:t>
          </a:r>
          <a:r>
            <a:rPr lang="en-AU" sz="2800" kern="1200" dirty="0" smtClean="0"/>
            <a:t> </a:t>
          </a:r>
          <a:r>
            <a:rPr lang="en-AU" sz="2800" kern="1200" dirty="0" err="1" smtClean="0"/>
            <a:t>fitur</a:t>
          </a:r>
          <a:r>
            <a:rPr lang="en-AU" sz="2800" kern="1200" dirty="0" smtClean="0"/>
            <a:t> </a:t>
          </a:r>
          <a:r>
            <a:rPr lang="id-ID" sz="2800" kern="1200" dirty="0" smtClean="0"/>
            <a:t>: </a:t>
          </a:r>
          <a:r>
            <a:rPr lang="id-ID" sz="2800" i="1" kern="1200" dirty="0"/>
            <a:t>Front Office</a:t>
          </a:r>
          <a:r>
            <a:rPr lang="id-ID" sz="2800" kern="1200" dirty="0"/>
            <a:t>, </a:t>
          </a:r>
          <a:r>
            <a:rPr lang="id-ID" sz="2800" i="1" kern="1200" dirty="0"/>
            <a:t>Back Office</a:t>
          </a:r>
          <a:r>
            <a:rPr lang="id-ID" sz="2800" kern="1200" dirty="0"/>
            <a:t>, integrasi</a:t>
          </a:r>
          <a:endParaRPr lang="en-GB" sz="2800" kern="1200" dirty="0"/>
        </a:p>
      </dsp:txBody>
      <dsp:txXfrm>
        <a:off x="536501" y="4607420"/>
        <a:ext cx="9267092" cy="932326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265B744-7DFE-42F6-B089-95AEB8E4202F}">
      <dsp:nvSpPr>
        <dsp:cNvPr id="0" name=""/>
        <dsp:cNvSpPr/>
      </dsp:nvSpPr>
      <dsp:spPr>
        <a:xfrm>
          <a:off x="1065795" y="-5174"/>
          <a:ext cx="4546488" cy="4546488"/>
        </a:xfrm>
        <a:prstGeom prst="circularArrow">
          <a:avLst>
            <a:gd name="adj1" fmla="val 5274"/>
            <a:gd name="adj2" fmla="val 312630"/>
            <a:gd name="adj3" fmla="val 14255061"/>
            <a:gd name="adj4" fmla="val 17111277"/>
            <a:gd name="adj5" fmla="val 5477"/>
          </a:avLst>
        </a:prstGeom>
        <a:gradFill rotWithShape="0">
          <a:gsLst>
            <a:gs pos="0">
              <a:schemeClr val="accent2">
                <a:tint val="40000"/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2">
                <a:tint val="40000"/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2">
                <a:tint val="40000"/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threePt" dir="t">
            <a:rot lat="0" lon="0" rev="7500000"/>
          </a:lightRig>
        </a:scene3d>
        <a:sp3d z="-152400" extrusionH="63500" prstMaterial="matte">
          <a:bevelT w="144450" h="6350" prst="relaxedInset"/>
          <a:contourClr>
            <a:schemeClr val="bg1"/>
          </a:contourClr>
        </a:sp3d>
      </dsp:spPr>
      <dsp:style>
        <a:lnRef idx="0">
          <a:scrgbClr r="0" g="0" b="0"/>
        </a:lnRef>
        <a:fillRef idx="3">
          <a:scrgbClr r="0" g="0" b="0"/>
        </a:fillRef>
        <a:effectRef idx="0">
          <a:scrgbClr r="0" g="0" b="0"/>
        </a:effectRef>
        <a:fontRef idx="minor"/>
      </dsp:style>
    </dsp:sp>
    <dsp:sp modelId="{278DE30F-D200-442F-A358-53676A15B9CD}">
      <dsp:nvSpPr>
        <dsp:cNvPr id="0" name=""/>
        <dsp:cNvSpPr/>
      </dsp:nvSpPr>
      <dsp:spPr>
        <a:xfrm>
          <a:off x="2487976" y="810"/>
          <a:ext cx="1702127" cy="851063"/>
        </a:xfrm>
        <a:prstGeom prst="roundRect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2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err="1" smtClean="0">
              <a:solidFill>
                <a:schemeClr val="tx1"/>
              </a:solidFill>
            </a:rPr>
            <a:t>Spesifikasi</a:t>
          </a:r>
          <a:r>
            <a:rPr lang="en-US" sz="1600" kern="1200" dirty="0" smtClean="0">
              <a:solidFill>
                <a:schemeClr val="tx1"/>
              </a:solidFill>
            </a:rPr>
            <a:t> </a:t>
          </a:r>
          <a:r>
            <a:rPr lang="en-US" sz="1600" kern="1200" dirty="0" err="1" smtClean="0">
              <a:solidFill>
                <a:schemeClr val="tx1"/>
              </a:solidFill>
            </a:rPr>
            <a:t>Kebutuhan</a:t>
          </a:r>
          <a:endParaRPr lang="en-US" sz="1600" kern="1200" dirty="0">
            <a:solidFill>
              <a:schemeClr val="tx1"/>
            </a:solidFill>
          </a:endParaRPr>
        </a:p>
      </dsp:txBody>
      <dsp:txXfrm>
        <a:off x="2529521" y="42355"/>
        <a:ext cx="1619037" cy="767973"/>
      </dsp:txXfrm>
    </dsp:sp>
    <dsp:sp modelId="{EC8C8173-11B6-4CC7-88CC-21315B3F66A7}">
      <dsp:nvSpPr>
        <dsp:cNvPr id="0" name=""/>
        <dsp:cNvSpPr/>
      </dsp:nvSpPr>
      <dsp:spPr>
        <a:xfrm>
          <a:off x="4085288" y="923019"/>
          <a:ext cx="1702127" cy="851063"/>
        </a:xfrm>
        <a:prstGeom prst="roundRect">
          <a:avLst/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3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err="1" smtClean="0">
              <a:solidFill>
                <a:schemeClr val="tx1"/>
              </a:solidFill>
            </a:rPr>
            <a:t>Analisis</a:t>
          </a:r>
          <a:endParaRPr lang="en-US" sz="1600" kern="1200" dirty="0">
            <a:solidFill>
              <a:schemeClr val="tx1"/>
            </a:solidFill>
          </a:endParaRPr>
        </a:p>
      </dsp:txBody>
      <dsp:txXfrm>
        <a:off x="4126833" y="964564"/>
        <a:ext cx="1619037" cy="767973"/>
      </dsp:txXfrm>
    </dsp:sp>
    <dsp:sp modelId="{442ADB02-1215-47C5-83BE-B7BFA2FA4DCA}">
      <dsp:nvSpPr>
        <dsp:cNvPr id="0" name=""/>
        <dsp:cNvSpPr/>
      </dsp:nvSpPr>
      <dsp:spPr>
        <a:xfrm>
          <a:off x="4085288" y="2767436"/>
          <a:ext cx="1702127" cy="851063"/>
        </a:xfrm>
        <a:prstGeom prst="round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4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err="1" smtClean="0">
              <a:solidFill>
                <a:schemeClr val="tx1"/>
              </a:solidFill>
            </a:rPr>
            <a:t>Perancangan</a:t>
          </a:r>
          <a:endParaRPr lang="en-US" sz="1600" kern="1200" dirty="0">
            <a:solidFill>
              <a:schemeClr val="tx1"/>
            </a:solidFill>
          </a:endParaRPr>
        </a:p>
      </dsp:txBody>
      <dsp:txXfrm>
        <a:off x="4126833" y="2808981"/>
        <a:ext cx="1619037" cy="767973"/>
      </dsp:txXfrm>
    </dsp:sp>
    <dsp:sp modelId="{FA302015-24D9-4D61-8469-03A7F71C4A9C}">
      <dsp:nvSpPr>
        <dsp:cNvPr id="0" name=""/>
        <dsp:cNvSpPr/>
      </dsp:nvSpPr>
      <dsp:spPr>
        <a:xfrm>
          <a:off x="2487976" y="3689645"/>
          <a:ext cx="1702127" cy="851063"/>
        </a:xfrm>
        <a:prstGeom prst="roundRect">
          <a:avLst/>
        </a:prstGeom>
        <a:gradFill rotWithShape="0">
          <a:gsLst>
            <a:gs pos="0">
              <a:schemeClr val="accent5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5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5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smtClean="0">
              <a:solidFill>
                <a:schemeClr val="tx1"/>
              </a:solidFill>
            </a:rPr>
            <a:t>Development</a:t>
          </a:r>
          <a:endParaRPr lang="en-US" sz="1600" kern="1200" dirty="0">
            <a:solidFill>
              <a:schemeClr val="tx1"/>
            </a:solidFill>
          </a:endParaRPr>
        </a:p>
      </dsp:txBody>
      <dsp:txXfrm>
        <a:off x="2529521" y="3731190"/>
        <a:ext cx="1619037" cy="767973"/>
      </dsp:txXfrm>
    </dsp:sp>
    <dsp:sp modelId="{41318A0E-29D3-40B5-9779-E7D0AAA95403}">
      <dsp:nvSpPr>
        <dsp:cNvPr id="0" name=""/>
        <dsp:cNvSpPr/>
      </dsp:nvSpPr>
      <dsp:spPr>
        <a:xfrm>
          <a:off x="890663" y="2767436"/>
          <a:ext cx="1702127" cy="851063"/>
        </a:xfrm>
        <a:prstGeom prst="roundRect">
          <a:avLst/>
        </a:prstGeom>
        <a:gradFill rotWithShape="0">
          <a:gsLst>
            <a:gs pos="0">
              <a:schemeClr val="accent6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6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6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err="1" smtClean="0">
              <a:solidFill>
                <a:schemeClr val="bg1"/>
              </a:solidFill>
            </a:rPr>
            <a:t>Implementasi</a:t>
          </a:r>
          <a:r>
            <a:rPr lang="en-US" sz="1600" kern="1200" dirty="0" smtClean="0">
              <a:solidFill>
                <a:schemeClr val="bg1"/>
              </a:solidFill>
            </a:rPr>
            <a:t> </a:t>
          </a:r>
          <a:r>
            <a:rPr lang="en-US" sz="1600" kern="1200" dirty="0" err="1" smtClean="0">
              <a:solidFill>
                <a:schemeClr val="bg1"/>
              </a:solidFill>
            </a:rPr>
            <a:t>dan</a:t>
          </a:r>
          <a:r>
            <a:rPr lang="en-US" sz="1600" kern="1200" dirty="0" smtClean="0">
              <a:solidFill>
                <a:schemeClr val="bg1"/>
              </a:solidFill>
            </a:rPr>
            <a:t> </a:t>
          </a:r>
          <a:r>
            <a:rPr lang="en-US" sz="1600" kern="1200" dirty="0" err="1" smtClean="0">
              <a:solidFill>
                <a:schemeClr val="bg1"/>
              </a:solidFill>
            </a:rPr>
            <a:t>Pengetesan</a:t>
          </a:r>
          <a:r>
            <a:rPr lang="en-US" sz="1600" kern="1200" dirty="0" smtClean="0">
              <a:solidFill>
                <a:schemeClr val="bg1"/>
              </a:solidFill>
            </a:rPr>
            <a:t> Unit</a:t>
          </a:r>
          <a:endParaRPr lang="en-US" sz="1600" kern="1200" dirty="0">
            <a:solidFill>
              <a:schemeClr val="bg1"/>
            </a:solidFill>
          </a:endParaRPr>
        </a:p>
      </dsp:txBody>
      <dsp:txXfrm>
        <a:off x="932208" y="2808981"/>
        <a:ext cx="1619037" cy="767973"/>
      </dsp:txXfrm>
    </dsp:sp>
    <dsp:sp modelId="{617D7C22-3EF0-49FB-B22F-76791A85F894}">
      <dsp:nvSpPr>
        <dsp:cNvPr id="0" name=""/>
        <dsp:cNvSpPr/>
      </dsp:nvSpPr>
      <dsp:spPr>
        <a:xfrm>
          <a:off x="890663" y="923019"/>
          <a:ext cx="1702127" cy="851063"/>
        </a:xfrm>
        <a:prstGeom prst="roundRect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2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err="1" smtClean="0">
              <a:solidFill>
                <a:schemeClr val="tx1"/>
              </a:solidFill>
            </a:rPr>
            <a:t>Pemeliharaan</a:t>
          </a:r>
          <a:endParaRPr lang="en-US" sz="1600" kern="1200" dirty="0">
            <a:solidFill>
              <a:schemeClr val="tx1"/>
            </a:solidFill>
          </a:endParaRPr>
        </a:p>
      </dsp:txBody>
      <dsp:txXfrm>
        <a:off x="932208" y="964564"/>
        <a:ext cx="1619037" cy="767973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812E486-F845-41CF-A436-DEA7CAC5E71B}">
      <dsp:nvSpPr>
        <dsp:cNvPr id="0" name=""/>
        <dsp:cNvSpPr/>
      </dsp:nvSpPr>
      <dsp:spPr>
        <a:xfrm>
          <a:off x="2602492" y="2686576"/>
          <a:ext cx="619218" cy="122312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223121"/>
              </a:lnTo>
              <a:lnTo>
                <a:pt x="619218" y="1223121"/>
              </a:lnTo>
            </a:path>
          </a:pathLst>
        </a:custGeom>
        <a:noFill/>
        <a:ln w="127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CD636EE-FA7C-446C-A087-D9567E717796}">
      <dsp:nvSpPr>
        <dsp:cNvPr id="0" name=""/>
        <dsp:cNvSpPr/>
      </dsp:nvSpPr>
      <dsp:spPr>
        <a:xfrm>
          <a:off x="4208021" y="923496"/>
          <a:ext cx="91440" cy="866905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866905"/>
              </a:lnTo>
            </a:path>
          </a:pathLst>
        </a:custGeom>
        <a:noFill/>
        <a:ln w="127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51EBF9E-3221-4E8C-B83C-E9F608BE8A81}">
      <dsp:nvSpPr>
        <dsp:cNvPr id="0" name=""/>
        <dsp:cNvSpPr/>
      </dsp:nvSpPr>
      <dsp:spPr>
        <a:xfrm>
          <a:off x="2189680" y="77"/>
          <a:ext cx="4128122" cy="923419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800" kern="1200" dirty="0" err="1" smtClean="0"/>
            <a:t>Direktur</a:t>
          </a:r>
          <a:r>
            <a:rPr lang="en-GB" sz="1800" kern="1200" dirty="0" smtClean="0"/>
            <a:t> </a:t>
          </a:r>
          <a:r>
            <a:rPr lang="en-GB" sz="1800" kern="1200" dirty="0" err="1" smtClean="0"/>
            <a:t>Utama</a:t>
          </a:r>
          <a:endParaRPr lang="en-US" sz="1800" kern="1200" dirty="0"/>
        </a:p>
      </dsp:txBody>
      <dsp:txXfrm>
        <a:off x="2189680" y="77"/>
        <a:ext cx="4128122" cy="923419"/>
      </dsp:txXfrm>
    </dsp:sp>
    <dsp:sp modelId="{480CF33C-0D6F-4588-B5D4-4D9862538E53}">
      <dsp:nvSpPr>
        <dsp:cNvPr id="0" name=""/>
        <dsp:cNvSpPr/>
      </dsp:nvSpPr>
      <dsp:spPr>
        <a:xfrm>
          <a:off x="2189680" y="1790402"/>
          <a:ext cx="4128122" cy="896174"/>
        </a:xfrm>
        <a:prstGeom prst="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800" kern="1200" smtClean="0"/>
            <a:t>Direktur Umum Dan Operasional</a:t>
          </a:r>
          <a:endParaRPr lang="en-US" sz="1800" kern="1200" dirty="0"/>
        </a:p>
      </dsp:txBody>
      <dsp:txXfrm>
        <a:off x="2189680" y="1790402"/>
        <a:ext cx="4128122" cy="896174"/>
      </dsp:txXfrm>
    </dsp:sp>
    <dsp:sp modelId="{352F91DF-A408-4123-AD53-C153BF6AFCD1}">
      <dsp:nvSpPr>
        <dsp:cNvPr id="0" name=""/>
        <dsp:cNvSpPr/>
      </dsp:nvSpPr>
      <dsp:spPr>
        <a:xfrm>
          <a:off x="3221711" y="3553482"/>
          <a:ext cx="4128122" cy="712431"/>
        </a:xfrm>
        <a:prstGeom prst="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800" kern="1200" dirty="0" err="1" smtClean="0"/>
            <a:t>Instalasi</a:t>
          </a:r>
          <a:r>
            <a:rPr lang="en-GB" sz="1800" kern="1200" dirty="0" smtClean="0"/>
            <a:t> </a:t>
          </a:r>
          <a:r>
            <a:rPr lang="en-GB" sz="1800" kern="1200" dirty="0" err="1" smtClean="0"/>
            <a:t>Sistem</a:t>
          </a:r>
          <a:r>
            <a:rPr lang="en-GB" sz="1800" kern="1200" dirty="0" smtClean="0"/>
            <a:t> </a:t>
          </a:r>
          <a:r>
            <a:rPr lang="en-GB" sz="1800" kern="1200" dirty="0" err="1" smtClean="0"/>
            <a:t>Informasi</a:t>
          </a:r>
          <a:r>
            <a:rPr lang="en-GB" sz="1800" kern="1200" dirty="0" smtClean="0"/>
            <a:t> </a:t>
          </a:r>
          <a:r>
            <a:rPr lang="en-GB" sz="1800" kern="1200" dirty="0" err="1" smtClean="0"/>
            <a:t>Manajemen</a:t>
          </a:r>
          <a:r>
            <a:rPr lang="en-GB" sz="1800" kern="1200" dirty="0" smtClean="0"/>
            <a:t> RS</a:t>
          </a:r>
          <a:endParaRPr lang="en-US" sz="1800" kern="1200" dirty="0"/>
        </a:p>
      </dsp:txBody>
      <dsp:txXfrm>
        <a:off x="3221711" y="3553482"/>
        <a:ext cx="4128122" cy="712431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orgChart1">
  <dgm:title val=""/>
  <dgm:desc val=""/>
  <dgm:catLst>
    <dgm:cat type="hierarchy" pri="1000"/>
    <dgm:cat type="convert" pri="60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choose name="Name41">
                            <dgm:if name="Name42" axis="par des" func="maxDepth" op="lte" val="1">
                              <dgm:choose name="Name43">
                                <dgm:if name="Name44" axis="par ch" ptType="node asst" func="cnt" op="gte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</dgm:alg>
                                </dgm:if>
                                <dgm:else name="Name45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  <dgm:param type="srcNode" val="rootConnector"/>
                                  </dgm:alg>
                                </dgm:else>
                              </dgm:choose>
                            </dgm:if>
                            <dgm:else name="Name46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7" func="var" arg="hierBranch" op="equ" val="hang">
                    <dgm:layoutNode name="Name4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9">
                    <dgm:layoutNode name="Name50">
                      <dgm:choose name="Name51">
                        <dgm:if name="Name52" axis="self" func="depth" op="lte" val="2">
                          <dgm:choose name="Name53">
                            <dgm:if name="Name54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5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6">
                          <dgm:choose name="Name57">
                            <dgm:if name="Name5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0">
                  <dgm:if name="Name61" func="var" arg="hierBranch" op="equ" val="l">
                    <dgm:choose name="Name62">
                      <dgm:if name="Name63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4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5" func="var" arg="hierBranch" op="equ" val="r">
                    <dgm:choose name="Name66">
                      <dgm:if name="Name67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8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9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70" func="var" arg="hierBranch" op="equ" val="init">
                    <dgm:choose name="Name71">
                      <dgm:if name="Name72" axis="des" func="maxDepth" op="lte" val="1">
                        <dgm:choose name="Name73">
                          <dgm:if name="Name74" axis="ch" ptType="asst" func="cnt" op="gte" val="1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65"/>
                            </dgm:constrLst>
                          </dgm:if>
                          <dgm:else name="Name75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25"/>
                            </dgm:constrLst>
                          </dgm:else>
                        </dgm:choose>
                      </dgm:if>
                      <dgm:else name="Name7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7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78">
                    <dgm:if name="Name79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0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1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2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3">
                    <dgm:if name="Name8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8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86" func="var" arg="hierBranch" op="equ" val="hang">
                      <dgm:choose name="Name87">
                        <dgm:if name="Name8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8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90" func="var" arg="hierBranch" op="equ" val="std">
                      <dgm:choose name="Name91">
                        <dgm:if name="Name92" func="var" arg="dir" op="equ" val="norm">
                          <dgm:alg type="hierChild"/>
                        </dgm:if>
                        <dgm:else name="Name9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init">
                      <dgm:choose name="Name95">
                        <dgm:if name="Name9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97">
                          <dgm:choose name="Name98">
                            <dgm:if name="Name99" func="var" arg="dir" op="equ" val="norm">
                              <dgm:alg type="hierChild"/>
                            </dgm:if>
                            <dgm:else name="Name10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10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2" ref="rep2a"/>
                </dgm:layoutNode>
                <dgm:layoutNode name="hierChild5">
                  <dgm:choose name="Name103">
                    <dgm:if name="Name10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0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b"/>
                </dgm:layoutNode>
              </dgm:layoutNode>
            </dgm:forEach>
          </dgm:layoutNode>
          <dgm:layoutNode name="hierChild3">
            <dgm:choose name="Name107">
              <dgm:if name="Name10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10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0" axis="precedSib" ptType="parTrans" st="-1" cnt="1">
                <dgm:layoutNode name="Name111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2">
                  <dgm:if name="Name113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4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5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6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7" func="var" arg="hierBranch" op="equ" val="init">
                    <dgm:choose name="Name118">
                      <dgm:if name="Name119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20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21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22">
                    <dgm:if name="Name123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4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5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26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27">
                    <dgm:if name="Name128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9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30" func="var" arg="hierBranch" op="equ" val="hang">
                      <dgm:choose name="Name131">
                        <dgm:if name="Name132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33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34" func="var" arg="hierBranch" op="equ" val="std">
                      <dgm:choose name="Name135">
                        <dgm:if name="Name136" func="var" arg="dir" op="equ" val="norm">
                          <dgm:alg type="hierChild"/>
                        </dgm:if>
                        <dgm:else name="Name137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8" func="var" arg="hierBranch" op="equ" val="init">
                      <dgm:choose name="Name139">
                        <dgm:if name="Name140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41">
                          <dgm:alg type="hierChild"/>
                        </dgm:else>
                      </dgm:choose>
                    </dgm:if>
                    <dgm:else name="Name142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3" ref="rep2a"/>
                </dgm:layoutNode>
                <dgm:layoutNode name="hierChild7">
                  <dgm:choose name="Name144">
                    <dgm:if name="Name145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6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7" ref="rep2b"/>
                </dgm:layoutNode>
              </dgm:layoutNode>
            </dgm:forEach>
          </dgm:layoutNod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cycle3">
  <dgm:title val=""/>
  <dgm:desc val=""/>
  <dgm:catLst>
    <dgm:cat type="cycle" pri="5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axis="ch" ptType="node" func="cnt" op="equ" val="2">
        <dgm:alg type="composite">
          <dgm:param type="ar" val="0.9"/>
        </dgm:alg>
        <dgm:shape xmlns:r="http://schemas.openxmlformats.org/officeDocument/2006/relationships" r:blip="">
          <dgm:adjLst/>
        </dgm:shape>
        <dgm:presOf/>
        <dgm:constrLst>
          <dgm:constr type="primFontSz" for="ch" ptType="node" op="equ" val="65"/>
          <dgm:constr type="ctrX" for="ch" forName="node1" refType="w" fact="0.5"/>
          <dgm:constr type="t" for="ch" forName="node1"/>
          <dgm:constr type="w" for="ch" forName="node1" refType="w" fact="0.8"/>
          <dgm:constr type="h" for="ch" forName="node1" refType="w" refFor="ch" refForName="node1" fact="0.5"/>
          <dgm:constr type="ctrX" for="ch" forName="sibTrans" refType="w" fact="0.5"/>
          <dgm:constr type="t" for="ch" forName="sibTrans"/>
          <dgm:constr type="w" for="ch" forName="sibTrans" refType="w" fact="0.8"/>
          <dgm:constr type="h" for="ch" forName="sibTrans" refType="w" refFor="ch" refForName="node1" fact="0.5"/>
          <dgm:constr type="userA" for="ch" forName="sibTrans" refType="w" fact="1.07"/>
          <dgm:constr type="ctrX" for="ch" forName="node2" refType="w" fact="0.5"/>
          <dgm:constr type="b" for="ch" forName="node2" refType="h"/>
          <dgm:constr type="w" for="ch" forName="node2" refType="w" fact="0.8"/>
          <dgm:constr type="h" for="ch" forName="node2" refType="w" refFor="ch" refForName="node1" fact="0.5"/>
          <dgm:constr type="l" for="ch" forName="sp1"/>
          <dgm:constr type="t" for="ch" forName="sp1" refType="h" fact="0.5"/>
          <dgm:constr type="w" for="ch" forName="sp1" val="1"/>
          <dgm:constr type="h" for="ch" forName="sp1" val="1"/>
          <dgm:constr type="r" for="ch" forName="sp2" refType="w"/>
          <dgm:constr type="t" for="ch" forName="sp2" refType="h" fact="0.5"/>
          <dgm:constr type="w" for="ch" forName="sp2" val="1"/>
          <dgm:constr type="h" for="ch" forName="sp2" val="1"/>
        </dgm:constrLst>
        <dgm:ruleLst/>
      </dgm:if>
      <dgm:else name="Name3">
        <dgm:alg type="composite"/>
        <dgm:shape xmlns:r="http://schemas.openxmlformats.org/officeDocument/2006/relationships" r:blip="">
          <dgm:adjLst/>
        </dgm:shape>
        <dgm:presOf/>
        <dgm:constrLst>
          <dgm:constr type="primFontSz" for="ch" ptType="node" op="equ" val="65"/>
        </dgm:constrLst>
        <dgm:ruleLst/>
      </dgm:else>
    </dgm:choose>
    <dgm:choose name="Name4">
      <dgm:if name="Name5" axis="ch" ptType="node" func="cnt" op="equ" val="2">
        <dgm:layoutNode name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1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sibTrans" styleLbl="bgShp">
          <dgm:choose name="Name6">
            <dgm:if name="Name7" func="var" arg="dir" op="equ" val="norm">
              <dgm:alg type="conn">
                <dgm:param type="connRout" val="longCurve"/>
                <dgm:param type="begPts" val="midR"/>
                <dgm:param type="endPts" val="midL"/>
                <dgm:param type="dstNode" val="node1"/>
              </dgm:alg>
              <dgm:shape xmlns:r="http://schemas.openxmlformats.org/officeDocument/2006/relationships" type="conn" r:blip="" zOrderOff="-2">
                <dgm:adjLst/>
              </dgm:shape>
              <dgm:presOf axis="ch" ptType="sibTrans"/>
              <dgm:constrLst>
                <dgm:constr type="userA"/>
                <dgm:constr type="diam" refType="userA" fact="-1"/>
                <dgm:constr type="wArH" refType="userA" fact="0.05"/>
                <dgm:constr type="hArH" refType="userA" fact="0.1"/>
                <dgm:constr type="stemThick" refType="userA" fact="0.06"/>
                <dgm:constr type="begPad" refType="connDist" fact="-0.2"/>
                <dgm:constr type="endPad" refType="connDist" fact="0.05"/>
              </dgm:constrLst>
            </dgm:if>
            <dgm:else name="Name8">
              <dgm:alg type="conn">
                <dgm:param type="connRout" val="longCurve"/>
                <dgm:param type="begPts" val="midL"/>
                <dgm:param type="endPts" val="midR"/>
                <dgm:param type="dstNode" val="node1"/>
              </dgm:alg>
              <dgm:shape xmlns:r="http://schemas.openxmlformats.org/officeDocument/2006/relationships" type="conn" r:blip="" zOrderOff="-2">
                <dgm:adjLst/>
              </dgm:shape>
              <dgm:presOf axis="ch" ptType="sibTrans"/>
              <dgm:constrLst>
                <dgm:constr type="userA"/>
                <dgm:constr type="diam" refType="userA"/>
                <dgm:constr type="wArH" refType="userA" fact="0.05"/>
                <dgm:constr type="hArH" refType="userA" fact="0.1"/>
                <dgm:constr type="stemThick" refType="userA" fact="0.06"/>
                <dgm:constr type="begPad" refType="connDist" fact="-0.2"/>
                <dgm:constr type="endPad" refType="connDist" fact="0.05"/>
              </dgm:constrLst>
            </dgm:else>
          </dgm:choose>
          <dgm:ruleLst/>
        </dgm:layoutNode>
        <dgm:layoutNode name="node2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2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sp1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sp2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if>
      <dgm:else name="Name9">
        <dgm:layoutNode name="cycle">
          <dgm:choose name="Name10">
            <dgm:if name="Name11" func="var" arg="dir" op="equ" val="norm">
              <dgm:alg type="cycle">
                <dgm:param type="stAng" val="0"/>
                <dgm:param type="spanAng" val="360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diam" refType="w"/>
                <dgm:constr type="w" for="ch" ptType="node" refType="w"/>
                <dgm:constr type="sibSp" val="15"/>
                <dgm:constr type="userA" for="ch" ptType="sibTrans" refType="diam" op="equ" fact="-1"/>
                <dgm:constr type="wArH" for="ch" ptType="sibTrans" refType="diam" op="equ" fact="0.05"/>
                <dgm:constr type="hArH" for="ch" ptType="sibTrans" refType="diam" op="equ" fact="0.1"/>
                <dgm:constr type="stemThick" for="ch" ptType="sibTrans" refType="diam" op="equ" fact="0.065"/>
                <dgm:constr type="primFontSz" for="ch" ptType="node" op="equ"/>
              </dgm:constrLst>
            </dgm:if>
            <dgm:else name="Name12">
              <dgm:alg type="cycle">
                <dgm:param type="stAng" val="0"/>
                <dgm:param type="spanAng" val="-360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diam" refType="w"/>
                <dgm:constr type="w" for="ch" ptType="node" refType="w"/>
                <dgm:constr type="sibSp" val="15"/>
                <dgm:constr type="userA" for="ch" ptType="sibTrans" refType="diam" op="equ"/>
                <dgm:constr type="wArH" for="ch" ptType="sibTrans" refType="diam" op="equ" fact="0.05"/>
                <dgm:constr type="hArH" for="ch" ptType="sibTrans" refType="diam" op="equ" fact="0.1"/>
                <dgm:constr type="stemThick" for="ch" ptType="sibTrans" refType="diam" op="equ" fact="0.065"/>
                <dgm:constr type="primFontSz" for="ch" ptType="node" op="equ"/>
              </dgm:constrLst>
            </dgm:else>
          </dgm:choose>
          <dgm:ruleLst/>
          <dgm:forEach name="nodesFirstNodeForEach" axis="ch" ptType="node" cnt="1">
            <dgm:layoutNode name="nodeFirstNode">
              <dgm:varLst>
                <dgm:bulletEnabled val="1"/>
              </dgm:varLst>
              <dgm:alg type="tx"/>
              <dgm:shape xmlns:r="http://schemas.openxmlformats.org/officeDocument/2006/relationships" type="roundRect" r:blip="">
                <dgm:adjLst/>
              </dgm:shape>
              <dgm:presOf axis="desOrSelf" ptType="node"/>
              <dgm:constrLst>
                <dgm:constr type="h" refType="w" fact="0.5"/>
                <dgm:constr type="primFontSz" val="65"/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  <dgm:forEach name="sibTransForEach" axis="followSib" ptType="sibTrans" cnt="1">
              <dgm:layoutNode name="sibTransFirstNode" styleLbl="bgShp">
                <dgm:choose name="Name13">
                  <dgm:if name="Name14" func="var" arg="dir" op="equ" val="norm">
                    <dgm:alg type="conn">
                      <dgm:param type="connRout" val="longCurve"/>
                      <dgm:param type="begPts" val="midR"/>
                      <dgm:param type="endPts" val="midL"/>
                      <dgm:param type="dstNode" val="nodeFirstNode"/>
                    </dgm:alg>
                  </dgm:if>
                  <dgm:else name="Name15">
                    <dgm:alg type="conn">
                      <dgm:param type="connRout" val="longCurve"/>
                      <dgm:param type="begPts" val="midL"/>
                      <dgm:param type="endPts" val="midR"/>
                      <dgm:param type="dstNode" val="nodeFirstNode"/>
                    </dgm:alg>
                  </dgm:else>
                </dgm:choose>
                <dgm:shape xmlns:r="http://schemas.openxmlformats.org/officeDocument/2006/relationships" type="conn" r:blip="" zOrderOff="-2">
                  <dgm:adjLst/>
                </dgm:shape>
                <dgm:presOf axis="self"/>
                <dgm:choose name="Name16">
                  <dgm:if name="Name17" axis="par ch" ptType="doc node" func="cnt" op="equ" val="3">
                    <dgm:constrLst>
                      <dgm:constr type="userA"/>
                      <dgm:constr type="diam" refType="userA" fact="1.01"/>
                      <dgm:constr type="begPad" refType="connDist" fact="-0.2"/>
                      <dgm:constr type="endPad" refType="connDist" fact="0.05"/>
                    </dgm:constrLst>
                  </dgm:if>
                  <dgm:if name="Name18" axis="par ch" ptType="doc node" func="cnt" op="equ" val="4">
                    <dgm:constrLst>
                      <dgm:constr type="userA"/>
                      <dgm:constr type="diam" refType="userA" fact="1.26"/>
                      <dgm:constr type="begPad" refType="connDist" fact="-0.2"/>
                      <dgm:constr type="endPad" refType="connDist" fact="0.05"/>
                    </dgm:constrLst>
                  </dgm:if>
                  <dgm:if name="Name19" axis="par ch" ptType="doc node" func="cnt" op="equ" val="5">
                    <dgm:constrLst>
                      <dgm:constr type="userA"/>
                      <dgm:constr type="diam" refType="userA" fact="1.04"/>
                      <dgm:constr type="begPad" refType="connDist" fact="-0.2"/>
                      <dgm:constr type="endPad" refType="connDist" fact="0.05"/>
                    </dgm:constrLst>
                  </dgm:if>
                  <dgm:if name="Name20" axis="par ch" ptType="doc node" func="cnt" op="equ" val="6">
                    <dgm:constrLst>
                      <dgm:constr type="userA"/>
                      <dgm:constr type="diam" refType="userA" fact="1.1"/>
                      <dgm:constr type="begPad" refType="connDist" fact="-0.2"/>
                      <dgm:constr type="endPad" refType="connDist" fact="0.05"/>
                    </dgm:constrLst>
                  </dgm:if>
                  <dgm:else name="Name21">
                    <dgm:constrLst>
                      <dgm:constr type="userA"/>
                      <dgm:constr type="diam" refType="userA" fact="1.04"/>
                      <dgm:constr type="begPad" refType="connDist" fact="-0.2"/>
                      <dgm:constr type="endPad" refType="connDist" fact="0.05"/>
                    </dgm:constrLst>
                  </dgm:else>
                </dgm:choose>
                <dgm:ruleLst/>
              </dgm:layoutNode>
            </dgm:forEach>
          </dgm:forEach>
          <dgm:forEach name="followingNodesForEach" axis="ch" ptType="node" st="2">
            <dgm:layoutNode name="nodeFollowingNodes">
              <dgm:varLst>
                <dgm:bulletEnabled val="1"/>
              </dgm:varLst>
              <dgm:alg type="tx"/>
              <dgm:shape xmlns:r="http://schemas.openxmlformats.org/officeDocument/2006/relationships" type="roundRect" r:blip="">
                <dgm:adjLst/>
              </dgm:shape>
              <dgm:presOf axis="desOrSelf" ptType="node"/>
              <dgm:constrLst>
                <dgm:constr type="h" refType="w" fact="0.5"/>
                <dgm:constr type="primFontSz" val="65"/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</dgm:forEach>
        </dgm:layoutNode>
      </dgm:else>
    </dgm:choose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orgChart1">
  <dgm:title val=""/>
  <dgm:desc val=""/>
  <dgm:catLst>
    <dgm:cat type="hierarchy" pri="1000"/>
    <dgm:cat type="convert" pri="60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choose name="Name41">
                            <dgm:if name="Name42" axis="par des" func="maxDepth" op="lte" val="1">
                              <dgm:choose name="Name43">
                                <dgm:if name="Name44" axis="par ch" ptType="node asst" func="cnt" op="gte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</dgm:alg>
                                </dgm:if>
                                <dgm:else name="Name45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  <dgm:param type="srcNode" val="rootConnector"/>
                                  </dgm:alg>
                                </dgm:else>
                              </dgm:choose>
                            </dgm:if>
                            <dgm:else name="Name46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7" func="var" arg="hierBranch" op="equ" val="hang">
                    <dgm:layoutNode name="Name4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9">
                    <dgm:layoutNode name="Name50">
                      <dgm:choose name="Name51">
                        <dgm:if name="Name52" axis="self" func="depth" op="lte" val="2">
                          <dgm:choose name="Name53">
                            <dgm:if name="Name54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5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6">
                          <dgm:choose name="Name57">
                            <dgm:if name="Name5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0">
                  <dgm:if name="Name61" func="var" arg="hierBranch" op="equ" val="l">
                    <dgm:choose name="Name62">
                      <dgm:if name="Name63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4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5" func="var" arg="hierBranch" op="equ" val="r">
                    <dgm:choose name="Name66">
                      <dgm:if name="Name67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8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9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70" func="var" arg="hierBranch" op="equ" val="init">
                    <dgm:choose name="Name71">
                      <dgm:if name="Name72" axis="des" func="maxDepth" op="lte" val="1">
                        <dgm:choose name="Name73">
                          <dgm:if name="Name74" axis="ch" ptType="asst" func="cnt" op="gte" val="1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65"/>
                            </dgm:constrLst>
                          </dgm:if>
                          <dgm:else name="Name75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25"/>
                            </dgm:constrLst>
                          </dgm:else>
                        </dgm:choose>
                      </dgm:if>
                      <dgm:else name="Name7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7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78">
                    <dgm:if name="Name79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0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1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2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3">
                    <dgm:if name="Name8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8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86" func="var" arg="hierBranch" op="equ" val="hang">
                      <dgm:choose name="Name87">
                        <dgm:if name="Name8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8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90" func="var" arg="hierBranch" op="equ" val="std">
                      <dgm:choose name="Name91">
                        <dgm:if name="Name92" func="var" arg="dir" op="equ" val="norm">
                          <dgm:alg type="hierChild"/>
                        </dgm:if>
                        <dgm:else name="Name9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init">
                      <dgm:choose name="Name95">
                        <dgm:if name="Name9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97">
                          <dgm:choose name="Name98">
                            <dgm:if name="Name99" func="var" arg="dir" op="equ" val="norm">
                              <dgm:alg type="hierChild"/>
                            </dgm:if>
                            <dgm:else name="Name10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10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2" ref="rep2a"/>
                </dgm:layoutNode>
                <dgm:layoutNode name="hierChild5">
                  <dgm:choose name="Name103">
                    <dgm:if name="Name10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0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b"/>
                </dgm:layoutNode>
              </dgm:layoutNode>
            </dgm:forEach>
          </dgm:layoutNode>
          <dgm:layoutNode name="hierChild3">
            <dgm:choose name="Name107">
              <dgm:if name="Name10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10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0" axis="precedSib" ptType="parTrans" st="-1" cnt="1">
                <dgm:layoutNode name="Name111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2">
                  <dgm:if name="Name113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4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5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6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7" func="var" arg="hierBranch" op="equ" val="init">
                    <dgm:choose name="Name118">
                      <dgm:if name="Name119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20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21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22">
                    <dgm:if name="Name123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4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5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26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27">
                    <dgm:if name="Name128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9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30" func="var" arg="hierBranch" op="equ" val="hang">
                      <dgm:choose name="Name131">
                        <dgm:if name="Name132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33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34" func="var" arg="hierBranch" op="equ" val="std">
                      <dgm:choose name="Name135">
                        <dgm:if name="Name136" func="var" arg="dir" op="equ" val="norm">
                          <dgm:alg type="hierChild"/>
                        </dgm:if>
                        <dgm:else name="Name137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8" func="var" arg="hierBranch" op="equ" val="init">
                      <dgm:choose name="Name139">
                        <dgm:if name="Name140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41">
                          <dgm:alg type="hierChild"/>
                        </dgm:else>
                      </dgm:choose>
                    </dgm:if>
                    <dgm:else name="Name142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3" ref="rep2a"/>
                </dgm:layoutNode>
                <dgm:layoutNode name="hierChild7">
                  <dgm:choose name="Name144">
                    <dgm:if name="Name145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6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7" ref="rep2b"/>
                </dgm:layoutNode>
              </dgm:layoutNode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3d2">
  <dgm:title val=""/>
  <dgm:desc val=""/>
  <dgm:catLst>
    <dgm:cat type="3D" pri="11200"/>
  </dgm:catLst>
  <dgm:scene3d>
    <a:camera prst="orthographicFront"/>
    <a:lightRig rig="threePt" dir="t"/>
  </dgm:scene3d>
  <dgm:styleLbl name="node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tx1"/>
      </a:fontRef>
    </dgm:style>
  </dgm:styleLbl>
  <dgm:styleLbl name="aling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>
        <a:rot lat="0" lon="0" rev="7500000"/>
      </a:lightRig>
    </dgm:scene3d>
    <dgm:sp3d z="2540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>
        <a:rot lat="0" lon="0" rev="7500000"/>
      </a:lightRig>
    </dgm:scene3d>
    <dgm:sp3d z="-1524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>
        <a:rot lat="0" lon="0" rev="7500000"/>
      </a:lightRig>
    </dgm:scene3d>
    <dgm:sp3d z="-700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>
        <a:rot lat="0" lon="0" rev="7500000"/>
      </a:lightRig>
    </dgm:scene3d>
    <dgm:sp3d z="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>
        <a:rot lat="0" lon="0" rev="7500000"/>
      </a:lightRig>
    </dgm:scene3d>
    <dgm:sp3d z="-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>
        <a:rot lat="0" lon="0" rev="7500000"/>
      </a:lightRig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>
        <a:rot lat="0" lon="0" rev="7500000"/>
      </a:lightRig>
    </dgm:scene3d>
    <dgm:sp3d extrusionH="190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>
        <a:rot lat="0" lon="0" rev="7500000"/>
      </a:lightRig>
    </dgm:scene3d>
    <dgm:sp3d prstMaterial="plastic">
      <a:bevelT w="127000" h="3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2445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0800" h="190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bevelB w="120650" h="571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>
        <a:rot lat="0" lon="0" rev="7500000"/>
      </a:lightRig>
    </dgm:scene3d>
    <dgm:sp3d z="-152400" extrusionH="63500" prstMaterial="matte">
      <a:bevelT w="144450" h="6350" prst="relaxedInset"/>
      <a:contourClr>
        <a:schemeClr val="bg1"/>
      </a:contourClr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  <a:bevelB w="88900" h="121750" prst="angle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trBgShp">
    <dgm:scene3d>
      <a:camera prst="orthographicFront"/>
      <a:lightRig rig="threePt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4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65131</cdr:x>
      <cdr:y>0.00307</cdr:y>
    </cdr:from>
    <cdr:to>
      <cdr:x>0.79875</cdr:x>
      <cdr:y>0.05538</cdr:y>
    </cdr:to>
    <cdr:sp macro="" textlink="">
      <cdr:nvSpPr>
        <cdr:cNvPr id="2" name="Rectangle 1">
          <a:extLst xmlns:a="http://schemas.openxmlformats.org/drawingml/2006/main"/>
        </cdr:cNvPr>
        <cdr:cNvSpPr/>
      </cdr:nvSpPr>
      <cdr:spPr>
        <a:xfrm xmlns:a="http://schemas.openxmlformats.org/drawingml/2006/main">
          <a:off x="3716033" y="15527"/>
          <a:ext cx="841215" cy="26456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>
          <a:spAutoFit/>
        </a:bodyPr>
        <a:lstStyle xmlns:a="http://schemas.openxmlformats.org/drawingml/2006/main"/>
        <a:p xmlns:a="http://schemas.openxmlformats.org/drawingml/2006/main">
          <a:endParaRPr lang="id-ID"/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5F7137D-D25B-4F97-BB93-9F5FF00FDBBD}" type="datetimeFigureOut">
              <a:rPr lang="en-US" smtClean="0"/>
              <a:pPr/>
              <a:t>7/25/20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CC28FD5-A87C-4F17-A048-CBB0F51485E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149587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497" name="Slide Image Placeholder 1">
            <a:extLst>
              <a:ext uri="{FF2B5EF4-FFF2-40B4-BE49-F238E27FC236}">
                <a16:creationId xmlns="" xmlns:a16="http://schemas.microsoft.com/office/drawing/2014/main" id="{BB4067A0-2C3B-449F-8D6E-1044906F9481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06498" name="Notes Placeholder 2">
            <a:extLst>
              <a:ext uri="{FF2B5EF4-FFF2-40B4-BE49-F238E27FC236}">
                <a16:creationId xmlns="" xmlns:a16="http://schemas.microsoft.com/office/drawing/2014/main" id="{3D29D47B-903F-4DBB-8D7C-44AACD6B35B9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id-ID" altLang="id-ID"/>
          </a:p>
        </p:txBody>
      </p:sp>
      <p:sp>
        <p:nvSpPr>
          <p:cNvPr id="106499" name="Slide Number Placeholder 3">
            <a:extLst>
              <a:ext uri="{FF2B5EF4-FFF2-40B4-BE49-F238E27FC236}">
                <a16:creationId xmlns="" xmlns:a16="http://schemas.microsoft.com/office/drawing/2014/main" id="{1573D85E-96AD-42DC-8F6B-98DD2B79886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31863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25488" indent="-279400" defTabSz="931863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17600" indent="-222250" defTabSz="931863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563688" indent="-222250" defTabSz="931863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11363" indent="-222250" defTabSz="931863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468563" indent="-222250" defTabSz="9318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25763" indent="-222250" defTabSz="9318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382963" indent="-222250" defTabSz="9318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40163" indent="-222250" defTabSz="9318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marL="0" marR="0" lvl="0" indent="0" algn="r" defTabSz="9318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68E1142-1CD7-40F2-B608-CA8D8128A0FD}" type="slidenum">
              <a:rPr kumimoji="0" lang="en-US" altLang="id-ID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pPr marL="0" marR="0" lvl="0" indent="0" algn="r" defTabSz="9318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altLang="id-ID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MS PGothic" panose="020B0600070205080204" pitchFamily="34" charset="-128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1762204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d-ID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F735EA6-6C54-4848-A694-9C70588BA337}" type="slidenum">
              <a:rPr kumimoji="0" lang="id-ID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id-ID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921645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CC28FD5-A87C-4F17-A048-CBB0F51485EC}" type="slidenum">
              <a:rPr lang="en-US" smtClean="0"/>
              <a:pPr/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4896070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CC28FD5-A87C-4F17-A048-CBB0F51485EC}" type="slidenum">
              <a:rPr lang="en-US" smtClean="0"/>
              <a:pPr/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65017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CC28FD5-A87C-4F17-A048-CBB0F51485EC}" type="slidenum">
              <a:rPr lang="en-US" smtClean="0"/>
              <a:pPr/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65017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sz="1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C3A632B-FBDE-46D4-BF6F-6D14421E634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40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68744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A925B8A1-B2CA-4523-8C9E-F4A8107AD933}" type="datetime1">
              <a:rPr lang="en-US" smtClean="0"/>
              <a:pPr/>
              <a:t>7/25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ECD629-4DA5-4EAE-B174-69948CAAE2C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620521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3"/>
          <p:cNvSpPr>
            <a:spLocks noGrp="1"/>
          </p:cNvSpPr>
          <p:nvPr>
            <p:ph type="pic" sz="quarter" idx="16"/>
          </p:nvPr>
        </p:nvSpPr>
        <p:spPr>
          <a:xfrm>
            <a:off x="1698083" y="4177364"/>
            <a:ext cx="1518301" cy="1375404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noFill/>
          </a:ln>
          <a:effectLst/>
        </p:spPr>
        <p:txBody>
          <a:bodyPr lIns="0" tIns="0" rIns="0" bIns="0" anchor="ctr">
            <a:normAutofit/>
          </a:bodyPr>
          <a:lstStyle>
            <a:lvl1pPr marL="0" indent="0" algn="ctr">
              <a:buNone/>
              <a:defRPr lang="en-US" sz="140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+mn-lt"/>
              </a:defRPr>
            </a:lvl1pPr>
          </a:lstStyle>
          <a:p>
            <a:pPr marL="0" lvl="0" defTabSz="292071"/>
            <a:endParaRPr lang="en-US"/>
          </a:p>
        </p:txBody>
      </p:sp>
      <p:sp>
        <p:nvSpPr>
          <p:cNvPr id="11" name="Picture Placeholder 13"/>
          <p:cNvSpPr>
            <a:spLocks noGrp="1"/>
          </p:cNvSpPr>
          <p:nvPr>
            <p:ph type="pic" sz="quarter" idx="15"/>
          </p:nvPr>
        </p:nvSpPr>
        <p:spPr>
          <a:xfrm>
            <a:off x="4320007" y="1763693"/>
            <a:ext cx="1518301" cy="1375404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noFill/>
          </a:ln>
          <a:effectLst/>
        </p:spPr>
        <p:txBody>
          <a:bodyPr lIns="0" tIns="0" rIns="0" bIns="0" anchor="ctr">
            <a:normAutofit/>
          </a:bodyPr>
          <a:lstStyle>
            <a:lvl1pPr marL="0" indent="0" algn="ctr">
              <a:buNone/>
              <a:defRPr lang="en-US" sz="140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+mn-lt"/>
              </a:defRPr>
            </a:lvl1pPr>
          </a:lstStyle>
          <a:p>
            <a:pPr marL="0" lvl="0" defTabSz="292071"/>
            <a:endParaRPr lang="en-US"/>
          </a:p>
        </p:txBody>
      </p:sp>
      <p:sp>
        <p:nvSpPr>
          <p:cNvPr id="13" name="Picture Placeholder 13"/>
          <p:cNvSpPr>
            <a:spLocks noGrp="1"/>
          </p:cNvSpPr>
          <p:nvPr>
            <p:ph type="pic" sz="quarter" idx="17"/>
          </p:nvPr>
        </p:nvSpPr>
        <p:spPr>
          <a:xfrm>
            <a:off x="6941914" y="4177364"/>
            <a:ext cx="1518301" cy="1375404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noFill/>
          </a:ln>
          <a:effectLst/>
        </p:spPr>
        <p:txBody>
          <a:bodyPr lIns="0" tIns="0" rIns="0" bIns="0" anchor="ctr">
            <a:normAutofit/>
          </a:bodyPr>
          <a:lstStyle>
            <a:lvl1pPr marL="0" indent="0" algn="ctr">
              <a:buNone/>
              <a:defRPr lang="en-US" sz="140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+mn-lt"/>
              </a:defRPr>
            </a:lvl1pPr>
          </a:lstStyle>
          <a:p>
            <a:pPr marL="0" lvl="0" defTabSz="292071"/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ECD629-4DA5-4EAE-B174-69948CAAE2C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193506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/>
          <p:cNvSpPr>
            <a:spLocks noGrp="1"/>
          </p:cNvSpPr>
          <p:nvPr>
            <p:ph type="pic" sz="quarter" idx="18"/>
          </p:nvPr>
        </p:nvSpPr>
        <p:spPr>
          <a:xfrm>
            <a:off x="7995407" y="2456104"/>
            <a:ext cx="1191194" cy="1186991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noFill/>
          </a:ln>
          <a:effectLst/>
        </p:spPr>
        <p:txBody>
          <a:bodyPr lIns="0" tIns="0" rIns="0" bIns="0" anchor="ctr">
            <a:normAutofit/>
          </a:bodyPr>
          <a:lstStyle>
            <a:lvl1pPr marL="0" indent="0" algn="ctr">
              <a:buNone/>
              <a:defRPr lang="en-US" sz="140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+mn-lt"/>
              </a:defRPr>
            </a:lvl1pPr>
          </a:lstStyle>
          <a:p>
            <a:pPr marL="0" lvl="0" defTabSz="292071"/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ECD629-4DA5-4EAE-B174-69948CAAE2C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Picture Placeholder 13"/>
          <p:cNvSpPr>
            <a:spLocks noGrp="1"/>
          </p:cNvSpPr>
          <p:nvPr>
            <p:ph type="pic" sz="quarter" idx="16"/>
          </p:nvPr>
        </p:nvSpPr>
        <p:spPr>
          <a:xfrm>
            <a:off x="1409779" y="2456104"/>
            <a:ext cx="1191194" cy="1186991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noFill/>
          </a:ln>
          <a:effectLst/>
        </p:spPr>
        <p:txBody>
          <a:bodyPr lIns="0" tIns="0" rIns="0" bIns="0" anchor="ctr">
            <a:normAutofit/>
          </a:bodyPr>
          <a:lstStyle>
            <a:lvl1pPr marL="0" indent="0" algn="ctr">
              <a:buNone/>
              <a:defRPr lang="en-US" sz="140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+mn-lt"/>
              </a:defRPr>
            </a:lvl1pPr>
          </a:lstStyle>
          <a:p>
            <a:pPr marL="0" lvl="0" defTabSz="292071"/>
            <a:endParaRPr lang="en-US"/>
          </a:p>
        </p:txBody>
      </p:sp>
      <p:sp>
        <p:nvSpPr>
          <p:cNvPr id="10" name="Picture Placeholder 13"/>
          <p:cNvSpPr>
            <a:spLocks noGrp="1"/>
          </p:cNvSpPr>
          <p:nvPr>
            <p:ph type="pic" sz="quarter" idx="17"/>
          </p:nvPr>
        </p:nvSpPr>
        <p:spPr>
          <a:xfrm>
            <a:off x="4702593" y="2456104"/>
            <a:ext cx="1191194" cy="1186991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noFill/>
          </a:ln>
          <a:effectLst/>
        </p:spPr>
        <p:txBody>
          <a:bodyPr lIns="0" tIns="0" rIns="0" bIns="0" anchor="ctr">
            <a:normAutofit/>
          </a:bodyPr>
          <a:lstStyle>
            <a:lvl1pPr marL="0" indent="0" algn="ctr">
              <a:buNone/>
              <a:defRPr lang="en-US" sz="140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+mn-lt"/>
              </a:defRPr>
            </a:lvl1pPr>
          </a:lstStyle>
          <a:p>
            <a:pPr marL="0" lvl="0" defTabSz="292071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7350751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4" name="Picture Placeholder 13"/>
          <p:cNvSpPr>
            <a:spLocks noGrp="1"/>
          </p:cNvSpPr>
          <p:nvPr>
            <p:ph type="pic" sz="quarter" idx="28"/>
          </p:nvPr>
        </p:nvSpPr>
        <p:spPr>
          <a:xfrm>
            <a:off x="8790271" y="5705127"/>
            <a:ext cx="426881" cy="395859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noFill/>
          </a:ln>
          <a:effectLst/>
        </p:spPr>
        <p:txBody>
          <a:bodyPr lIns="0" tIns="0" rIns="0" bIns="0" anchor="ctr">
            <a:normAutofit/>
          </a:bodyPr>
          <a:lstStyle>
            <a:lvl1pPr marL="0" indent="0" algn="ctr">
              <a:buNone/>
              <a:defRPr lang="en-US" sz="100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+mn-lt"/>
              </a:defRPr>
            </a:lvl1pPr>
          </a:lstStyle>
          <a:p>
            <a:pPr marL="0" lvl="0" defTabSz="292071"/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ECD629-4DA5-4EAE-B174-69948CAAE2C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Picture Placeholder 13"/>
          <p:cNvSpPr>
            <a:spLocks noGrp="1"/>
          </p:cNvSpPr>
          <p:nvPr>
            <p:ph type="pic" sz="quarter" idx="16"/>
          </p:nvPr>
        </p:nvSpPr>
        <p:spPr>
          <a:xfrm>
            <a:off x="1717375" y="2728940"/>
            <a:ext cx="536795" cy="490561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noFill/>
          </a:ln>
          <a:effectLst/>
        </p:spPr>
        <p:txBody>
          <a:bodyPr lIns="0" tIns="0" rIns="0" bIns="0" anchor="ctr">
            <a:normAutofit/>
          </a:bodyPr>
          <a:lstStyle>
            <a:lvl1pPr marL="0" indent="0" algn="ctr">
              <a:buNone/>
              <a:defRPr lang="en-US" sz="105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+mn-lt"/>
              </a:defRPr>
            </a:lvl1pPr>
          </a:lstStyle>
          <a:p>
            <a:pPr marL="0" lvl="0" defTabSz="292071"/>
            <a:endParaRPr lang="en-US" dirty="0"/>
          </a:p>
        </p:txBody>
      </p:sp>
      <p:sp>
        <p:nvSpPr>
          <p:cNvPr id="153" name="Picture Placeholder 13"/>
          <p:cNvSpPr>
            <a:spLocks noGrp="1"/>
          </p:cNvSpPr>
          <p:nvPr>
            <p:ph type="pic" sz="quarter" idx="17"/>
          </p:nvPr>
        </p:nvSpPr>
        <p:spPr>
          <a:xfrm>
            <a:off x="4845532" y="1553987"/>
            <a:ext cx="618585" cy="556731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noFill/>
          </a:ln>
          <a:effectLst/>
        </p:spPr>
        <p:txBody>
          <a:bodyPr lIns="0" tIns="0" rIns="0" bIns="0" anchor="ctr">
            <a:normAutofit/>
          </a:bodyPr>
          <a:lstStyle>
            <a:lvl1pPr marL="0" indent="0" algn="ctr">
              <a:buNone/>
              <a:defRPr lang="en-US" sz="105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+mn-lt"/>
              </a:defRPr>
            </a:lvl1pPr>
          </a:lstStyle>
          <a:p>
            <a:pPr marL="0" lvl="0" defTabSz="292071"/>
            <a:endParaRPr lang="en-US" dirty="0"/>
          </a:p>
        </p:txBody>
      </p:sp>
      <p:sp>
        <p:nvSpPr>
          <p:cNvPr id="154" name="Picture Placeholder 13"/>
          <p:cNvSpPr>
            <a:spLocks noGrp="1"/>
          </p:cNvSpPr>
          <p:nvPr>
            <p:ph type="pic" sz="quarter" idx="18"/>
          </p:nvPr>
        </p:nvSpPr>
        <p:spPr>
          <a:xfrm>
            <a:off x="4969678" y="2728940"/>
            <a:ext cx="536795" cy="490561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noFill/>
          </a:ln>
          <a:effectLst/>
        </p:spPr>
        <p:txBody>
          <a:bodyPr lIns="0" tIns="0" rIns="0" bIns="0" anchor="ctr">
            <a:normAutofit/>
          </a:bodyPr>
          <a:lstStyle>
            <a:lvl1pPr marL="0" indent="0" algn="ctr">
              <a:buNone/>
              <a:defRPr lang="en-US" sz="105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+mn-lt"/>
              </a:defRPr>
            </a:lvl1pPr>
          </a:lstStyle>
          <a:p>
            <a:pPr marL="0" lvl="0" defTabSz="292071"/>
            <a:endParaRPr lang="en-US" dirty="0"/>
          </a:p>
        </p:txBody>
      </p:sp>
      <p:sp>
        <p:nvSpPr>
          <p:cNvPr id="155" name="Picture Placeholder 13"/>
          <p:cNvSpPr>
            <a:spLocks noGrp="1"/>
          </p:cNvSpPr>
          <p:nvPr>
            <p:ph type="pic" sz="quarter" idx="19"/>
          </p:nvPr>
        </p:nvSpPr>
        <p:spPr>
          <a:xfrm>
            <a:off x="8221980" y="2728940"/>
            <a:ext cx="536795" cy="490561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noFill/>
          </a:ln>
          <a:effectLst/>
        </p:spPr>
        <p:txBody>
          <a:bodyPr lIns="0" tIns="0" rIns="0" bIns="0" anchor="ctr">
            <a:normAutofit/>
          </a:bodyPr>
          <a:lstStyle>
            <a:lvl1pPr marL="0" indent="0" algn="ctr">
              <a:buNone/>
              <a:defRPr lang="en-US" sz="105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+mn-lt"/>
              </a:defRPr>
            </a:lvl1pPr>
          </a:lstStyle>
          <a:p>
            <a:pPr marL="0" lvl="0" defTabSz="292071"/>
            <a:endParaRPr lang="en-US" dirty="0"/>
          </a:p>
        </p:txBody>
      </p:sp>
      <p:sp>
        <p:nvSpPr>
          <p:cNvPr id="156" name="Picture Placeholder 13"/>
          <p:cNvSpPr>
            <a:spLocks noGrp="1"/>
          </p:cNvSpPr>
          <p:nvPr>
            <p:ph type="pic" sz="quarter" idx="20"/>
          </p:nvPr>
        </p:nvSpPr>
        <p:spPr>
          <a:xfrm>
            <a:off x="2201639" y="3856080"/>
            <a:ext cx="426881" cy="395859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noFill/>
          </a:ln>
          <a:effectLst/>
        </p:spPr>
        <p:txBody>
          <a:bodyPr lIns="0" tIns="0" rIns="0" bIns="0" anchor="ctr">
            <a:normAutofit/>
          </a:bodyPr>
          <a:lstStyle>
            <a:lvl1pPr marL="0" indent="0" algn="ctr">
              <a:buNone/>
              <a:defRPr lang="en-US" sz="100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+mn-lt"/>
              </a:defRPr>
            </a:lvl1pPr>
          </a:lstStyle>
          <a:p>
            <a:pPr marL="0" lvl="0" defTabSz="292071"/>
            <a:endParaRPr lang="en-US" dirty="0"/>
          </a:p>
        </p:txBody>
      </p:sp>
      <p:sp>
        <p:nvSpPr>
          <p:cNvPr id="157" name="Picture Placeholder 13"/>
          <p:cNvSpPr>
            <a:spLocks noGrp="1"/>
          </p:cNvSpPr>
          <p:nvPr>
            <p:ph type="pic" sz="quarter" idx="21"/>
          </p:nvPr>
        </p:nvSpPr>
        <p:spPr>
          <a:xfrm>
            <a:off x="2201639" y="4438603"/>
            <a:ext cx="426881" cy="395859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noFill/>
          </a:ln>
          <a:effectLst/>
        </p:spPr>
        <p:txBody>
          <a:bodyPr lIns="0" tIns="0" rIns="0" bIns="0" anchor="ctr">
            <a:normAutofit/>
          </a:bodyPr>
          <a:lstStyle>
            <a:lvl1pPr marL="0" indent="0" algn="ctr">
              <a:buNone/>
              <a:defRPr lang="en-US" sz="100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+mn-lt"/>
              </a:defRPr>
            </a:lvl1pPr>
          </a:lstStyle>
          <a:p>
            <a:pPr marL="0" lvl="0" defTabSz="292071"/>
            <a:endParaRPr lang="en-US" dirty="0"/>
          </a:p>
        </p:txBody>
      </p:sp>
      <p:sp>
        <p:nvSpPr>
          <p:cNvPr id="158" name="Picture Placeholder 13"/>
          <p:cNvSpPr>
            <a:spLocks noGrp="1"/>
          </p:cNvSpPr>
          <p:nvPr>
            <p:ph type="pic" sz="quarter" idx="22"/>
          </p:nvPr>
        </p:nvSpPr>
        <p:spPr>
          <a:xfrm>
            <a:off x="5537303" y="3856080"/>
            <a:ext cx="426881" cy="395859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noFill/>
          </a:ln>
          <a:effectLst/>
        </p:spPr>
        <p:txBody>
          <a:bodyPr lIns="0" tIns="0" rIns="0" bIns="0" anchor="ctr">
            <a:normAutofit/>
          </a:bodyPr>
          <a:lstStyle>
            <a:lvl1pPr marL="0" indent="0" algn="ctr">
              <a:buNone/>
              <a:defRPr lang="en-US" sz="100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+mn-lt"/>
              </a:defRPr>
            </a:lvl1pPr>
          </a:lstStyle>
          <a:p>
            <a:pPr marL="0" lvl="0" defTabSz="292071"/>
            <a:endParaRPr lang="en-US" dirty="0"/>
          </a:p>
        </p:txBody>
      </p:sp>
      <p:sp>
        <p:nvSpPr>
          <p:cNvPr id="159" name="Picture Placeholder 13"/>
          <p:cNvSpPr>
            <a:spLocks noGrp="1"/>
          </p:cNvSpPr>
          <p:nvPr>
            <p:ph type="pic" sz="quarter" idx="23"/>
          </p:nvPr>
        </p:nvSpPr>
        <p:spPr>
          <a:xfrm>
            <a:off x="5537303" y="4438603"/>
            <a:ext cx="426881" cy="395859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noFill/>
          </a:ln>
          <a:effectLst/>
        </p:spPr>
        <p:txBody>
          <a:bodyPr lIns="0" tIns="0" rIns="0" bIns="0" anchor="ctr">
            <a:normAutofit/>
          </a:bodyPr>
          <a:lstStyle>
            <a:lvl1pPr marL="0" indent="0" algn="ctr">
              <a:buNone/>
              <a:defRPr lang="en-US" sz="100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+mn-lt"/>
              </a:defRPr>
            </a:lvl1pPr>
          </a:lstStyle>
          <a:p>
            <a:pPr marL="0" lvl="0" defTabSz="292071"/>
            <a:endParaRPr lang="en-US" dirty="0"/>
          </a:p>
        </p:txBody>
      </p:sp>
      <p:sp>
        <p:nvSpPr>
          <p:cNvPr id="160" name="Picture Placeholder 13"/>
          <p:cNvSpPr>
            <a:spLocks noGrp="1"/>
          </p:cNvSpPr>
          <p:nvPr>
            <p:ph type="pic" sz="quarter" idx="24"/>
          </p:nvPr>
        </p:nvSpPr>
        <p:spPr>
          <a:xfrm>
            <a:off x="5537303" y="5047098"/>
            <a:ext cx="426881" cy="395859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noFill/>
          </a:ln>
          <a:effectLst/>
        </p:spPr>
        <p:txBody>
          <a:bodyPr lIns="0" tIns="0" rIns="0" bIns="0" anchor="ctr">
            <a:normAutofit/>
          </a:bodyPr>
          <a:lstStyle>
            <a:lvl1pPr marL="0" indent="0" algn="ctr">
              <a:buNone/>
              <a:defRPr lang="en-US" sz="100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+mn-lt"/>
              </a:defRPr>
            </a:lvl1pPr>
          </a:lstStyle>
          <a:p>
            <a:pPr marL="0" lvl="0" defTabSz="292071"/>
            <a:endParaRPr lang="en-US" dirty="0"/>
          </a:p>
        </p:txBody>
      </p:sp>
      <p:sp>
        <p:nvSpPr>
          <p:cNvPr id="161" name="Picture Placeholder 13"/>
          <p:cNvSpPr>
            <a:spLocks noGrp="1"/>
          </p:cNvSpPr>
          <p:nvPr>
            <p:ph type="pic" sz="quarter" idx="25"/>
          </p:nvPr>
        </p:nvSpPr>
        <p:spPr>
          <a:xfrm>
            <a:off x="8790271" y="3856080"/>
            <a:ext cx="426881" cy="395859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noFill/>
          </a:ln>
          <a:effectLst/>
        </p:spPr>
        <p:txBody>
          <a:bodyPr lIns="0" tIns="0" rIns="0" bIns="0" anchor="ctr">
            <a:normAutofit/>
          </a:bodyPr>
          <a:lstStyle>
            <a:lvl1pPr marL="0" indent="0" algn="ctr">
              <a:buNone/>
              <a:defRPr lang="en-US" sz="100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+mn-lt"/>
              </a:defRPr>
            </a:lvl1pPr>
          </a:lstStyle>
          <a:p>
            <a:pPr marL="0" lvl="0" defTabSz="292071"/>
            <a:endParaRPr lang="en-US" dirty="0"/>
          </a:p>
        </p:txBody>
      </p:sp>
      <p:sp>
        <p:nvSpPr>
          <p:cNvPr id="162" name="Picture Placeholder 13"/>
          <p:cNvSpPr>
            <a:spLocks noGrp="1"/>
          </p:cNvSpPr>
          <p:nvPr>
            <p:ph type="pic" sz="quarter" idx="26"/>
          </p:nvPr>
        </p:nvSpPr>
        <p:spPr>
          <a:xfrm>
            <a:off x="8790271" y="4438603"/>
            <a:ext cx="426881" cy="395859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noFill/>
          </a:ln>
          <a:effectLst/>
        </p:spPr>
        <p:txBody>
          <a:bodyPr lIns="0" tIns="0" rIns="0" bIns="0" anchor="ctr">
            <a:normAutofit/>
          </a:bodyPr>
          <a:lstStyle>
            <a:lvl1pPr marL="0" indent="0" algn="ctr">
              <a:buNone/>
              <a:defRPr lang="en-US" sz="100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+mn-lt"/>
              </a:defRPr>
            </a:lvl1pPr>
          </a:lstStyle>
          <a:p>
            <a:pPr marL="0" lvl="0" defTabSz="292071"/>
            <a:endParaRPr lang="en-US" dirty="0"/>
          </a:p>
        </p:txBody>
      </p:sp>
      <p:sp>
        <p:nvSpPr>
          <p:cNvPr id="163" name="Picture Placeholder 13"/>
          <p:cNvSpPr>
            <a:spLocks noGrp="1"/>
          </p:cNvSpPr>
          <p:nvPr>
            <p:ph type="pic" sz="quarter" idx="27"/>
          </p:nvPr>
        </p:nvSpPr>
        <p:spPr>
          <a:xfrm>
            <a:off x="8790271" y="5087061"/>
            <a:ext cx="426881" cy="395859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noFill/>
          </a:ln>
          <a:effectLst/>
        </p:spPr>
        <p:txBody>
          <a:bodyPr lIns="0" tIns="0" rIns="0" bIns="0" anchor="ctr">
            <a:normAutofit/>
          </a:bodyPr>
          <a:lstStyle>
            <a:lvl1pPr marL="0" indent="0" algn="ctr">
              <a:buNone/>
              <a:defRPr lang="en-US" sz="100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+mn-lt"/>
              </a:defRPr>
            </a:lvl1pPr>
          </a:lstStyle>
          <a:p>
            <a:pPr marL="0" lvl="0" defTabSz="29207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001847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Picture Placeholder 13"/>
          <p:cNvSpPr>
            <a:spLocks noGrp="1"/>
          </p:cNvSpPr>
          <p:nvPr>
            <p:ph type="pic" sz="quarter" idx="24"/>
          </p:nvPr>
        </p:nvSpPr>
        <p:spPr>
          <a:xfrm>
            <a:off x="7589378" y="3008829"/>
            <a:ext cx="838963" cy="73341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noFill/>
          </a:ln>
          <a:effectLst/>
        </p:spPr>
        <p:txBody>
          <a:bodyPr lIns="0" tIns="0" rIns="0" bIns="0" anchor="ctr">
            <a:normAutofit/>
          </a:bodyPr>
          <a:lstStyle>
            <a:lvl1pPr marL="0" indent="0" algn="ctr">
              <a:buNone/>
              <a:defRPr lang="en-US" sz="105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+mn-lt"/>
              </a:defRPr>
            </a:lvl1pPr>
          </a:lstStyle>
          <a:p>
            <a:pPr marL="0" lvl="0" defTabSz="292071"/>
            <a:endParaRPr lang="en-US" dirty="0"/>
          </a:p>
        </p:txBody>
      </p:sp>
      <p:sp>
        <p:nvSpPr>
          <p:cNvPr id="34" name="Picture Placeholder 13"/>
          <p:cNvSpPr>
            <a:spLocks noGrp="1"/>
          </p:cNvSpPr>
          <p:nvPr>
            <p:ph type="pic" sz="quarter" idx="25"/>
          </p:nvPr>
        </p:nvSpPr>
        <p:spPr>
          <a:xfrm>
            <a:off x="7589378" y="4178804"/>
            <a:ext cx="838963" cy="73341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noFill/>
          </a:ln>
          <a:effectLst/>
        </p:spPr>
        <p:txBody>
          <a:bodyPr lIns="0" tIns="0" rIns="0" bIns="0" anchor="ctr">
            <a:normAutofit/>
          </a:bodyPr>
          <a:lstStyle>
            <a:lvl1pPr marL="0" indent="0" algn="ctr">
              <a:buNone/>
              <a:defRPr lang="en-US" sz="105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+mn-lt"/>
              </a:defRPr>
            </a:lvl1pPr>
          </a:lstStyle>
          <a:p>
            <a:pPr marL="0" lvl="0" defTabSz="292071"/>
            <a:endParaRPr lang="en-US" dirty="0"/>
          </a:p>
        </p:txBody>
      </p:sp>
      <p:sp>
        <p:nvSpPr>
          <p:cNvPr id="35" name="Picture Placeholder 13"/>
          <p:cNvSpPr>
            <a:spLocks noGrp="1"/>
          </p:cNvSpPr>
          <p:nvPr>
            <p:ph type="pic" sz="quarter" idx="26"/>
          </p:nvPr>
        </p:nvSpPr>
        <p:spPr>
          <a:xfrm>
            <a:off x="7589378" y="5348779"/>
            <a:ext cx="838963" cy="73341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noFill/>
          </a:ln>
          <a:effectLst/>
        </p:spPr>
        <p:txBody>
          <a:bodyPr lIns="0" tIns="0" rIns="0" bIns="0" anchor="ctr">
            <a:normAutofit/>
          </a:bodyPr>
          <a:lstStyle>
            <a:lvl1pPr marL="0" indent="0" algn="ctr">
              <a:buNone/>
              <a:defRPr lang="en-US" sz="105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+mn-lt"/>
              </a:defRPr>
            </a:lvl1pPr>
          </a:lstStyle>
          <a:p>
            <a:pPr marL="0" lvl="0" defTabSz="292071"/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ECD629-4DA5-4EAE-B174-69948CAAE2C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53" name="Picture Placeholder 13"/>
          <p:cNvSpPr>
            <a:spLocks noGrp="1"/>
          </p:cNvSpPr>
          <p:nvPr>
            <p:ph type="pic" sz="quarter" idx="17"/>
          </p:nvPr>
        </p:nvSpPr>
        <p:spPr>
          <a:xfrm>
            <a:off x="4943964" y="1534985"/>
            <a:ext cx="838963" cy="73341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noFill/>
          </a:ln>
          <a:effectLst/>
        </p:spPr>
        <p:txBody>
          <a:bodyPr lIns="0" tIns="0" rIns="0" bIns="0" anchor="ctr">
            <a:normAutofit/>
          </a:bodyPr>
          <a:lstStyle>
            <a:lvl1pPr marL="0" indent="0" algn="ctr">
              <a:buNone/>
              <a:defRPr lang="en-US" sz="105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+mn-lt"/>
              </a:defRPr>
            </a:lvl1pPr>
          </a:lstStyle>
          <a:p>
            <a:pPr marL="0" lvl="0" defTabSz="292071"/>
            <a:endParaRPr lang="en-US" dirty="0"/>
          </a:p>
        </p:txBody>
      </p:sp>
      <p:sp>
        <p:nvSpPr>
          <p:cNvPr id="27" name="Picture Placeholder 13"/>
          <p:cNvSpPr>
            <a:spLocks noGrp="1"/>
          </p:cNvSpPr>
          <p:nvPr>
            <p:ph type="pic" sz="quarter" idx="18"/>
          </p:nvPr>
        </p:nvSpPr>
        <p:spPr>
          <a:xfrm>
            <a:off x="2298548" y="3008829"/>
            <a:ext cx="838963" cy="73341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noFill/>
          </a:ln>
          <a:effectLst/>
        </p:spPr>
        <p:txBody>
          <a:bodyPr lIns="0" tIns="0" rIns="0" bIns="0" anchor="ctr">
            <a:normAutofit/>
          </a:bodyPr>
          <a:lstStyle>
            <a:lvl1pPr marL="0" indent="0" algn="ctr">
              <a:buNone/>
              <a:defRPr lang="en-US" sz="105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+mn-lt"/>
              </a:defRPr>
            </a:lvl1pPr>
          </a:lstStyle>
          <a:p>
            <a:pPr marL="0" lvl="0" defTabSz="292071"/>
            <a:endParaRPr lang="en-US" dirty="0"/>
          </a:p>
        </p:txBody>
      </p:sp>
      <p:sp>
        <p:nvSpPr>
          <p:cNvPr id="28" name="Picture Placeholder 13"/>
          <p:cNvSpPr>
            <a:spLocks noGrp="1"/>
          </p:cNvSpPr>
          <p:nvPr>
            <p:ph type="pic" sz="quarter" idx="19"/>
          </p:nvPr>
        </p:nvSpPr>
        <p:spPr>
          <a:xfrm>
            <a:off x="2298548" y="4178804"/>
            <a:ext cx="838963" cy="73341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noFill/>
          </a:ln>
          <a:effectLst/>
        </p:spPr>
        <p:txBody>
          <a:bodyPr lIns="0" tIns="0" rIns="0" bIns="0" anchor="ctr">
            <a:normAutofit/>
          </a:bodyPr>
          <a:lstStyle>
            <a:lvl1pPr marL="0" indent="0" algn="ctr">
              <a:buNone/>
              <a:defRPr lang="en-US" sz="105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+mn-lt"/>
              </a:defRPr>
            </a:lvl1pPr>
          </a:lstStyle>
          <a:p>
            <a:pPr marL="0" lvl="0" defTabSz="292071"/>
            <a:endParaRPr lang="en-US" dirty="0"/>
          </a:p>
        </p:txBody>
      </p:sp>
      <p:sp>
        <p:nvSpPr>
          <p:cNvPr id="29" name="Picture Placeholder 13"/>
          <p:cNvSpPr>
            <a:spLocks noGrp="1"/>
          </p:cNvSpPr>
          <p:nvPr>
            <p:ph type="pic" sz="quarter" idx="20"/>
          </p:nvPr>
        </p:nvSpPr>
        <p:spPr>
          <a:xfrm>
            <a:off x="2298548" y="5348779"/>
            <a:ext cx="838963" cy="73341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noFill/>
          </a:ln>
          <a:effectLst/>
        </p:spPr>
        <p:txBody>
          <a:bodyPr lIns="0" tIns="0" rIns="0" bIns="0" anchor="ctr">
            <a:normAutofit/>
          </a:bodyPr>
          <a:lstStyle>
            <a:lvl1pPr marL="0" indent="0" algn="ctr">
              <a:buNone/>
              <a:defRPr lang="en-US" sz="105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+mn-lt"/>
              </a:defRPr>
            </a:lvl1pPr>
          </a:lstStyle>
          <a:p>
            <a:pPr marL="0" lvl="0" defTabSz="292071"/>
            <a:endParaRPr lang="en-US" dirty="0"/>
          </a:p>
        </p:txBody>
      </p:sp>
      <p:sp>
        <p:nvSpPr>
          <p:cNvPr id="30" name="Picture Placeholder 13"/>
          <p:cNvSpPr>
            <a:spLocks noGrp="1"/>
          </p:cNvSpPr>
          <p:nvPr>
            <p:ph type="pic" sz="quarter" idx="21"/>
          </p:nvPr>
        </p:nvSpPr>
        <p:spPr>
          <a:xfrm>
            <a:off x="4943962" y="3008829"/>
            <a:ext cx="838963" cy="73341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noFill/>
          </a:ln>
          <a:effectLst/>
        </p:spPr>
        <p:txBody>
          <a:bodyPr lIns="0" tIns="0" rIns="0" bIns="0" anchor="ctr">
            <a:normAutofit/>
          </a:bodyPr>
          <a:lstStyle>
            <a:lvl1pPr marL="0" indent="0" algn="ctr">
              <a:buNone/>
              <a:defRPr lang="en-US" sz="105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+mn-lt"/>
              </a:defRPr>
            </a:lvl1pPr>
          </a:lstStyle>
          <a:p>
            <a:pPr marL="0" lvl="0" defTabSz="292071"/>
            <a:endParaRPr lang="en-US" dirty="0"/>
          </a:p>
        </p:txBody>
      </p:sp>
      <p:sp>
        <p:nvSpPr>
          <p:cNvPr id="31" name="Picture Placeholder 13"/>
          <p:cNvSpPr>
            <a:spLocks noGrp="1"/>
          </p:cNvSpPr>
          <p:nvPr>
            <p:ph type="pic" sz="quarter" idx="22"/>
          </p:nvPr>
        </p:nvSpPr>
        <p:spPr>
          <a:xfrm>
            <a:off x="4943962" y="4178804"/>
            <a:ext cx="838963" cy="73341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noFill/>
          </a:ln>
          <a:effectLst/>
        </p:spPr>
        <p:txBody>
          <a:bodyPr lIns="0" tIns="0" rIns="0" bIns="0" anchor="ctr">
            <a:normAutofit/>
          </a:bodyPr>
          <a:lstStyle>
            <a:lvl1pPr marL="0" indent="0" algn="ctr">
              <a:buNone/>
              <a:defRPr lang="en-US" sz="105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+mn-lt"/>
              </a:defRPr>
            </a:lvl1pPr>
          </a:lstStyle>
          <a:p>
            <a:pPr marL="0" lvl="0" defTabSz="292071"/>
            <a:endParaRPr lang="en-US" dirty="0"/>
          </a:p>
        </p:txBody>
      </p:sp>
      <p:sp>
        <p:nvSpPr>
          <p:cNvPr id="32" name="Picture Placeholder 13"/>
          <p:cNvSpPr>
            <a:spLocks noGrp="1"/>
          </p:cNvSpPr>
          <p:nvPr>
            <p:ph type="pic" sz="quarter" idx="23"/>
          </p:nvPr>
        </p:nvSpPr>
        <p:spPr>
          <a:xfrm>
            <a:off x="4943962" y="5348779"/>
            <a:ext cx="838963" cy="73341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noFill/>
          </a:ln>
          <a:effectLst/>
        </p:spPr>
        <p:txBody>
          <a:bodyPr lIns="0" tIns="0" rIns="0" bIns="0" anchor="ctr">
            <a:normAutofit/>
          </a:bodyPr>
          <a:lstStyle>
            <a:lvl1pPr marL="0" indent="0" algn="ctr">
              <a:buNone/>
              <a:defRPr lang="en-US" sz="105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+mn-lt"/>
              </a:defRPr>
            </a:lvl1pPr>
          </a:lstStyle>
          <a:p>
            <a:pPr marL="0" lvl="0" defTabSz="29207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4131282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13"/>
          <p:cNvSpPr>
            <a:spLocks noGrp="1"/>
          </p:cNvSpPr>
          <p:nvPr>
            <p:ph type="pic" sz="quarter" idx="21"/>
          </p:nvPr>
        </p:nvSpPr>
        <p:spPr>
          <a:xfrm>
            <a:off x="9147702" y="3081981"/>
            <a:ext cx="838962" cy="73341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noFill/>
          </a:ln>
          <a:effectLst/>
        </p:spPr>
        <p:txBody>
          <a:bodyPr lIns="0" tIns="0" rIns="0" bIns="0" anchor="ctr">
            <a:normAutofit/>
          </a:bodyPr>
          <a:lstStyle>
            <a:lvl1pPr marL="0" indent="0" algn="ctr">
              <a:buNone/>
              <a:defRPr lang="en-US" sz="105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+mn-lt"/>
              </a:defRPr>
            </a:lvl1pPr>
          </a:lstStyle>
          <a:p>
            <a:pPr marL="0" lvl="0" defTabSz="292071"/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ECD629-4DA5-4EAE-B174-69948CAAE2C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53" name="Picture Placeholder 13"/>
          <p:cNvSpPr>
            <a:spLocks noGrp="1"/>
          </p:cNvSpPr>
          <p:nvPr>
            <p:ph type="pic" sz="quarter" idx="17"/>
          </p:nvPr>
        </p:nvSpPr>
        <p:spPr>
          <a:xfrm>
            <a:off x="4943964" y="1608137"/>
            <a:ext cx="838961" cy="73341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noFill/>
          </a:ln>
          <a:effectLst/>
        </p:spPr>
        <p:txBody>
          <a:bodyPr lIns="0" tIns="0" rIns="0" bIns="0" anchor="ctr">
            <a:normAutofit/>
          </a:bodyPr>
          <a:lstStyle>
            <a:lvl1pPr marL="0" indent="0" algn="ctr">
              <a:buNone/>
              <a:defRPr lang="en-US" sz="105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+mn-lt"/>
              </a:defRPr>
            </a:lvl1pPr>
          </a:lstStyle>
          <a:p>
            <a:pPr marL="0" lvl="0" defTabSz="292071"/>
            <a:endParaRPr lang="en-US" dirty="0"/>
          </a:p>
        </p:txBody>
      </p:sp>
      <p:sp>
        <p:nvSpPr>
          <p:cNvPr id="19" name="Picture Placeholder 13"/>
          <p:cNvSpPr>
            <a:spLocks noGrp="1"/>
          </p:cNvSpPr>
          <p:nvPr>
            <p:ph type="pic" sz="quarter" idx="18"/>
          </p:nvPr>
        </p:nvSpPr>
        <p:spPr>
          <a:xfrm>
            <a:off x="807967" y="3081981"/>
            <a:ext cx="838962" cy="73341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noFill/>
          </a:ln>
          <a:effectLst/>
        </p:spPr>
        <p:txBody>
          <a:bodyPr lIns="0" tIns="0" rIns="0" bIns="0" anchor="ctr">
            <a:normAutofit/>
          </a:bodyPr>
          <a:lstStyle>
            <a:lvl1pPr marL="0" indent="0" algn="ctr">
              <a:buNone/>
              <a:defRPr lang="en-US" sz="105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+mn-lt"/>
              </a:defRPr>
            </a:lvl1pPr>
          </a:lstStyle>
          <a:p>
            <a:pPr marL="0" lvl="0" defTabSz="292071"/>
            <a:endParaRPr lang="en-US" dirty="0"/>
          </a:p>
        </p:txBody>
      </p:sp>
      <p:sp>
        <p:nvSpPr>
          <p:cNvPr id="20" name="Picture Placeholder 13"/>
          <p:cNvSpPr>
            <a:spLocks noGrp="1"/>
          </p:cNvSpPr>
          <p:nvPr>
            <p:ph type="pic" sz="quarter" idx="19"/>
          </p:nvPr>
        </p:nvSpPr>
        <p:spPr>
          <a:xfrm>
            <a:off x="3572578" y="3081981"/>
            <a:ext cx="838962" cy="73341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noFill/>
          </a:ln>
          <a:effectLst/>
        </p:spPr>
        <p:txBody>
          <a:bodyPr lIns="0" tIns="0" rIns="0" bIns="0" anchor="ctr">
            <a:normAutofit/>
          </a:bodyPr>
          <a:lstStyle>
            <a:lvl1pPr marL="0" indent="0" algn="ctr">
              <a:buNone/>
              <a:defRPr lang="en-US" sz="105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+mn-lt"/>
              </a:defRPr>
            </a:lvl1pPr>
          </a:lstStyle>
          <a:p>
            <a:pPr marL="0" lvl="0" defTabSz="292071"/>
            <a:endParaRPr lang="en-US" dirty="0"/>
          </a:p>
        </p:txBody>
      </p:sp>
      <p:sp>
        <p:nvSpPr>
          <p:cNvPr id="21" name="Picture Placeholder 13"/>
          <p:cNvSpPr>
            <a:spLocks noGrp="1"/>
          </p:cNvSpPr>
          <p:nvPr>
            <p:ph type="pic" sz="quarter" idx="20"/>
          </p:nvPr>
        </p:nvSpPr>
        <p:spPr>
          <a:xfrm>
            <a:off x="6390710" y="3081981"/>
            <a:ext cx="838962" cy="73341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noFill/>
          </a:ln>
          <a:effectLst/>
        </p:spPr>
        <p:txBody>
          <a:bodyPr lIns="0" tIns="0" rIns="0" bIns="0" anchor="ctr">
            <a:normAutofit/>
          </a:bodyPr>
          <a:lstStyle>
            <a:lvl1pPr marL="0" indent="0" algn="ctr">
              <a:buNone/>
              <a:defRPr lang="en-US" sz="105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+mn-lt"/>
              </a:defRPr>
            </a:lvl1pPr>
          </a:lstStyle>
          <a:p>
            <a:pPr marL="0" lvl="0" defTabSz="29207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449628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13"/>
          <p:cNvSpPr>
            <a:spLocks noGrp="1"/>
          </p:cNvSpPr>
          <p:nvPr>
            <p:ph type="pic" sz="quarter" idx="16"/>
          </p:nvPr>
        </p:nvSpPr>
        <p:spPr>
          <a:xfrm>
            <a:off x="4009926" y="5170764"/>
            <a:ext cx="929249" cy="929249"/>
          </a:xfrm>
          <a:prstGeom prst="ellipse">
            <a:avLst/>
          </a:prstGeom>
          <a:solidFill>
            <a:schemeClr val="bg1">
              <a:lumMod val="75000"/>
            </a:schemeClr>
          </a:solidFill>
          <a:ln w="38100">
            <a:solidFill>
              <a:schemeClr val="accent5"/>
            </a:solidFill>
          </a:ln>
          <a:effectLst/>
        </p:spPr>
        <p:txBody>
          <a:bodyPr lIns="0" tIns="0" rIns="0" bIns="0" anchor="ctr">
            <a:normAutofit/>
          </a:bodyPr>
          <a:lstStyle>
            <a:lvl1pPr marL="0" indent="0" algn="ctr">
              <a:buNone/>
              <a:defRPr lang="en-US" sz="140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+mn-lt"/>
              </a:defRPr>
            </a:lvl1pPr>
          </a:lstStyle>
          <a:p>
            <a:pPr marL="0" lvl="0" defTabSz="292071"/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ECD629-4DA5-4EAE-B174-69948CAAE2C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0" name="Picture Placeholder 13"/>
          <p:cNvSpPr>
            <a:spLocks noGrp="1"/>
          </p:cNvSpPr>
          <p:nvPr>
            <p:ph type="pic" sz="quarter" idx="15"/>
          </p:nvPr>
        </p:nvSpPr>
        <p:spPr>
          <a:xfrm>
            <a:off x="4009926" y="1597834"/>
            <a:ext cx="929249" cy="929249"/>
          </a:xfrm>
          <a:prstGeom prst="ellipse">
            <a:avLst/>
          </a:prstGeom>
          <a:solidFill>
            <a:schemeClr val="bg1">
              <a:lumMod val="75000"/>
            </a:schemeClr>
          </a:solidFill>
          <a:ln w="38100">
            <a:solidFill>
              <a:schemeClr val="accent1"/>
            </a:solidFill>
          </a:ln>
          <a:effectLst/>
        </p:spPr>
        <p:txBody>
          <a:bodyPr lIns="0" tIns="0" rIns="0" bIns="0" anchor="ctr">
            <a:normAutofit/>
          </a:bodyPr>
          <a:lstStyle>
            <a:lvl1pPr marL="0" indent="0" algn="ctr">
              <a:buNone/>
              <a:defRPr lang="en-US" sz="140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+mn-lt"/>
              </a:defRPr>
            </a:lvl1pPr>
          </a:lstStyle>
          <a:p>
            <a:pPr marL="0" lvl="0" defTabSz="292071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9948160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" name="Picture Placeholder 13"/>
          <p:cNvSpPr>
            <a:spLocks noGrp="1"/>
          </p:cNvSpPr>
          <p:nvPr>
            <p:ph type="pic" sz="quarter" idx="17"/>
          </p:nvPr>
        </p:nvSpPr>
        <p:spPr>
          <a:xfrm>
            <a:off x="0" y="1412060"/>
            <a:ext cx="12191996" cy="3279834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noFill/>
          </a:ln>
          <a:effectLst/>
        </p:spPr>
        <p:txBody>
          <a:bodyPr lIns="0" tIns="0" rIns="0" bIns="0" anchor="ctr">
            <a:normAutofit/>
          </a:bodyPr>
          <a:lstStyle>
            <a:lvl1pPr marL="0" indent="0" algn="ctr">
              <a:buNone/>
              <a:defRPr lang="en-US" sz="105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+mn-lt"/>
              </a:defRPr>
            </a:lvl1pPr>
          </a:lstStyle>
          <a:p>
            <a:pPr marL="0" lvl="0" defTabSz="292071"/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ECD629-4DA5-4EAE-B174-69948CAAE2C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014216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" name="Picture Placeholder 13"/>
          <p:cNvSpPr>
            <a:spLocks noGrp="1"/>
          </p:cNvSpPr>
          <p:nvPr>
            <p:ph type="pic" sz="quarter" idx="17"/>
          </p:nvPr>
        </p:nvSpPr>
        <p:spPr>
          <a:xfrm>
            <a:off x="0" y="1316413"/>
            <a:ext cx="12191996" cy="3067322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noFill/>
          </a:ln>
          <a:effectLst/>
        </p:spPr>
        <p:txBody>
          <a:bodyPr lIns="0" tIns="0" rIns="0" bIns="0" anchor="ctr">
            <a:normAutofit/>
          </a:bodyPr>
          <a:lstStyle>
            <a:lvl1pPr marL="0" indent="0" algn="ctr">
              <a:buNone/>
              <a:defRPr lang="en-US" sz="105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+mn-lt"/>
              </a:defRPr>
            </a:lvl1pPr>
          </a:lstStyle>
          <a:p>
            <a:pPr marL="0" lvl="0" defTabSz="292071"/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ECD629-4DA5-4EAE-B174-69948CAAE2C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5220982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" name="Picture Placeholder 13"/>
          <p:cNvSpPr>
            <a:spLocks noGrp="1"/>
          </p:cNvSpPr>
          <p:nvPr>
            <p:ph type="pic" sz="quarter" idx="17"/>
          </p:nvPr>
        </p:nvSpPr>
        <p:spPr>
          <a:xfrm>
            <a:off x="0" y="0"/>
            <a:ext cx="12191996" cy="4502552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noFill/>
          </a:ln>
          <a:effectLst/>
        </p:spPr>
        <p:txBody>
          <a:bodyPr lIns="0" tIns="0" rIns="0" bIns="0" anchor="ctr">
            <a:normAutofit/>
          </a:bodyPr>
          <a:lstStyle>
            <a:lvl1pPr marL="0" indent="0" algn="ctr">
              <a:buNone/>
              <a:defRPr lang="en-US" sz="105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+mn-lt"/>
              </a:defRPr>
            </a:lvl1pPr>
          </a:lstStyle>
          <a:p>
            <a:pPr marL="0" lvl="0" defTabSz="292071"/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ECD629-4DA5-4EAE-B174-69948CAAE2C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544705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" name="Picture Placeholder 13"/>
          <p:cNvSpPr>
            <a:spLocks noGrp="1"/>
          </p:cNvSpPr>
          <p:nvPr>
            <p:ph type="pic" sz="quarter" idx="17"/>
          </p:nvPr>
        </p:nvSpPr>
        <p:spPr>
          <a:xfrm>
            <a:off x="0" y="0"/>
            <a:ext cx="12191996" cy="6858000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noFill/>
          </a:ln>
          <a:effectLst/>
        </p:spPr>
        <p:txBody>
          <a:bodyPr lIns="0" tIns="0" rIns="0" bIns="0" anchor="ctr">
            <a:normAutofit/>
          </a:bodyPr>
          <a:lstStyle>
            <a:lvl1pPr marL="0" indent="0" algn="ctr">
              <a:buNone/>
              <a:defRPr lang="en-US" sz="105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+mn-lt"/>
              </a:defRPr>
            </a:lvl1pPr>
          </a:lstStyle>
          <a:p>
            <a:pPr marL="0" lvl="0" defTabSz="292071"/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ECD629-4DA5-4EAE-B174-69948CAAE2C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4641798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/>
          <p:cNvSpPr>
            <a:spLocks noGrp="1"/>
          </p:cNvSpPr>
          <p:nvPr>
            <p:ph type="pic" sz="quarter" idx="13"/>
          </p:nvPr>
        </p:nvSpPr>
        <p:spPr>
          <a:xfrm>
            <a:off x="5280236" y="1092178"/>
            <a:ext cx="1628504" cy="1628504"/>
          </a:xfrm>
          <a:prstGeom prst="ellipse">
            <a:avLst/>
          </a:prstGeom>
          <a:solidFill>
            <a:schemeClr val="bg1">
              <a:lumMod val="75000"/>
            </a:schemeClr>
          </a:solidFill>
          <a:ln w="6350">
            <a:noFill/>
          </a:ln>
          <a:effectLst/>
        </p:spPr>
        <p:txBody>
          <a:bodyPr lIns="0" tIns="0" rIns="0" bIns="0" anchor="ctr">
            <a:normAutofit/>
          </a:bodyPr>
          <a:lstStyle>
            <a:lvl1pPr marL="0" indent="0" algn="ctr">
              <a:buNone/>
              <a:defRPr lang="en-US" sz="1400">
                <a:solidFill>
                  <a:srgbClr val="FFFFFF"/>
                </a:solidFill>
                <a:effectLst/>
                <a:latin typeface="+mn-lt"/>
              </a:defRPr>
            </a:lvl1pPr>
          </a:lstStyle>
          <a:p>
            <a:pPr marL="0" lvl="0" defTabSz="292071"/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ECD629-4DA5-4EAE-B174-69948CAAE2C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14060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" name="Picture Placeholder 13"/>
          <p:cNvSpPr>
            <a:spLocks noGrp="1"/>
          </p:cNvSpPr>
          <p:nvPr>
            <p:ph type="pic" sz="quarter" idx="17"/>
          </p:nvPr>
        </p:nvSpPr>
        <p:spPr>
          <a:xfrm>
            <a:off x="0" y="1106225"/>
            <a:ext cx="12191996" cy="5282600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noFill/>
          </a:ln>
          <a:effectLst/>
        </p:spPr>
        <p:txBody>
          <a:bodyPr lIns="0" tIns="0" rIns="0" bIns="0" anchor="ctr">
            <a:normAutofit/>
          </a:bodyPr>
          <a:lstStyle>
            <a:lvl1pPr marL="0" indent="0" algn="ctr">
              <a:buNone/>
              <a:defRPr lang="en-US" sz="105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+mn-lt"/>
              </a:defRPr>
            </a:lvl1pPr>
          </a:lstStyle>
          <a:p>
            <a:pPr marL="0" lvl="0" defTabSz="292071"/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ECD629-4DA5-4EAE-B174-69948CAAE2C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8122736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ECD629-4DA5-4EAE-B174-69948CAAE2C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502640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istory - St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kumimoji="1" lang="en-US" altLang="ja-JP" dirty="0"/>
              <a:t>Slide Title Goes Here</a:t>
            </a:r>
            <a:endParaRPr kumimoji="1"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1"/>
          </p:nvPr>
        </p:nvSpPr>
        <p:spPr>
          <a:xfrm>
            <a:off x="11407246" y="6401024"/>
            <a:ext cx="784517" cy="326074"/>
          </a:xfrm>
          <a:prstGeom prst="rect">
            <a:avLst/>
          </a:prstGeom>
        </p:spPr>
        <p:txBody>
          <a:bodyPr lIns="60963" tIns="30482" rIns="60963" bIns="30482"/>
          <a:lstStyle/>
          <a:p>
            <a:fld id="{03EB59E2-90B9-4CD3-AC74-D672227E13C3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7" name="直線コネクタ 6"/>
          <p:cNvCxnSpPr>
            <a:stCxn id="5" idx="7"/>
            <a:endCxn id="8" idx="0"/>
          </p:cNvCxnSpPr>
          <p:nvPr userDrawn="1"/>
        </p:nvCxnSpPr>
        <p:spPr>
          <a:xfrm>
            <a:off x="6096001" y="1926993"/>
            <a:ext cx="0" cy="791451"/>
          </a:xfrm>
          <a:prstGeom prst="line">
            <a:avLst/>
          </a:prstGeom>
          <a:ln w="28575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涙形 4"/>
          <p:cNvSpPr/>
          <p:nvPr userDrawn="1"/>
        </p:nvSpPr>
        <p:spPr>
          <a:xfrm rot="8100000">
            <a:off x="5891320" y="1432775"/>
            <a:ext cx="409361" cy="409424"/>
          </a:xfrm>
          <a:prstGeom prst="teardrop">
            <a:avLst/>
          </a:prstGeom>
          <a:solidFill>
            <a:schemeClr val="tx2"/>
          </a:solidFill>
          <a:ln w="57150">
            <a:solidFill>
              <a:schemeClr val="bg1"/>
            </a:solidFill>
          </a:ln>
          <a:effectLst>
            <a:outerShdw sx="102000" sy="102000" algn="ctr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0963" tIns="30482" rIns="60963" bIns="30482" rtlCol="0" anchor="ctr"/>
          <a:lstStyle/>
          <a:p>
            <a:pPr algn="ctr"/>
            <a:endParaRPr kumimoji="1" lang="ja-JP" altLang="en-US"/>
          </a:p>
        </p:txBody>
      </p:sp>
      <p:sp>
        <p:nvSpPr>
          <p:cNvPr id="19" name="テキスト プレースホルダー 12"/>
          <p:cNvSpPr>
            <a:spLocks noGrp="1"/>
          </p:cNvSpPr>
          <p:nvPr>
            <p:ph type="body" sz="quarter" idx="12" hasCustomPrompt="1"/>
          </p:nvPr>
        </p:nvSpPr>
        <p:spPr>
          <a:xfrm>
            <a:off x="1599972" y="3225441"/>
            <a:ext cx="3072647" cy="986160"/>
          </a:xfrm>
        </p:spPr>
        <p:txBody>
          <a:bodyPr>
            <a:normAutofit/>
          </a:bodyPr>
          <a:lstStyle>
            <a:lvl1pPr algn="r">
              <a:spcBef>
                <a:spcPts val="0"/>
              </a:spcBef>
              <a:defRPr sz="1200" baseline="0"/>
            </a:lvl1pPr>
          </a:lstStyle>
          <a:p>
            <a:pPr lvl="0"/>
            <a:r>
              <a:rPr kumimoji="1" lang="en-US" altLang="ja-JP" dirty="0"/>
              <a:t>Text goes here</a:t>
            </a:r>
            <a:endParaRPr kumimoji="1" lang="ja-JP" altLang="en-US" dirty="0"/>
          </a:p>
        </p:txBody>
      </p:sp>
      <p:sp>
        <p:nvSpPr>
          <p:cNvPr id="20" name="テキスト プレースホルダー 12"/>
          <p:cNvSpPr>
            <a:spLocks noGrp="1"/>
          </p:cNvSpPr>
          <p:nvPr>
            <p:ph type="body" sz="quarter" idx="14" hasCustomPrompt="1"/>
          </p:nvPr>
        </p:nvSpPr>
        <p:spPr>
          <a:xfrm>
            <a:off x="1599972" y="2597880"/>
            <a:ext cx="3072647" cy="498098"/>
          </a:xfrm>
        </p:spPr>
        <p:txBody>
          <a:bodyPr anchor="ctr">
            <a:noAutofit/>
          </a:bodyPr>
          <a:lstStyle>
            <a:lvl1pPr algn="r">
              <a:lnSpc>
                <a:spcPct val="100000"/>
              </a:lnSpc>
              <a:spcBef>
                <a:spcPts val="0"/>
              </a:spcBef>
              <a:defRPr sz="1900" baseline="0">
                <a:solidFill>
                  <a:schemeClr val="tx2"/>
                </a:solidFill>
                <a:latin typeface="Ubuntu Medium" panose="020B0604030602030204" pitchFamily="34" charset="0"/>
              </a:defRPr>
            </a:lvl1pPr>
          </a:lstStyle>
          <a:p>
            <a:pPr lvl="0"/>
            <a:r>
              <a:rPr kumimoji="1" lang="en-US" altLang="ja-JP" dirty="0"/>
              <a:t>Heading Goes Here</a:t>
            </a:r>
            <a:endParaRPr kumimoji="1" lang="ja-JP" altLang="en-US" dirty="0"/>
          </a:p>
        </p:txBody>
      </p:sp>
      <p:sp>
        <p:nvSpPr>
          <p:cNvPr id="21" name="正方形/長方形 20"/>
          <p:cNvSpPr/>
          <p:nvPr userDrawn="1"/>
        </p:nvSpPr>
        <p:spPr>
          <a:xfrm>
            <a:off x="3384351" y="3075980"/>
            <a:ext cx="1218599" cy="4801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0963" tIns="30482" rIns="60963" bIns="30482" rtlCol="0" anchor="ctr"/>
          <a:lstStyle/>
          <a:p>
            <a:pPr algn="r"/>
            <a:endParaRPr kumimoji="1" lang="ja-JP" altLang="en-US"/>
          </a:p>
        </p:txBody>
      </p:sp>
      <p:cxnSp>
        <p:nvCxnSpPr>
          <p:cNvPr id="22" name="直線コネクタ 21"/>
          <p:cNvCxnSpPr>
            <a:stCxn id="8" idx="4"/>
            <a:endCxn id="24" idx="0"/>
          </p:cNvCxnSpPr>
          <p:nvPr userDrawn="1"/>
        </p:nvCxnSpPr>
        <p:spPr>
          <a:xfrm>
            <a:off x="6096001" y="2975416"/>
            <a:ext cx="0" cy="980975"/>
          </a:xfrm>
          <a:prstGeom prst="line">
            <a:avLst/>
          </a:prstGeom>
          <a:ln w="28575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直線コネクタ 28"/>
          <p:cNvCxnSpPr>
            <a:stCxn id="28" idx="1"/>
            <a:endCxn id="24" idx="6"/>
          </p:cNvCxnSpPr>
          <p:nvPr userDrawn="1"/>
        </p:nvCxnSpPr>
        <p:spPr>
          <a:xfrm flipH="1">
            <a:off x="6224466" y="4084875"/>
            <a:ext cx="419844" cy="2"/>
          </a:xfrm>
          <a:prstGeom prst="line">
            <a:avLst/>
          </a:prstGeom>
          <a:ln w="28575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円/楕円 4"/>
          <p:cNvSpPr/>
          <p:nvPr userDrawn="1"/>
        </p:nvSpPr>
        <p:spPr>
          <a:xfrm>
            <a:off x="6657652" y="3705436"/>
            <a:ext cx="757677" cy="758880"/>
          </a:xfrm>
          <a:prstGeom prst="rect">
            <a:avLst/>
          </a:prstGeom>
          <a:solidFill>
            <a:schemeClr val="accent2"/>
          </a:solidFill>
          <a:ln w="57150">
            <a:solidFill>
              <a:schemeClr val="bg1"/>
            </a:solidFill>
          </a:ln>
          <a:effectLst>
            <a:outerShdw blurRad="12700" sx="102000" sy="102000" algn="ctr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0963" tIns="30482" rIns="60963" bIns="30482" rtlCol="0" anchor="ctr"/>
          <a:lstStyle/>
          <a:p>
            <a:pPr algn="ctr"/>
            <a:endParaRPr kumimoji="1" lang="ja-JP" altLang="en-US"/>
          </a:p>
        </p:txBody>
      </p:sp>
      <p:sp>
        <p:nvSpPr>
          <p:cNvPr id="28" name="テキスト プレースホルダー 12"/>
          <p:cNvSpPr>
            <a:spLocks noGrp="1"/>
          </p:cNvSpPr>
          <p:nvPr>
            <p:ph type="body" sz="quarter" idx="15" hasCustomPrompt="1"/>
          </p:nvPr>
        </p:nvSpPr>
        <p:spPr>
          <a:xfrm>
            <a:off x="6644311" y="3835826"/>
            <a:ext cx="784359" cy="498098"/>
          </a:xfrm>
        </p:spPr>
        <p:txBody>
          <a:bodyPr anchor="ctr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900" baseline="0">
                <a:solidFill>
                  <a:schemeClr val="bg1"/>
                </a:solidFill>
                <a:latin typeface="Ubuntu Medium" panose="020B0604030602030204" pitchFamily="34" charset="0"/>
              </a:defRPr>
            </a:lvl1pPr>
          </a:lstStyle>
          <a:p>
            <a:pPr lvl="0"/>
            <a:r>
              <a:rPr kumimoji="1" lang="en-US" altLang="ja-JP" dirty="0"/>
              <a:t>0000</a:t>
            </a:r>
            <a:endParaRPr kumimoji="1" lang="ja-JP" altLang="en-US" dirty="0"/>
          </a:p>
        </p:txBody>
      </p:sp>
      <p:sp>
        <p:nvSpPr>
          <p:cNvPr id="37" name="テキスト プレースホルダー 12"/>
          <p:cNvSpPr>
            <a:spLocks noGrp="1"/>
          </p:cNvSpPr>
          <p:nvPr>
            <p:ph type="body" sz="quarter" idx="16" hasCustomPrompt="1"/>
          </p:nvPr>
        </p:nvSpPr>
        <p:spPr>
          <a:xfrm>
            <a:off x="7516796" y="4463387"/>
            <a:ext cx="3072647" cy="986160"/>
          </a:xfrm>
        </p:spPr>
        <p:txBody>
          <a:bodyPr>
            <a:normAutofit/>
          </a:bodyPr>
          <a:lstStyle>
            <a:lvl1pPr algn="l">
              <a:spcBef>
                <a:spcPts val="0"/>
              </a:spcBef>
              <a:defRPr sz="1200" baseline="0"/>
            </a:lvl1pPr>
          </a:lstStyle>
          <a:p>
            <a:pPr lvl="0"/>
            <a:r>
              <a:rPr kumimoji="1" lang="en-US" altLang="ja-JP" dirty="0"/>
              <a:t>Text goes here</a:t>
            </a:r>
            <a:endParaRPr kumimoji="1" lang="ja-JP" altLang="en-US" dirty="0"/>
          </a:p>
        </p:txBody>
      </p:sp>
      <p:sp>
        <p:nvSpPr>
          <p:cNvPr id="38" name="テキスト プレースホルダー 12"/>
          <p:cNvSpPr>
            <a:spLocks noGrp="1"/>
          </p:cNvSpPr>
          <p:nvPr>
            <p:ph type="body" sz="quarter" idx="17" hasCustomPrompt="1"/>
          </p:nvPr>
        </p:nvSpPr>
        <p:spPr>
          <a:xfrm>
            <a:off x="7516796" y="3835826"/>
            <a:ext cx="3072647" cy="498098"/>
          </a:xfrm>
        </p:spPr>
        <p:txBody>
          <a:bodyPr anchor="ctr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1900" baseline="0">
                <a:solidFill>
                  <a:schemeClr val="tx2"/>
                </a:solidFill>
                <a:latin typeface="Ubuntu Medium" panose="020B0604030602030204" pitchFamily="34" charset="0"/>
              </a:defRPr>
            </a:lvl1pPr>
          </a:lstStyle>
          <a:p>
            <a:pPr lvl="0"/>
            <a:r>
              <a:rPr kumimoji="1" lang="en-US" altLang="ja-JP" dirty="0"/>
              <a:t>Heading Goes Here</a:t>
            </a:r>
            <a:endParaRPr kumimoji="1" lang="ja-JP" altLang="en-US" dirty="0"/>
          </a:p>
        </p:txBody>
      </p:sp>
      <p:sp>
        <p:nvSpPr>
          <p:cNvPr id="39" name="正方形/長方形 38"/>
          <p:cNvSpPr/>
          <p:nvPr userDrawn="1"/>
        </p:nvSpPr>
        <p:spPr>
          <a:xfrm>
            <a:off x="7586465" y="4313926"/>
            <a:ext cx="1218599" cy="4801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0963" tIns="30482" rIns="60963" bIns="30482" rtlCol="0" anchor="ctr"/>
          <a:lstStyle/>
          <a:p>
            <a:pPr algn="l"/>
            <a:endParaRPr kumimoji="1" lang="ja-JP" altLang="en-US"/>
          </a:p>
        </p:txBody>
      </p:sp>
      <p:sp>
        <p:nvSpPr>
          <p:cNvPr id="43" name="テキスト プレースホルダー 12"/>
          <p:cNvSpPr>
            <a:spLocks noGrp="1"/>
          </p:cNvSpPr>
          <p:nvPr>
            <p:ph type="body" sz="quarter" idx="19" hasCustomPrompt="1"/>
          </p:nvPr>
        </p:nvSpPr>
        <p:spPr>
          <a:xfrm>
            <a:off x="1599972" y="5665394"/>
            <a:ext cx="3072647" cy="986160"/>
          </a:xfrm>
        </p:spPr>
        <p:txBody>
          <a:bodyPr>
            <a:normAutofit/>
          </a:bodyPr>
          <a:lstStyle>
            <a:lvl1pPr algn="r">
              <a:spcBef>
                <a:spcPts val="0"/>
              </a:spcBef>
              <a:defRPr sz="1200" baseline="0"/>
            </a:lvl1pPr>
          </a:lstStyle>
          <a:p>
            <a:pPr lvl="0"/>
            <a:r>
              <a:rPr kumimoji="1" lang="en-US" altLang="ja-JP" dirty="0"/>
              <a:t>Text goes here</a:t>
            </a:r>
            <a:endParaRPr kumimoji="1" lang="ja-JP" altLang="en-US" dirty="0"/>
          </a:p>
        </p:txBody>
      </p:sp>
      <p:sp>
        <p:nvSpPr>
          <p:cNvPr id="44" name="テキスト プレースホルダー 12"/>
          <p:cNvSpPr>
            <a:spLocks noGrp="1"/>
          </p:cNvSpPr>
          <p:nvPr>
            <p:ph type="body" sz="quarter" idx="20" hasCustomPrompt="1"/>
          </p:nvPr>
        </p:nvSpPr>
        <p:spPr>
          <a:xfrm>
            <a:off x="1599972" y="5037833"/>
            <a:ext cx="3072647" cy="498098"/>
          </a:xfrm>
        </p:spPr>
        <p:txBody>
          <a:bodyPr anchor="ctr">
            <a:noAutofit/>
          </a:bodyPr>
          <a:lstStyle>
            <a:lvl1pPr algn="r">
              <a:lnSpc>
                <a:spcPct val="100000"/>
              </a:lnSpc>
              <a:spcBef>
                <a:spcPts val="0"/>
              </a:spcBef>
              <a:defRPr sz="1900" baseline="0">
                <a:solidFill>
                  <a:schemeClr val="tx2"/>
                </a:solidFill>
                <a:latin typeface="Ubuntu Medium" panose="020B0604030602030204" pitchFamily="34" charset="0"/>
              </a:defRPr>
            </a:lvl1pPr>
          </a:lstStyle>
          <a:p>
            <a:pPr lvl="0"/>
            <a:r>
              <a:rPr kumimoji="1" lang="en-US" altLang="ja-JP" dirty="0"/>
              <a:t>Heading Goes Here</a:t>
            </a:r>
            <a:endParaRPr kumimoji="1" lang="ja-JP" altLang="en-US" dirty="0"/>
          </a:p>
        </p:txBody>
      </p:sp>
      <p:sp>
        <p:nvSpPr>
          <p:cNvPr id="45" name="正方形/長方形 44"/>
          <p:cNvSpPr/>
          <p:nvPr userDrawn="1"/>
        </p:nvSpPr>
        <p:spPr>
          <a:xfrm>
            <a:off x="3384351" y="5515933"/>
            <a:ext cx="1218599" cy="4801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0963" tIns="30482" rIns="60963" bIns="30482" rtlCol="0" anchor="ctr"/>
          <a:lstStyle/>
          <a:p>
            <a:pPr algn="r"/>
            <a:endParaRPr kumimoji="1" lang="ja-JP" altLang="en-US"/>
          </a:p>
        </p:txBody>
      </p:sp>
      <p:cxnSp>
        <p:nvCxnSpPr>
          <p:cNvPr id="46" name="直線コネクタ 45"/>
          <p:cNvCxnSpPr>
            <a:stCxn id="24" idx="4"/>
            <a:endCxn id="40" idx="0"/>
          </p:cNvCxnSpPr>
          <p:nvPr userDrawn="1"/>
        </p:nvCxnSpPr>
        <p:spPr>
          <a:xfrm>
            <a:off x="6096001" y="4213362"/>
            <a:ext cx="0" cy="944107"/>
          </a:xfrm>
          <a:prstGeom prst="line">
            <a:avLst/>
          </a:prstGeom>
          <a:ln w="28575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直線コネクタ 9"/>
          <p:cNvCxnSpPr>
            <a:stCxn id="8" idx="2"/>
            <a:endCxn id="13" idx="3"/>
          </p:cNvCxnSpPr>
          <p:nvPr userDrawn="1"/>
        </p:nvCxnSpPr>
        <p:spPr>
          <a:xfrm flipH="1" flipV="1">
            <a:off x="5557230" y="2846930"/>
            <a:ext cx="410305" cy="1"/>
          </a:xfrm>
          <a:prstGeom prst="line">
            <a:avLst/>
          </a:prstGeom>
          <a:ln w="28575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円/楕円 4"/>
          <p:cNvSpPr/>
          <p:nvPr userDrawn="1"/>
        </p:nvSpPr>
        <p:spPr>
          <a:xfrm>
            <a:off x="4799554" y="2467490"/>
            <a:ext cx="757677" cy="758880"/>
          </a:xfrm>
          <a:prstGeom prst="rect">
            <a:avLst/>
          </a:prstGeom>
          <a:ln w="57150">
            <a:solidFill>
              <a:schemeClr val="bg1"/>
            </a:solidFill>
          </a:ln>
          <a:effectLst>
            <a:outerShdw blurRad="12700" sx="102000" sy="102000" algn="ctr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0963" tIns="30482" rIns="60963" bIns="30482" rtlCol="0" anchor="ctr"/>
          <a:lstStyle/>
          <a:p>
            <a:pPr algn="ctr"/>
            <a:endParaRPr kumimoji="1" lang="ja-JP" altLang="en-US"/>
          </a:p>
        </p:txBody>
      </p:sp>
      <p:sp>
        <p:nvSpPr>
          <p:cNvPr id="17" name="テキスト プレースホルダー 12"/>
          <p:cNvSpPr>
            <a:spLocks noGrp="1"/>
          </p:cNvSpPr>
          <p:nvPr>
            <p:ph type="body" sz="quarter" idx="13" hasCustomPrompt="1"/>
          </p:nvPr>
        </p:nvSpPr>
        <p:spPr>
          <a:xfrm>
            <a:off x="4786213" y="2597880"/>
            <a:ext cx="784359" cy="498098"/>
          </a:xfrm>
        </p:spPr>
        <p:txBody>
          <a:bodyPr anchor="ctr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900" baseline="0">
                <a:solidFill>
                  <a:schemeClr val="bg1"/>
                </a:solidFill>
                <a:latin typeface="Ubuntu Medium" panose="020B0604030602030204" pitchFamily="34" charset="0"/>
              </a:defRPr>
            </a:lvl1pPr>
          </a:lstStyle>
          <a:p>
            <a:pPr lvl="0"/>
            <a:r>
              <a:rPr kumimoji="1" lang="en-US" altLang="ja-JP" dirty="0"/>
              <a:t>0000</a:t>
            </a:r>
            <a:endParaRPr kumimoji="1" lang="ja-JP" altLang="en-US" dirty="0"/>
          </a:p>
        </p:txBody>
      </p:sp>
      <p:cxnSp>
        <p:nvCxnSpPr>
          <p:cNvPr id="41" name="直線コネクタ 40"/>
          <p:cNvCxnSpPr>
            <a:stCxn id="40" idx="2"/>
            <a:endCxn id="49" idx="3"/>
          </p:cNvCxnSpPr>
          <p:nvPr userDrawn="1"/>
        </p:nvCxnSpPr>
        <p:spPr>
          <a:xfrm flipH="1" flipV="1">
            <a:off x="5557230" y="5285954"/>
            <a:ext cx="410305" cy="1"/>
          </a:xfrm>
          <a:prstGeom prst="line">
            <a:avLst/>
          </a:prstGeom>
          <a:ln w="28575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直線コネクタ 53"/>
          <p:cNvCxnSpPr>
            <a:stCxn id="40" idx="4"/>
          </p:cNvCxnSpPr>
          <p:nvPr userDrawn="1"/>
        </p:nvCxnSpPr>
        <p:spPr>
          <a:xfrm>
            <a:off x="6096001" y="5414440"/>
            <a:ext cx="0" cy="1443560"/>
          </a:xfrm>
          <a:prstGeom prst="line">
            <a:avLst/>
          </a:prstGeom>
          <a:ln w="28575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円/楕円 4"/>
          <p:cNvSpPr/>
          <p:nvPr userDrawn="1"/>
        </p:nvSpPr>
        <p:spPr>
          <a:xfrm>
            <a:off x="4799554" y="4906514"/>
            <a:ext cx="757677" cy="758880"/>
          </a:xfrm>
          <a:prstGeom prst="rect">
            <a:avLst/>
          </a:prstGeom>
          <a:solidFill>
            <a:schemeClr val="accent3"/>
          </a:solidFill>
          <a:ln w="57150">
            <a:solidFill>
              <a:schemeClr val="bg1"/>
            </a:solidFill>
          </a:ln>
          <a:effectLst>
            <a:outerShdw blurRad="12700" sx="102000" sy="102000" algn="ctr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0963" tIns="30482" rIns="60963" bIns="30482" rtlCol="0" anchor="ctr"/>
          <a:lstStyle/>
          <a:p>
            <a:pPr algn="ctr"/>
            <a:endParaRPr kumimoji="1" lang="ja-JP" altLang="en-US"/>
          </a:p>
        </p:txBody>
      </p:sp>
      <p:sp>
        <p:nvSpPr>
          <p:cNvPr id="42" name="テキスト プレースホルダー 12"/>
          <p:cNvSpPr>
            <a:spLocks noGrp="1"/>
          </p:cNvSpPr>
          <p:nvPr>
            <p:ph type="body" sz="quarter" idx="18" hasCustomPrompt="1"/>
          </p:nvPr>
        </p:nvSpPr>
        <p:spPr>
          <a:xfrm>
            <a:off x="4786213" y="5037833"/>
            <a:ext cx="784359" cy="498098"/>
          </a:xfrm>
        </p:spPr>
        <p:txBody>
          <a:bodyPr anchor="ctr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900" baseline="0">
                <a:solidFill>
                  <a:schemeClr val="bg1"/>
                </a:solidFill>
                <a:latin typeface="Ubuntu Medium" panose="020B0604030602030204" pitchFamily="34" charset="0"/>
              </a:defRPr>
            </a:lvl1pPr>
          </a:lstStyle>
          <a:p>
            <a:pPr lvl="0"/>
            <a:r>
              <a:rPr kumimoji="1" lang="en-US" altLang="ja-JP" dirty="0"/>
              <a:t>0000</a:t>
            </a:r>
            <a:endParaRPr kumimoji="1" lang="ja-JP" altLang="en-US" dirty="0"/>
          </a:p>
        </p:txBody>
      </p:sp>
      <p:sp>
        <p:nvSpPr>
          <p:cNvPr id="8" name="楕円 7"/>
          <p:cNvSpPr/>
          <p:nvPr userDrawn="1"/>
        </p:nvSpPr>
        <p:spPr>
          <a:xfrm>
            <a:off x="5967535" y="2718445"/>
            <a:ext cx="256931" cy="256971"/>
          </a:xfrm>
          <a:prstGeom prst="ellipse">
            <a:avLst/>
          </a:prstGeom>
          <a:ln w="57150">
            <a:solidFill>
              <a:schemeClr val="bg1"/>
            </a:solidFill>
          </a:ln>
          <a:effectLst>
            <a:outerShdw sx="102000" sy="102000" algn="ctr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0963" tIns="30482" rIns="60963" bIns="30482" rtlCol="0" anchor="ctr"/>
          <a:lstStyle/>
          <a:p>
            <a:pPr algn="ctr"/>
            <a:endParaRPr kumimoji="1" lang="ja-JP" altLang="en-US"/>
          </a:p>
        </p:txBody>
      </p:sp>
      <p:sp>
        <p:nvSpPr>
          <p:cNvPr id="24" name="楕円 23"/>
          <p:cNvSpPr/>
          <p:nvPr userDrawn="1"/>
        </p:nvSpPr>
        <p:spPr>
          <a:xfrm>
            <a:off x="5967535" y="3956391"/>
            <a:ext cx="256931" cy="256971"/>
          </a:xfrm>
          <a:prstGeom prst="ellipse">
            <a:avLst/>
          </a:prstGeom>
          <a:solidFill>
            <a:schemeClr val="accent2"/>
          </a:solidFill>
          <a:ln w="57150">
            <a:solidFill>
              <a:schemeClr val="bg1"/>
            </a:solidFill>
          </a:ln>
          <a:effectLst>
            <a:outerShdw sx="102000" sy="102000" algn="ctr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0963" tIns="30482" rIns="60963" bIns="30482" rtlCol="0" anchor="ctr"/>
          <a:lstStyle/>
          <a:p>
            <a:pPr algn="ctr"/>
            <a:endParaRPr kumimoji="1" lang="ja-JP" altLang="en-US"/>
          </a:p>
        </p:txBody>
      </p:sp>
      <p:sp>
        <p:nvSpPr>
          <p:cNvPr id="40" name="楕円 39"/>
          <p:cNvSpPr/>
          <p:nvPr userDrawn="1"/>
        </p:nvSpPr>
        <p:spPr>
          <a:xfrm>
            <a:off x="5967535" y="5157469"/>
            <a:ext cx="256931" cy="256971"/>
          </a:xfrm>
          <a:prstGeom prst="ellipse">
            <a:avLst/>
          </a:prstGeom>
          <a:solidFill>
            <a:schemeClr val="accent3"/>
          </a:solidFill>
          <a:ln w="57150">
            <a:solidFill>
              <a:schemeClr val="bg1"/>
            </a:solidFill>
          </a:ln>
          <a:effectLst>
            <a:outerShdw sx="102000" sy="102000" algn="ctr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0963" tIns="30482" rIns="60963" bIns="30482" rtlCol="0" anchor="ctr"/>
          <a:lstStyle/>
          <a:p>
            <a:pPr algn="ctr"/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40005410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5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5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750"/>
                            </p:stCondLst>
                            <p:childTnLst>
                              <p:par>
                                <p:cTn id="10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1250"/>
                            </p:stCondLst>
                            <p:childTnLst>
                              <p:par>
                                <p:cTn id="1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1750"/>
                            </p:stCondLst>
                            <p:childTnLst>
                              <p:par>
                                <p:cTn id="18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2250"/>
                            </p:stCondLst>
                            <p:childTnLst>
                              <p:par>
                                <p:cTn id="22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4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2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7" dur="500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2750"/>
                            </p:stCondLst>
                            <p:childTnLst>
                              <p:par>
                                <p:cTn id="29" presetID="2" presetClass="entr" presetSubtype="8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2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2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2" presetClass="entr" presetSubtype="4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3250"/>
                            </p:stCondLst>
                            <p:childTnLst>
                              <p:par>
                                <p:cTn id="38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40" dur="500"/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1" fill="hold">
                            <p:stCondLst>
                              <p:cond delay="3750"/>
                            </p:stCondLst>
                            <p:childTnLst>
                              <p:par>
                                <p:cTn id="42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44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5" fill="hold">
                            <p:stCondLst>
                              <p:cond delay="4250"/>
                            </p:stCondLst>
                            <p:childTnLst>
                              <p:par>
                                <p:cTn id="4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9" fill="hold">
                            <p:stCondLst>
                              <p:cond delay="4750"/>
                            </p:stCondLst>
                            <p:childTnLst>
                              <p:par>
                                <p:cTn id="50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2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3" fill="hold">
                            <p:stCondLst>
                              <p:cond delay="5250"/>
                            </p:stCondLst>
                            <p:childTnLst>
                              <p:par>
                                <p:cTn id="54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6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9" dur="500"/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0" fill="hold">
                            <p:stCondLst>
                              <p:cond delay="5750"/>
                            </p:stCondLst>
                            <p:childTnLst>
                              <p:par>
                                <p:cTn id="61" presetID="2" presetClass="entr" presetSubtype="2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3" dur="500" fill="hold"/>
                                        <p:tgtEl>
                                          <p:spTgt spid="3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4" dur="500" fill="hold"/>
                                        <p:tgtEl>
                                          <p:spTgt spid="3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5" presetID="2" presetClass="entr" presetSubtype="4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7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8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9" fill="hold">
                            <p:stCondLst>
                              <p:cond delay="6250"/>
                            </p:stCondLst>
                            <p:childTnLst>
                              <p:par>
                                <p:cTn id="7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2" dur="500"/>
                                        <p:tgtEl>
                                          <p:spTgt spid="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3" fill="hold">
                            <p:stCondLst>
                              <p:cond delay="6750"/>
                            </p:stCondLst>
                            <p:childTnLst>
                              <p:par>
                                <p:cTn id="74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6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7" fill="hold">
                            <p:stCondLst>
                              <p:cond delay="7250"/>
                            </p:stCondLst>
                            <p:childTnLst>
                              <p:par>
                                <p:cTn id="7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0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1" fill="hold">
                            <p:stCondLst>
                              <p:cond delay="7750"/>
                            </p:stCondLst>
                            <p:childTnLst>
                              <p:par>
                                <p:cTn id="82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84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5" fill="hold">
                            <p:stCondLst>
                              <p:cond delay="8250"/>
                            </p:stCondLst>
                            <p:childTnLst>
                              <p:par>
                                <p:cTn id="86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88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9" presetID="2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91" dur="500"/>
                                        <p:tgtEl>
                                          <p:spTgt spid="4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2" fill="hold">
                            <p:stCondLst>
                              <p:cond delay="9250"/>
                            </p:stCondLst>
                            <p:childTnLst>
                              <p:par>
                                <p:cTn id="93" presetID="2" presetClass="entr" presetSubtype="8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5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6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7" presetID="2" presetClass="entr" presetSubtype="4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9" dur="5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0" dur="5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1" fill="hold">
                            <p:stCondLst>
                              <p:cond delay="9750"/>
                            </p:stCondLst>
                            <p:childTnLst>
                              <p:par>
                                <p:cTn id="102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04" dur="500"/>
                                        <p:tgtEl>
                                          <p:spTgt spid="4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5" fill="hold">
                            <p:stCondLst>
                              <p:cond delay="10250"/>
                            </p:stCondLst>
                            <p:childTnLst>
                              <p:par>
                                <p:cTn id="106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08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19" grpId="0" build="p">
        <p:tmplLst>
          <p:tmpl lvl="1">
            <p:tnLst>
              <p:par>
                <p:cTn presetID="22" presetClass="entr" presetSubtype="2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right)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0" grpId="0" build="p">
        <p:tmplLst>
          <p:tmpl lvl="1">
            <p:tnLst>
              <p:par>
                <p:cTn presetID="2" presetClass="entr" presetSubtype="8" decel="10000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20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20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21" grpId="0" animBg="1"/>
      <p:bldP spid="27" grpId="0" animBg="1"/>
      <p:bldP spid="28" grpId="0" build="p">
        <p:tmplLst>
          <p:tmpl lvl="1">
            <p:tnLst>
              <p:par>
                <p:cTn presetID="22" presetClass="entr" presetSubtype="8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7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3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8" grpId="0" build="p">
        <p:tmplLst>
          <p:tmpl lvl="1">
            <p:tnLst>
              <p:par>
                <p:cTn presetID="2" presetClass="entr" presetSubtype="2" decel="10000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38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38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39" grpId="0" animBg="1"/>
      <p:bldP spid="43" grpId="0" build="p">
        <p:tmplLst>
          <p:tmpl lvl="1">
            <p:tnLst>
              <p:par>
                <p:cTn presetID="22" presetClass="entr" presetSubtype="2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right)">
                      <p:cBhvr>
                        <p:cTn dur="500"/>
                        <p:tgtEl>
                          <p:spTgt spid="4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4" grpId="0" build="p">
        <p:tmplLst>
          <p:tmpl lvl="1">
            <p:tnLst>
              <p:par>
                <p:cTn presetID="2" presetClass="entr" presetSubtype="8" decel="10000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44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44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45" grpId="0" animBg="1"/>
      <p:bldP spid="13" grpId="0" animBg="1"/>
      <p:bldP spid="17" grpId="0" build="p">
        <p:tmplLst>
          <p:tmpl lvl="1">
            <p:tnLst>
              <p:par>
                <p:cTn presetID="22" presetClass="entr" presetSubtype="2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right)">
                      <p:cBhvr>
                        <p:cTn dur="500"/>
                        <p:tgtEl>
                          <p:spTgt spid="1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9" grpId="0" animBg="1"/>
      <p:bldP spid="42" grpId="0" build="p">
        <p:tmplLst>
          <p:tmpl lvl="1">
            <p:tnLst>
              <p:par>
                <p:cTn presetID="22" presetClass="entr" presetSubtype="2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right)">
                      <p:cBhvr>
                        <p:cTn dur="500"/>
                        <p:tgtEl>
                          <p:spTgt spid="4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8" grpId="0" animBg="1"/>
      <p:bldP spid="24" grpId="0" animBg="1"/>
      <p:bldP spid="40" grpId="0" animBg="1"/>
    </p:bld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9794894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 userDrawn="1"/>
        </p:nvSpPr>
        <p:spPr>
          <a:xfrm>
            <a:off x="11393950" y="6425377"/>
            <a:ext cx="39946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fld id="{260E2A6B-A809-4840-BF14-8648BC0BDF87}" type="slidenum">
              <a:rPr lang="id-ID" sz="1400" b="1" smtClean="0">
                <a:solidFill>
                  <a:schemeClr val="bg1"/>
                </a:solidFill>
              </a:rPr>
              <a:pPr algn="ctr"/>
              <a:t>‹#›</a:t>
            </a:fld>
            <a:endParaRPr lang="id-ID" sz="1400" dirty="0">
              <a:solidFill>
                <a:schemeClr val="bg1"/>
              </a:solidFill>
            </a:endParaRPr>
          </a:p>
        </p:txBody>
      </p:sp>
      <p:grpSp>
        <p:nvGrpSpPr>
          <p:cNvPr id="3" name="Group 5"/>
          <p:cNvGrpSpPr/>
          <p:nvPr userDrawn="1"/>
        </p:nvGrpSpPr>
        <p:grpSpPr>
          <a:xfrm>
            <a:off x="347419" y="6409324"/>
            <a:ext cx="224082" cy="221156"/>
            <a:chOff x="4328868" y="5502988"/>
            <a:chExt cx="500307" cy="493774"/>
          </a:xfrm>
        </p:grpSpPr>
        <p:sp>
          <p:nvSpPr>
            <p:cNvPr id="8" name="Freeform 7">
              <a:hlinkClick r:id="" action="ppaction://hlinkshowjump?jump=previousslide"/>
            </p:cNvPr>
            <p:cNvSpPr>
              <a:spLocks/>
            </p:cNvSpPr>
            <p:nvPr userDrawn="1"/>
          </p:nvSpPr>
          <p:spPr bwMode="auto">
            <a:xfrm>
              <a:off x="4520555" y="5649754"/>
              <a:ext cx="116933" cy="200242"/>
            </a:xfrm>
            <a:custGeom>
              <a:avLst/>
              <a:gdLst>
                <a:gd name="T0" fmla="*/ 417 w 425"/>
                <a:gd name="T1" fmla="*/ 77 h 728"/>
                <a:gd name="T2" fmla="*/ 131 w 425"/>
                <a:gd name="T3" fmla="*/ 364 h 728"/>
                <a:gd name="T4" fmla="*/ 417 w 425"/>
                <a:gd name="T5" fmla="*/ 650 h 728"/>
                <a:gd name="T6" fmla="*/ 425 w 425"/>
                <a:gd name="T7" fmla="*/ 667 h 728"/>
                <a:gd name="T8" fmla="*/ 417 w 425"/>
                <a:gd name="T9" fmla="*/ 684 h 728"/>
                <a:gd name="T10" fmla="*/ 381 w 425"/>
                <a:gd name="T11" fmla="*/ 720 h 728"/>
                <a:gd name="T12" fmla="*/ 364 w 425"/>
                <a:gd name="T13" fmla="*/ 728 h 728"/>
                <a:gd name="T14" fmla="*/ 347 w 425"/>
                <a:gd name="T15" fmla="*/ 720 h 728"/>
                <a:gd name="T16" fmla="*/ 8 w 425"/>
                <a:gd name="T17" fmla="*/ 381 h 728"/>
                <a:gd name="T18" fmla="*/ 0 w 425"/>
                <a:gd name="T19" fmla="*/ 364 h 728"/>
                <a:gd name="T20" fmla="*/ 8 w 425"/>
                <a:gd name="T21" fmla="*/ 347 h 728"/>
                <a:gd name="T22" fmla="*/ 347 w 425"/>
                <a:gd name="T23" fmla="*/ 7 h 728"/>
                <a:gd name="T24" fmla="*/ 364 w 425"/>
                <a:gd name="T25" fmla="*/ 0 h 728"/>
                <a:gd name="T26" fmla="*/ 381 w 425"/>
                <a:gd name="T27" fmla="*/ 7 h 728"/>
                <a:gd name="T28" fmla="*/ 417 w 425"/>
                <a:gd name="T29" fmla="*/ 44 h 728"/>
                <a:gd name="T30" fmla="*/ 425 w 425"/>
                <a:gd name="T31" fmla="*/ 60 h 728"/>
                <a:gd name="T32" fmla="*/ 417 w 425"/>
                <a:gd name="T33" fmla="*/ 77 h 7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25" h="728">
                  <a:moveTo>
                    <a:pt x="417" y="77"/>
                  </a:moveTo>
                  <a:cubicBezTo>
                    <a:pt x="131" y="364"/>
                    <a:pt x="131" y="364"/>
                    <a:pt x="131" y="364"/>
                  </a:cubicBezTo>
                  <a:cubicBezTo>
                    <a:pt x="417" y="650"/>
                    <a:pt x="417" y="650"/>
                    <a:pt x="417" y="650"/>
                  </a:cubicBezTo>
                  <a:cubicBezTo>
                    <a:pt x="422" y="655"/>
                    <a:pt x="425" y="661"/>
                    <a:pt x="425" y="667"/>
                  </a:cubicBezTo>
                  <a:cubicBezTo>
                    <a:pt x="425" y="673"/>
                    <a:pt x="422" y="680"/>
                    <a:pt x="417" y="684"/>
                  </a:cubicBezTo>
                  <a:cubicBezTo>
                    <a:pt x="381" y="720"/>
                    <a:pt x="381" y="720"/>
                    <a:pt x="381" y="720"/>
                  </a:cubicBezTo>
                  <a:cubicBezTo>
                    <a:pt x="377" y="725"/>
                    <a:pt x="370" y="728"/>
                    <a:pt x="364" y="728"/>
                  </a:cubicBezTo>
                  <a:cubicBezTo>
                    <a:pt x="358" y="728"/>
                    <a:pt x="352" y="725"/>
                    <a:pt x="347" y="720"/>
                  </a:cubicBezTo>
                  <a:cubicBezTo>
                    <a:pt x="8" y="381"/>
                    <a:pt x="8" y="381"/>
                    <a:pt x="8" y="381"/>
                  </a:cubicBezTo>
                  <a:cubicBezTo>
                    <a:pt x="3" y="376"/>
                    <a:pt x="0" y="369"/>
                    <a:pt x="0" y="364"/>
                  </a:cubicBezTo>
                  <a:cubicBezTo>
                    <a:pt x="0" y="358"/>
                    <a:pt x="3" y="351"/>
                    <a:pt x="8" y="347"/>
                  </a:cubicBezTo>
                  <a:cubicBezTo>
                    <a:pt x="347" y="7"/>
                    <a:pt x="347" y="7"/>
                    <a:pt x="347" y="7"/>
                  </a:cubicBezTo>
                  <a:cubicBezTo>
                    <a:pt x="352" y="3"/>
                    <a:pt x="358" y="0"/>
                    <a:pt x="364" y="0"/>
                  </a:cubicBezTo>
                  <a:cubicBezTo>
                    <a:pt x="370" y="0"/>
                    <a:pt x="377" y="3"/>
                    <a:pt x="381" y="7"/>
                  </a:cubicBezTo>
                  <a:cubicBezTo>
                    <a:pt x="417" y="44"/>
                    <a:pt x="417" y="44"/>
                    <a:pt x="417" y="44"/>
                  </a:cubicBezTo>
                  <a:cubicBezTo>
                    <a:pt x="422" y="48"/>
                    <a:pt x="425" y="54"/>
                    <a:pt x="425" y="60"/>
                  </a:cubicBezTo>
                  <a:cubicBezTo>
                    <a:pt x="425" y="66"/>
                    <a:pt x="422" y="73"/>
                    <a:pt x="417" y="77"/>
                  </a:cubicBez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9" name="Freeform 8">
              <a:hlinkClick r:id="" action="ppaction://hlinkshowjump?jump=previousslide"/>
            </p:cNvPr>
            <p:cNvSpPr>
              <a:spLocks noEditPoints="1"/>
            </p:cNvSpPr>
            <p:nvPr userDrawn="1"/>
          </p:nvSpPr>
          <p:spPr bwMode="auto">
            <a:xfrm>
              <a:off x="4328868" y="5502988"/>
              <a:ext cx="500307" cy="493774"/>
            </a:xfrm>
            <a:custGeom>
              <a:avLst/>
              <a:gdLst>
                <a:gd name="T0" fmla="*/ 2355 w 2753"/>
                <a:gd name="T1" fmla="*/ 114 h 2716"/>
                <a:gd name="T2" fmla="*/ 2639 w 2753"/>
                <a:gd name="T3" fmla="*/ 399 h 2716"/>
                <a:gd name="T4" fmla="*/ 2639 w 2753"/>
                <a:gd name="T5" fmla="*/ 2317 h 2716"/>
                <a:gd name="T6" fmla="*/ 2355 w 2753"/>
                <a:gd name="T7" fmla="*/ 2602 h 2716"/>
                <a:gd name="T8" fmla="*/ 398 w 2753"/>
                <a:gd name="T9" fmla="*/ 2602 h 2716"/>
                <a:gd name="T10" fmla="*/ 113 w 2753"/>
                <a:gd name="T11" fmla="*/ 2317 h 2716"/>
                <a:gd name="T12" fmla="*/ 113 w 2753"/>
                <a:gd name="T13" fmla="*/ 399 h 2716"/>
                <a:gd name="T14" fmla="*/ 398 w 2753"/>
                <a:gd name="T15" fmla="*/ 114 h 2716"/>
                <a:gd name="T16" fmla="*/ 2355 w 2753"/>
                <a:gd name="T17" fmla="*/ 114 h 2716"/>
                <a:gd name="T18" fmla="*/ 2355 w 2753"/>
                <a:gd name="T19" fmla="*/ 0 h 2716"/>
                <a:gd name="T20" fmla="*/ 398 w 2753"/>
                <a:gd name="T21" fmla="*/ 0 h 2716"/>
                <a:gd name="T22" fmla="*/ 0 w 2753"/>
                <a:gd name="T23" fmla="*/ 399 h 2716"/>
                <a:gd name="T24" fmla="*/ 0 w 2753"/>
                <a:gd name="T25" fmla="*/ 2317 h 2716"/>
                <a:gd name="T26" fmla="*/ 398 w 2753"/>
                <a:gd name="T27" fmla="*/ 2716 h 2716"/>
                <a:gd name="T28" fmla="*/ 2355 w 2753"/>
                <a:gd name="T29" fmla="*/ 2716 h 2716"/>
                <a:gd name="T30" fmla="*/ 2753 w 2753"/>
                <a:gd name="T31" fmla="*/ 2317 h 2716"/>
                <a:gd name="T32" fmla="*/ 2753 w 2753"/>
                <a:gd name="T33" fmla="*/ 399 h 2716"/>
                <a:gd name="T34" fmla="*/ 2355 w 2753"/>
                <a:gd name="T35" fmla="*/ 0 h 27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753" h="2716">
                  <a:moveTo>
                    <a:pt x="2355" y="114"/>
                  </a:moveTo>
                  <a:cubicBezTo>
                    <a:pt x="2512" y="114"/>
                    <a:pt x="2639" y="242"/>
                    <a:pt x="2639" y="399"/>
                  </a:cubicBezTo>
                  <a:cubicBezTo>
                    <a:pt x="2639" y="2317"/>
                    <a:pt x="2639" y="2317"/>
                    <a:pt x="2639" y="2317"/>
                  </a:cubicBezTo>
                  <a:cubicBezTo>
                    <a:pt x="2639" y="2474"/>
                    <a:pt x="2512" y="2602"/>
                    <a:pt x="2355" y="2602"/>
                  </a:cubicBezTo>
                  <a:cubicBezTo>
                    <a:pt x="398" y="2602"/>
                    <a:pt x="398" y="2602"/>
                    <a:pt x="398" y="2602"/>
                  </a:cubicBezTo>
                  <a:cubicBezTo>
                    <a:pt x="241" y="2602"/>
                    <a:pt x="113" y="2474"/>
                    <a:pt x="113" y="2317"/>
                  </a:cubicBezTo>
                  <a:cubicBezTo>
                    <a:pt x="113" y="399"/>
                    <a:pt x="113" y="399"/>
                    <a:pt x="113" y="399"/>
                  </a:cubicBezTo>
                  <a:cubicBezTo>
                    <a:pt x="113" y="242"/>
                    <a:pt x="241" y="114"/>
                    <a:pt x="398" y="114"/>
                  </a:cubicBezTo>
                  <a:cubicBezTo>
                    <a:pt x="2355" y="114"/>
                    <a:pt x="2355" y="114"/>
                    <a:pt x="2355" y="114"/>
                  </a:cubicBezTo>
                  <a:moveTo>
                    <a:pt x="2355" y="0"/>
                  </a:moveTo>
                  <a:cubicBezTo>
                    <a:pt x="398" y="0"/>
                    <a:pt x="398" y="0"/>
                    <a:pt x="398" y="0"/>
                  </a:cubicBezTo>
                  <a:cubicBezTo>
                    <a:pt x="178" y="0"/>
                    <a:pt x="0" y="179"/>
                    <a:pt x="0" y="399"/>
                  </a:cubicBezTo>
                  <a:cubicBezTo>
                    <a:pt x="0" y="2317"/>
                    <a:pt x="0" y="2317"/>
                    <a:pt x="0" y="2317"/>
                  </a:cubicBezTo>
                  <a:cubicBezTo>
                    <a:pt x="0" y="2538"/>
                    <a:pt x="178" y="2716"/>
                    <a:pt x="398" y="2716"/>
                  </a:cubicBezTo>
                  <a:cubicBezTo>
                    <a:pt x="2355" y="2716"/>
                    <a:pt x="2355" y="2716"/>
                    <a:pt x="2355" y="2716"/>
                  </a:cubicBezTo>
                  <a:cubicBezTo>
                    <a:pt x="2575" y="2716"/>
                    <a:pt x="2753" y="2538"/>
                    <a:pt x="2753" y="2317"/>
                  </a:cubicBezTo>
                  <a:cubicBezTo>
                    <a:pt x="2753" y="399"/>
                    <a:pt x="2753" y="399"/>
                    <a:pt x="2753" y="399"/>
                  </a:cubicBezTo>
                  <a:cubicBezTo>
                    <a:pt x="2753" y="179"/>
                    <a:pt x="2575" y="0"/>
                    <a:pt x="2355" y="0"/>
                  </a:cubicBez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6" name="Group 9"/>
          <p:cNvGrpSpPr/>
          <p:nvPr userDrawn="1"/>
        </p:nvGrpSpPr>
        <p:grpSpPr>
          <a:xfrm flipH="1">
            <a:off x="933709" y="6409324"/>
            <a:ext cx="224082" cy="221156"/>
            <a:chOff x="4328868" y="5502988"/>
            <a:chExt cx="500307" cy="493774"/>
          </a:xfrm>
        </p:grpSpPr>
        <p:sp>
          <p:nvSpPr>
            <p:cNvPr id="11" name="Freeform 10">
              <a:hlinkClick r:id="" action="ppaction://hlinkshowjump?jump=nextslide"/>
            </p:cNvPr>
            <p:cNvSpPr>
              <a:spLocks/>
            </p:cNvSpPr>
            <p:nvPr userDrawn="1"/>
          </p:nvSpPr>
          <p:spPr bwMode="auto">
            <a:xfrm>
              <a:off x="4520556" y="5649754"/>
              <a:ext cx="116933" cy="200242"/>
            </a:xfrm>
            <a:custGeom>
              <a:avLst/>
              <a:gdLst>
                <a:gd name="T0" fmla="*/ 417 w 425"/>
                <a:gd name="T1" fmla="*/ 77 h 728"/>
                <a:gd name="T2" fmla="*/ 131 w 425"/>
                <a:gd name="T3" fmla="*/ 364 h 728"/>
                <a:gd name="T4" fmla="*/ 417 w 425"/>
                <a:gd name="T5" fmla="*/ 650 h 728"/>
                <a:gd name="T6" fmla="*/ 425 w 425"/>
                <a:gd name="T7" fmla="*/ 667 h 728"/>
                <a:gd name="T8" fmla="*/ 417 w 425"/>
                <a:gd name="T9" fmla="*/ 684 h 728"/>
                <a:gd name="T10" fmla="*/ 381 w 425"/>
                <a:gd name="T11" fmla="*/ 720 h 728"/>
                <a:gd name="T12" fmla="*/ 364 w 425"/>
                <a:gd name="T13" fmla="*/ 728 h 728"/>
                <a:gd name="T14" fmla="*/ 347 w 425"/>
                <a:gd name="T15" fmla="*/ 720 h 728"/>
                <a:gd name="T16" fmla="*/ 8 w 425"/>
                <a:gd name="T17" fmla="*/ 381 h 728"/>
                <a:gd name="T18" fmla="*/ 0 w 425"/>
                <a:gd name="T19" fmla="*/ 364 h 728"/>
                <a:gd name="T20" fmla="*/ 8 w 425"/>
                <a:gd name="T21" fmla="*/ 347 h 728"/>
                <a:gd name="T22" fmla="*/ 347 w 425"/>
                <a:gd name="T23" fmla="*/ 7 h 728"/>
                <a:gd name="T24" fmla="*/ 364 w 425"/>
                <a:gd name="T25" fmla="*/ 0 h 728"/>
                <a:gd name="T26" fmla="*/ 381 w 425"/>
                <a:gd name="T27" fmla="*/ 7 h 728"/>
                <a:gd name="T28" fmla="*/ 417 w 425"/>
                <a:gd name="T29" fmla="*/ 44 h 728"/>
                <a:gd name="T30" fmla="*/ 425 w 425"/>
                <a:gd name="T31" fmla="*/ 60 h 728"/>
                <a:gd name="T32" fmla="*/ 417 w 425"/>
                <a:gd name="T33" fmla="*/ 77 h 7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25" h="728">
                  <a:moveTo>
                    <a:pt x="417" y="77"/>
                  </a:moveTo>
                  <a:cubicBezTo>
                    <a:pt x="131" y="364"/>
                    <a:pt x="131" y="364"/>
                    <a:pt x="131" y="364"/>
                  </a:cubicBezTo>
                  <a:cubicBezTo>
                    <a:pt x="417" y="650"/>
                    <a:pt x="417" y="650"/>
                    <a:pt x="417" y="650"/>
                  </a:cubicBezTo>
                  <a:cubicBezTo>
                    <a:pt x="422" y="655"/>
                    <a:pt x="425" y="661"/>
                    <a:pt x="425" y="667"/>
                  </a:cubicBezTo>
                  <a:cubicBezTo>
                    <a:pt x="425" y="673"/>
                    <a:pt x="422" y="680"/>
                    <a:pt x="417" y="684"/>
                  </a:cubicBezTo>
                  <a:cubicBezTo>
                    <a:pt x="381" y="720"/>
                    <a:pt x="381" y="720"/>
                    <a:pt x="381" y="720"/>
                  </a:cubicBezTo>
                  <a:cubicBezTo>
                    <a:pt x="377" y="725"/>
                    <a:pt x="370" y="728"/>
                    <a:pt x="364" y="728"/>
                  </a:cubicBezTo>
                  <a:cubicBezTo>
                    <a:pt x="358" y="728"/>
                    <a:pt x="352" y="725"/>
                    <a:pt x="347" y="720"/>
                  </a:cubicBezTo>
                  <a:cubicBezTo>
                    <a:pt x="8" y="381"/>
                    <a:pt x="8" y="381"/>
                    <a:pt x="8" y="381"/>
                  </a:cubicBezTo>
                  <a:cubicBezTo>
                    <a:pt x="3" y="376"/>
                    <a:pt x="0" y="369"/>
                    <a:pt x="0" y="364"/>
                  </a:cubicBezTo>
                  <a:cubicBezTo>
                    <a:pt x="0" y="358"/>
                    <a:pt x="3" y="351"/>
                    <a:pt x="8" y="347"/>
                  </a:cubicBezTo>
                  <a:cubicBezTo>
                    <a:pt x="347" y="7"/>
                    <a:pt x="347" y="7"/>
                    <a:pt x="347" y="7"/>
                  </a:cubicBezTo>
                  <a:cubicBezTo>
                    <a:pt x="352" y="3"/>
                    <a:pt x="358" y="0"/>
                    <a:pt x="364" y="0"/>
                  </a:cubicBezTo>
                  <a:cubicBezTo>
                    <a:pt x="370" y="0"/>
                    <a:pt x="377" y="3"/>
                    <a:pt x="381" y="7"/>
                  </a:cubicBezTo>
                  <a:cubicBezTo>
                    <a:pt x="417" y="44"/>
                    <a:pt x="417" y="44"/>
                    <a:pt x="417" y="44"/>
                  </a:cubicBezTo>
                  <a:cubicBezTo>
                    <a:pt x="422" y="48"/>
                    <a:pt x="425" y="54"/>
                    <a:pt x="425" y="60"/>
                  </a:cubicBezTo>
                  <a:cubicBezTo>
                    <a:pt x="425" y="66"/>
                    <a:pt x="422" y="73"/>
                    <a:pt x="417" y="77"/>
                  </a:cubicBez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2" name="Freeform 11">
              <a:hlinkClick r:id="" action="ppaction://hlinkshowjump?jump=nextslide"/>
            </p:cNvPr>
            <p:cNvSpPr>
              <a:spLocks noEditPoints="1"/>
            </p:cNvSpPr>
            <p:nvPr userDrawn="1"/>
          </p:nvSpPr>
          <p:spPr bwMode="auto">
            <a:xfrm>
              <a:off x="4328868" y="5502988"/>
              <a:ext cx="500307" cy="493774"/>
            </a:xfrm>
            <a:custGeom>
              <a:avLst/>
              <a:gdLst>
                <a:gd name="T0" fmla="*/ 2355 w 2753"/>
                <a:gd name="T1" fmla="*/ 114 h 2716"/>
                <a:gd name="T2" fmla="*/ 2639 w 2753"/>
                <a:gd name="T3" fmla="*/ 399 h 2716"/>
                <a:gd name="T4" fmla="*/ 2639 w 2753"/>
                <a:gd name="T5" fmla="*/ 2317 h 2716"/>
                <a:gd name="T6" fmla="*/ 2355 w 2753"/>
                <a:gd name="T7" fmla="*/ 2602 h 2716"/>
                <a:gd name="T8" fmla="*/ 398 w 2753"/>
                <a:gd name="T9" fmla="*/ 2602 h 2716"/>
                <a:gd name="T10" fmla="*/ 113 w 2753"/>
                <a:gd name="T11" fmla="*/ 2317 h 2716"/>
                <a:gd name="T12" fmla="*/ 113 w 2753"/>
                <a:gd name="T13" fmla="*/ 399 h 2716"/>
                <a:gd name="T14" fmla="*/ 398 w 2753"/>
                <a:gd name="T15" fmla="*/ 114 h 2716"/>
                <a:gd name="T16" fmla="*/ 2355 w 2753"/>
                <a:gd name="T17" fmla="*/ 114 h 2716"/>
                <a:gd name="T18" fmla="*/ 2355 w 2753"/>
                <a:gd name="T19" fmla="*/ 0 h 2716"/>
                <a:gd name="T20" fmla="*/ 398 w 2753"/>
                <a:gd name="T21" fmla="*/ 0 h 2716"/>
                <a:gd name="T22" fmla="*/ 0 w 2753"/>
                <a:gd name="T23" fmla="*/ 399 h 2716"/>
                <a:gd name="T24" fmla="*/ 0 w 2753"/>
                <a:gd name="T25" fmla="*/ 2317 h 2716"/>
                <a:gd name="T26" fmla="*/ 398 w 2753"/>
                <a:gd name="T27" fmla="*/ 2716 h 2716"/>
                <a:gd name="T28" fmla="*/ 2355 w 2753"/>
                <a:gd name="T29" fmla="*/ 2716 h 2716"/>
                <a:gd name="T30" fmla="*/ 2753 w 2753"/>
                <a:gd name="T31" fmla="*/ 2317 h 2716"/>
                <a:gd name="T32" fmla="*/ 2753 w 2753"/>
                <a:gd name="T33" fmla="*/ 399 h 2716"/>
                <a:gd name="T34" fmla="*/ 2355 w 2753"/>
                <a:gd name="T35" fmla="*/ 0 h 27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753" h="2716">
                  <a:moveTo>
                    <a:pt x="2355" y="114"/>
                  </a:moveTo>
                  <a:cubicBezTo>
                    <a:pt x="2512" y="114"/>
                    <a:pt x="2639" y="242"/>
                    <a:pt x="2639" y="399"/>
                  </a:cubicBezTo>
                  <a:cubicBezTo>
                    <a:pt x="2639" y="2317"/>
                    <a:pt x="2639" y="2317"/>
                    <a:pt x="2639" y="2317"/>
                  </a:cubicBezTo>
                  <a:cubicBezTo>
                    <a:pt x="2639" y="2474"/>
                    <a:pt x="2512" y="2602"/>
                    <a:pt x="2355" y="2602"/>
                  </a:cubicBezTo>
                  <a:cubicBezTo>
                    <a:pt x="398" y="2602"/>
                    <a:pt x="398" y="2602"/>
                    <a:pt x="398" y="2602"/>
                  </a:cubicBezTo>
                  <a:cubicBezTo>
                    <a:pt x="241" y="2602"/>
                    <a:pt x="113" y="2474"/>
                    <a:pt x="113" y="2317"/>
                  </a:cubicBezTo>
                  <a:cubicBezTo>
                    <a:pt x="113" y="399"/>
                    <a:pt x="113" y="399"/>
                    <a:pt x="113" y="399"/>
                  </a:cubicBezTo>
                  <a:cubicBezTo>
                    <a:pt x="113" y="242"/>
                    <a:pt x="241" y="114"/>
                    <a:pt x="398" y="114"/>
                  </a:cubicBezTo>
                  <a:cubicBezTo>
                    <a:pt x="2355" y="114"/>
                    <a:pt x="2355" y="114"/>
                    <a:pt x="2355" y="114"/>
                  </a:cubicBezTo>
                  <a:moveTo>
                    <a:pt x="2355" y="0"/>
                  </a:moveTo>
                  <a:cubicBezTo>
                    <a:pt x="398" y="0"/>
                    <a:pt x="398" y="0"/>
                    <a:pt x="398" y="0"/>
                  </a:cubicBezTo>
                  <a:cubicBezTo>
                    <a:pt x="178" y="0"/>
                    <a:pt x="0" y="179"/>
                    <a:pt x="0" y="399"/>
                  </a:cubicBezTo>
                  <a:cubicBezTo>
                    <a:pt x="0" y="2317"/>
                    <a:pt x="0" y="2317"/>
                    <a:pt x="0" y="2317"/>
                  </a:cubicBezTo>
                  <a:cubicBezTo>
                    <a:pt x="0" y="2538"/>
                    <a:pt x="178" y="2716"/>
                    <a:pt x="398" y="2716"/>
                  </a:cubicBezTo>
                  <a:cubicBezTo>
                    <a:pt x="2355" y="2716"/>
                    <a:pt x="2355" y="2716"/>
                    <a:pt x="2355" y="2716"/>
                  </a:cubicBezTo>
                  <a:cubicBezTo>
                    <a:pt x="2575" y="2716"/>
                    <a:pt x="2753" y="2538"/>
                    <a:pt x="2753" y="2317"/>
                  </a:cubicBezTo>
                  <a:cubicBezTo>
                    <a:pt x="2753" y="399"/>
                    <a:pt x="2753" y="399"/>
                    <a:pt x="2753" y="399"/>
                  </a:cubicBezTo>
                  <a:cubicBezTo>
                    <a:pt x="2753" y="179"/>
                    <a:pt x="2575" y="0"/>
                    <a:pt x="2355" y="0"/>
                  </a:cubicBez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cxnSp>
        <p:nvCxnSpPr>
          <p:cNvPr id="4" name="Straight Connector 3"/>
          <p:cNvCxnSpPr/>
          <p:nvPr userDrawn="1"/>
        </p:nvCxnSpPr>
        <p:spPr>
          <a:xfrm>
            <a:off x="552709" y="6522684"/>
            <a:ext cx="381000" cy="0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873448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ntent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323529" y="339509"/>
            <a:ext cx="11573197" cy="72424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5400" b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en-US" altLang="ko-KR" dirty="0"/>
              <a:t>BASIC LAYOUT</a:t>
            </a:r>
          </a:p>
        </p:txBody>
      </p:sp>
      <p:sp>
        <p:nvSpPr>
          <p:cNvPr id="3" name="TextBox 2"/>
          <p:cNvSpPr txBox="1"/>
          <p:nvPr userDrawn="1"/>
        </p:nvSpPr>
        <p:spPr>
          <a:xfrm>
            <a:off x="11393950" y="6425377"/>
            <a:ext cx="39946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fld id="{260E2A6B-A809-4840-BF14-8648BC0BDF87}" type="slidenum">
              <a:rPr lang="id-ID" sz="1400" b="1" smtClean="0">
                <a:solidFill>
                  <a:schemeClr val="bg1"/>
                </a:solidFill>
              </a:rPr>
              <a:pPr algn="ctr"/>
              <a:t>‹#›</a:t>
            </a:fld>
            <a:endParaRPr lang="id-ID" sz="14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2775978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B594E8E5-666D-49BB-94F2-DA0C3F3EE9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id-ID"/>
          </a:p>
        </p:txBody>
      </p:sp>
      <p:sp>
        <p:nvSpPr>
          <p:cNvPr id="3" name="Text Placeholder 2">
            <a:extLst>
              <a:ext uri="{FF2B5EF4-FFF2-40B4-BE49-F238E27FC236}">
                <a16:creationId xmlns="" xmlns:a16="http://schemas.microsoft.com/office/drawing/2014/main" id="{9AF84ED0-FD4B-4E08-AE4F-E48B3EB0669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="" xmlns:a16="http://schemas.microsoft.com/office/drawing/2014/main" id="{A129451A-20B2-412B-98A3-3F5E8EA55CF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d-ID"/>
          </a:p>
        </p:txBody>
      </p:sp>
      <p:sp>
        <p:nvSpPr>
          <p:cNvPr id="5" name="Text Placeholder 4">
            <a:extLst>
              <a:ext uri="{FF2B5EF4-FFF2-40B4-BE49-F238E27FC236}">
                <a16:creationId xmlns="" xmlns:a16="http://schemas.microsoft.com/office/drawing/2014/main" id="{E1644D0D-D67A-4FF1-B1B8-73291DC874F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="" xmlns:a16="http://schemas.microsoft.com/office/drawing/2014/main" id="{43BB4E4A-0985-46CA-9C0C-3E1B03EA1DF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d-ID"/>
          </a:p>
        </p:txBody>
      </p:sp>
      <p:sp>
        <p:nvSpPr>
          <p:cNvPr id="7" name="Date Placeholder 6">
            <a:extLst>
              <a:ext uri="{FF2B5EF4-FFF2-40B4-BE49-F238E27FC236}">
                <a16:creationId xmlns="" xmlns:a16="http://schemas.microsoft.com/office/drawing/2014/main" id="{E92A4A89-658E-4224-AC4E-D7AC8A5590D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0F687F70-664A-47EE-AA8F-118791B220E9}" type="datetimeFigureOut">
              <a:rPr lang="id-ID" smtClean="0"/>
              <a:t>25/07/2019</a:t>
            </a:fld>
            <a:endParaRPr lang="id-ID"/>
          </a:p>
        </p:txBody>
      </p:sp>
      <p:sp>
        <p:nvSpPr>
          <p:cNvPr id="8" name="Footer Placeholder 7">
            <a:extLst>
              <a:ext uri="{FF2B5EF4-FFF2-40B4-BE49-F238E27FC236}">
                <a16:creationId xmlns="" xmlns:a16="http://schemas.microsoft.com/office/drawing/2014/main" id="{308A61B5-5840-4F34-B1E5-3F514417A91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id-ID"/>
          </a:p>
        </p:txBody>
      </p:sp>
      <p:sp>
        <p:nvSpPr>
          <p:cNvPr id="9" name="Slide Number Placeholder 8">
            <a:extLst>
              <a:ext uri="{FF2B5EF4-FFF2-40B4-BE49-F238E27FC236}">
                <a16:creationId xmlns="" xmlns:a16="http://schemas.microsoft.com/office/drawing/2014/main" id="{3AA54F5C-112A-40E2-BD5C-9C30BE3C7D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127D4A-83D3-4DC7-98F9-90950AAF487A}" type="slidenum">
              <a:rPr lang="id-ID" smtClean="0"/>
              <a:t>‹#›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68417464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="" xmlns:a16="http://schemas.microsoft.com/office/drawing/2014/main" id="{BAB6AC99-4036-4871-B44A-163F759197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3900" y="230315"/>
            <a:ext cx="5219700" cy="1077218"/>
          </a:xfrm>
        </p:spPr>
        <p:txBody>
          <a:bodyPr>
            <a:spAutoFit/>
          </a:bodyPr>
          <a:lstStyle>
            <a:lvl1pPr>
              <a:defRPr lang="en-GB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9" name="Text Placeholder 5">
            <a:extLst>
              <a:ext uri="{FF2B5EF4-FFF2-40B4-BE49-F238E27FC236}">
                <a16:creationId xmlns="" xmlns:a16="http://schemas.microsoft.com/office/drawing/2014/main" id="{8806BEB1-554E-441B-8143-1262D1DD218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23901" y="843417"/>
            <a:ext cx="5219699" cy="246221"/>
          </a:xfrm>
        </p:spPr>
        <p:txBody>
          <a:bodyPr lIns="900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" name="Picture Placeholder 5">
            <a:extLst>
              <a:ext uri="{FF2B5EF4-FFF2-40B4-BE49-F238E27FC236}">
                <a16:creationId xmlns="" xmlns:a16="http://schemas.microsoft.com/office/drawing/2014/main" id="{0A28A75D-08F0-4C74-9485-2A3A830F979B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auto">
          <a:xfrm>
            <a:off x="4639333" y="-21085"/>
            <a:ext cx="7552668" cy="6879085"/>
          </a:xfrm>
          <a:custGeom>
            <a:avLst/>
            <a:gdLst>
              <a:gd name="connsiteX0" fmla="*/ 2971144 w 8527206"/>
              <a:gd name="connsiteY0" fmla="*/ 0 h 6858000"/>
              <a:gd name="connsiteX1" fmla="*/ 7752484 w 8527206"/>
              <a:gd name="connsiteY1" fmla="*/ 0 h 6858000"/>
              <a:gd name="connsiteX2" fmla="*/ 7863964 w 8527206"/>
              <a:gd name="connsiteY2" fmla="*/ 173070 h 6858000"/>
              <a:gd name="connsiteX3" fmla="*/ 8367759 w 8527206"/>
              <a:gd name="connsiteY3" fmla="*/ 1196300 h 6858000"/>
              <a:gd name="connsiteX4" fmla="*/ 8527206 w 8527206"/>
              <a:gd name="connsiteY4" fmla="*/ 1631659 h 6858000"/>
              <a:gd name="connsiteX5" fmla="*/ 8527206 w 8527206"/>
              <a:gd name="connsiteY5" fmla="*/ 6858000 h 6858000"/>
              <a:gd name="connsiteX6" fmla="*/ 1968306 w 8527206"/>
              <a:gd name="connsiteY6" fmla="*/ 6858000 h 6858000"/>
              <a:gd name="connsiteX7" fmla="*/ 1963205 w 8527206"/>
              <a:gd name="connsiteY7" fmla="*/ 6855630 h 6858000"/>
              <a:gd name="connsiteX8" fmla="*/ 1098144 w 8527206"/>
              <a:gd name="connsiteY8" fmla="*/ 6340068 h 6858000"/>
              <a:gd name="connsiteX9" fmla="*/ 430707 w 8527206"/>
              <a:gd name="connsiteY9" fmla="*/ 5690993 h 6858000"/>
              <a:gd name="connsiteX10" fmla="*/ 561 w 8527206"/>
              <a:gd name="connsiteY10" fmla="*/ 4468699 h 6858000"/>
              <a:gd name="connsiteX11" fmla="*/ 47377 w 8527206"/>
              <a:gd name="connsiteY11" fmla="*/ 3944319 h 6858000"/>
              <a:gd name="connsiteX12" fmla="*/ 62248 w 8527206"/>
              <a:gd name="connsiteY12" fmla="*/ 3832572 h 6858000"/>
              <a:gd name="connsiteX13" fmla="*/ 108969 w 8527206"/>
              <a:gd name="connsiteY13" fmla="*/ 3658898 h 6858000"/>
              <a:gd name="connsiteX14" fmla="*/ 139210 w 8527206"/>
              <a:gd name="connsiteY14" fmla="*/ 3591318 h 6858000"/>
              <a:gd name="connsiteX15" fmla="*/ 486668 w 8527206"/>
              <a:gd name="connsiteY15" fmla="*/ 2814496 h 6858000"/>
              <a:gd name="connsiteX16" fmla="*/ 1140836 w 8527206"/>
              <a:gd name="connsiteY16" fmla="*/ 1857357 h 6858000"/>
              <a:gd name="connsiteX17" fmla="*/ 2283959 w 8527206"/>
              <a:gd name="connsiteY17" fmla="*/ 615316 h 6858000"/>
              <a:gd name="connsiteX18" fmla="*/ 2889393 w 8527206"/>
              <a:gd name="connsiteY18" fmla="*/ 66398 h 6858000"/>
              <a:gd name="connsiteX0" fmla="*/ 2971144 w 8548017"/>
              <a:gd name="connsiteY0" fmla="*/ 0 h 6858000"/>
              <a:gd name="connsiteX1" fmla="*/ 7752484 w 8548017"/>
              <a:gd name="connsiteY1" fmla="*/ 0 h 6858000"/>
              <a:gd name="connsiteX2" fmla="*/ 7863964 w 8548017"/>
              <a:gd name="connsiteY2" fmla="*/ 173070 h 6858000"/>
              <a:gd name="connsiteX3" fmla="*/ 8548017 w 8548017"/>
              <a:gd name="connsiteY3" fmla="*/ 1036643 h 6858000"/>
              <a:gd name="connsiteX4" fmla="*/ 8527206 w 8548017"/>
              <a:gd name="connsiteY4" fmla="*/ 1631659 h 6858000"/>
              <a:gd name="connsiteX5" fmla="*/ 8527206 w 8548017"/>
              <a:gd name="connsiteY5" fmla="*/ 6858000 h 6858000"/>
              <a:gd name="connsiteX6" fmla="*/ 1968306 w 8548017"/>
              <a:gd name="connsiteY6" fmla="*/ 6858000 h 6858000"/>
              <a:gd name="connsiteX7" fmla="*/ 1963205 w 8548017"/>
              <a:gd name="connsiteY7" fmla="*/ 6855630 h 6858000"/>
              <a:gd name="connsiteX8" fmla="*/ 1098144 w 8548017"/>
              <a:gd name="connsiteY8" fmla="*/ 6340068 h 6858000"/>
              <a:gd name="connsiteX9" fmla="*/ 430707 w 8548017"/>
              <a:gd name="connsiteY9" fmla="*/ 5690993 h 6858000"/>
              <a:gd name="connsiteX10" fmla="*/ 561 w 8548017"/>
              <a:gd name="connsiteY10" fmla="*/ 4468699 h 6858000"/>
              <a:gd name="connsiteX11" fmla="*/ 47377 w 8548017"/>
              <a:gd name="connsiteY11" fmla="*/ 3944319 h 6858000"/>
              <a:gd name="connsiteX12" fmla="*/ 62248 w 8548017"/>
              <a:gd name="connsiteY12" fmla="*/ 3832572 h 6858000"/>
              <a:gd name="connsiteX13" fmla="*/ 108969 w 8548017"/>
              <a:gd name="connsiteY13" fmla="*/ 3658898 h 6858000"/>
              <a:gd name="connsiteX14" fmla="*/ 139210 w 8548017"/>
              <a:gd name="connsiteY14" fmla="*/ 3591318 h 6858000"/>
              <a:gd name="connsiteX15" fmla="*/ 486668 w 8548017"/>
              <a:gd name="connsiteY15" fmla="*/ 2814496 h 6858000"/>
              <a:gd name="connsiteX16" fmla="*/ 1140836 w 8548017"/>
              <a:gd name="connsiteY16" fmla="*/ 1857357 h 6858000"/>
              <a:gd name="connsiteX17" fmla="*/ 2283959 w 8548017"/>
              <a:gd name="connsiteY17" fmla="*/ 615316 h 6858000"/>
              <a:gd name="connsiteX18" fmla="*/ 2889393 w 8548017"/>
              <a:gd name="connsiteY18" fmla="*/ 66398 h 6858000"/>
              <a:gd name="connsiteX19" fmla="*/ 2971144 w 8548017"/>
              <a:gd name="connsiteY19" fmla="*/ 0 h 6858000"/>
              <a:gd name="connsiteX0" fmla="*/ 2971144 w 8548017"/>
              <a:gd name="connsiteY0" fmla="*/ 73672 h 6931672"/>
              <a:gd name="connsiteX1" fmla="*/ 7752484 w 8548017"/>
              <a:gd name="connsiteY1" fmla="*/ 73672 h 6931672"/>
              <a:gd name="connsiteX2" fmla="*/ 8453900 w 8548017"/>
              <a:gd name="connsiteY2" fmla="*/ 0 h 6931672"/>
              <a:gd name="connsiteX3" fmla="*/ 8548017 w 8548017"/>
              <a:gd name="connsiteY3" fmla="*/ 1110315 h 6931672"/>
              <a:gd name="connsiteX4" fmla="*/ 8527206 w 8548017"/>
              <a:gd name="connsiteY4" fmla="*/ 1705331 h 6931672"/>
              <a:gd name="connsiteX5" fmla="*/ 8527206 w 8548017"/>
              <a:gd name="connsiteY5" fmla="*/ 6931672 h 6931672"/>
              <a:gd name="connsiteX6" fmla="*/ 1968306 w 8548017"/>
              <a:gd name="connsiteY6" fmla="*/ 6931672 h 6931672"/>
              <a:gd name="connsiteX7" fmla="*/ 1963205 w 8548017"/>
              <a:gd name="connsiteY7" fmla="*/ 6929302 h 6931672"/>
              <a:gd name="connsiteX8" fmla="*/ 1098144 w 8548017"/>
              <a:gd name="connsiteY8" fmla="*/ 6413740 h 6931672"/>
              <a:gd name="connsiteX9" fmla="*/ 430707 w 8548017"/>
              <a:gd name="connsiteY9" fmla="*/ 5764665 h 6931672"/>
              <a:gd name="connsiteX10" fmla="*/ 561 w 8548017"/>
              <a:gd name="connsiteY10" fmla="*/ 4542371 h 6931672"/>
              <a:gd name="connsiteX11" fmla="*/ 47377 w 8548017"/>
              <a:gd name="connsiteY11" fmla="*/ 4017991 h 6931672"/>
              <a:gd name="connsiteX12" fmla="*/ 62248 w 8548017"/>
              <a:gd name="connsiteY12" fmla="*/ 3906244 h 6931672"/>
              <a:gd name="connsiteX13" fmla="*/ 108969 w 8548017"/>
              <a:gd name="connsiteY13" fmla="*/ 3732570 h 6931672"/>
              <a:gd name="connsiteX14" fmla="*/ 139210 w 8548017"/>
              <a:gd name="connsiteY14" fmla="*/ 3664990 h 6931672"/>
              <a:gd name="connsiteX15" fmla="*/ 486668 w 8548017"/>
              <a:gd name="connsiteY15" fmla="*/ 2888168 h 6931672"/>
              <a:gd name="connsiteX16" fmla="*/ 1140836 w 8548017"/>
              <a:gd name="connsiteY16" fmla="*/ 1931029 h 6931672"/>
              <a:gd name="connsiteX17" fmla="*/ 2283959 w 8548017"/>
              <a:gd name="connsiteY17" fmla="*/ 688988 h 6931672"/>
              <a:gd name="connsiteX18" fmla="*/ 2889393 w 8548017"/>
              <a:gd name="connsiteY18" fmla="*/ 140070 h 6931672"/>
              <a:gd name="connsiteX19" fmla="*/ 2971144 w 8548017"/>
              <a:gd name="connsiteY19" fmla="*/ 73672 h 6931672"/>
              <a:gd name="connsiteX0" fmla="*/ 2971144 w 8548017"/>
              <a:gd name="connsiteY0" fmla="*/ 73672 h 6931672"/>
              <a:gd name="connsiteX1" fmla="*/ 7752484 w 8548017"/>
              <a:gd name="connsiteY1" fmla="*/ 73672 h 6931672"/>
              <a:gd name="connsiteX2" fmla="*/ 8453900 w 8548017"/>
              <a:gd name="connsiteY2" fmla="*/ 0 h 6931672"/>
              <a:gd name="connsiteX3" fmla="*/ 8548017 w 8548017"/>
              <a:gd name="connsiteY3" fmla="*/ 1110315 h 6931672"/>
              <a:gd name="connsiteX4" fmla="*/ 8527206 w 8548017"/>
              <a:gd name="connsiteY4" fmla="*/ 1705331 h 6931672"/>
              <a:gd name="connsiteX5" fmla="*/ 8527206 w 8548017"/>
              <a:gd name="connsiteY5" fmla="*/ 6931672 h 6931672"/>
              <a:gd name="connsiteX6" fmla="*/ 1968306 w 8548017"/>
              <a:gd name="connsiteY6" fmla="*/ 6931672 h 6931672"/>
              <a:gd name="connsiteX7" fmla="*/ 1963205 w 8548017"/>
              <a:gd name="connsiteY7" fmla="*/ 6929302 h 6931672"/>
              <a:gd name="connsiteX8" fmla="*/ 1098144 w 8548017"/>
              <a:gd name="connsiteY8" fmla="*/ 6413740 h 6931672"/>
              <a:gd name="connsiteX9" fmla="*/ 430707 w 8548017"/>
              <a:gd name="connsiteY9" fmla="*/ 5764665 h 6931672"/>
              <a:gd name="connsiteX10" fmla="*/ 561 w 8548017"/>
              <a:gd name="connsiteY10" fmla="*/ 4542371 h 6931672"/>
              <a:gd name="connsiteX11" fmla="*/ 47377 w 8548017"/>
              <a:gd name="connsiteY11" fmla="*/ 4017991 h 6931672"/>
              <a:gd name="connsiteX12" fmla="*/ 62248 w 8548017"/>
              <a:gd name="connsiteY12" fmla="*/ 3906244 h 6931672"/>
              <a:gd name="connsiteX13" fmla="*/ 108969 w 8548017"/>
              <a:gd name="connsiteY13" fmla="*/ 3732570 h 6931672"/>
              <a:gd name="connsiteX14" fmla="*/ 139210 w 8548017"/>
              <a:gd name="connsiteY14" fmla="*/ 3664990 h 6931672"/>
              <a:gd name="connsiteX15" fmla="*/ 486668 w 8548017"/>
              <a:gd name="connsiteY15" fmla="*/ 2888168 h 6931672"/>
              <a:gd name="connsiteX16" fmla="*/ 1140836 w 8548017"/>
              <a:gd name="connsiteY16" fmla="*/ 1931029 h 6931672"/>
              <a:gd name="connsiteX17" fmla="*/ 2283959 w 8548017"/>
              <a:gd name="connsiteY17" fmla="*/ 688988 h 6931672"/>
              <a:gd name="connsiteX18" fmla="*/ 2889393 w 8548017"/>
              <a:gd name="connsiteY18" fmla="*/ 140070 h 6931672"/>
              <a:gd name="connsiteX19" fmla="*/ 2971144 w 8548017"/>
              <a:gd name="connsiteY19" fmla="*/ 73672 h 6931672"/>
              <a:gd name="connsiteX0" fmla="*/ 2971144 w 8601798"/>
              <a:gd name="connsiteY0" fmla="*/ 1101 h 6859101"/>
              <a:gd name="connsiteX1" fmla="*/ 7752484 w 8601798"/>
              <a:gd name="connsiteY1" fmla="*/ 1101 h 6859101"/>
              <a:gd name="connsiteX2" fmla="*/ 8535835 w 8601798"/>
              <a:gd name="connsiteY2" fmla="*/ 0 h 6859101"/>
              <a:gd name="connsiteX3" fmla="*/ 8548017 w 8601798"/>
              <a:gd name="connsiteY3" fmla="*/ 1037744 h 6859101"/>
              <a:gd name="connsiteX4" fmla="*/ 8527206 w 8601798"/>
              <a:gd name="connsiteY4" fmla="*/ 1632760 h 6859101"/>
              <a:gd name="connsiteX5" fmla="*/ 8527206 w 8601798"/>
              <a:gd name="connsiteY5" fmla="*/ 6859101 h 6859101"/>
              <a:gd name="connsiteX6" fmla="*/ 1968306 w 8601798"/>
              <a:gd name="connsiteY6" fmla="*/ 6859101 h 6859101"/>
              <a:gd name="connsiteX7" fmla="*/ 1963205 w 8601798"/>
              <a:gd name="connsiteY7" fmla="*/ 6856731 h 6859101"/>
              <a:gd name="connsiteX8" fmla="*/ 1098144 w 8601798"/>
              <a:gd name="connsiteY8" fmla="*/ 6341169 h 6859101"/>
              <a:gd name="connsiteX9" fmla="*/ 430707 w 8601798"/>
              <a:gd name="connsiteY9" fmla="*/ 5692094 h 6859101"/>
              <a:gd name="connsiteX10" fmla="*/ 561 w 8601798"/>
              <a:gd name="connsiteY10" fmla="*/ 4469800 h 6859101"/>
              <a:gd name="connsiteX11" fmla="*/ 47377 w 8601798"/>
              <a:gd name="connsiteY11" fmla="*/ 3945420 h 6859101"/>
              <a:gd name="connsiteX12" fmla="*/ 62248 w 8601798"/>
              <a:gd name="connsiteY12" fmla="*/ 3833673 h 6859101"/>
              <a:gd name="connsiteX13" fmla="*/ 108969 w 8601798"/>
              <a:gd name="connsiteY13" fmla="*/ 3659999 h 6859101"/>
              <a:gd name="connsiteX14" fmla="*/ 139210 w 8601798"/>
              <a:gd name="connsiteY14" fmla="*/ 3592419 h 6859101"/>
              <a:gd name="connsiteX15" fmla="*/ 486668 w 8601798"/>
              <a:gd name="connsiteY15" fmla="*/ 2815597 h 6859101"/>
              <a:gd name="connsiteX16" fmla="*/ 1140836 w 8601798"/>
              <a:gd name="connsiteY16" fmla="*/ 1858458 h 6859101"/>
              <a:gd name="connsiteX17" fmla="*/ 2283959 w 8601798"/>
              <a:gd name="connsiteY17" fmla="*/ 616417 h 6859101"/>
              <a:gd name="connsiteX18" fmla="*/ 2889393 w 8601798"/>
              <a:gd name="connsiteY18" fmla="*/ 67499 h 6859101"/>
              <a:gd name="connsiteX19" fmla="*/ 2971144 w 8601798"/>
              <a:gd name="connsiteY19" fmla="*/ 1101 h 6859101"/>
              <a:gd name="connsiteX0" fmla="*/ 2971144 w 8875759"/>
              <a:gd name="connsiteY0" fmla="*/ 1101 h 6859101"/>
              <a:gd name="connsiteX1" fmla="*/ 7752484 w 8875759"/>
              <a:gd name="connsiteY1" fmla="*/ 1101 h 6859101"/>
              <a:gd name="connsiteX2" fmla="*/ 8535835 w 8875759"/>
              <a:gd name="connsiteY2" fmla="*/ 0 h 6859101"/>
              <a:gd name="connsiteX3" fmla="*/ 8875759 w 8875759"/>
              <a:gd name="connsiteY3" fmla="*/ 1139344 h 6859101"/>
              <a:gd name="connsiteX4" fmla="*/ 8527206 w 8875759"/>
              <a:gd name="connsiteY4" fmla="*/ 1632760 h 6859101"/>
              <a:gd name="connsiteX5" fmla="*/ 8527206 w 8875759"/>
              <a:gd name="connsiteY5" fmla="*/ 6859101 h 6859101"/>
              <a:gd name="connsiteX6" fmla="*/ 1968306 w 8875759"/>
              <a:gd name="connsiteY6" fmla="*/ 6859101 h 6859101"/>
              <a:gd name="connsiteX7" fmla="*/ 1963205 w 8875759"/>
              <a:gd name="connsiteY7" fmla="*/ 6856731 h 6859101"/>
              <a:gd name="connsiteX8" fmla="*/ 1098144 w 8875759"/>
              <a:gd name="connsiteY8" fmla="*/ 6341169 h 6859101"/>
              <a:gd name="connsiteX9" fmla="*/ 430707 w 8875759"/>
              <a:gd name="connsiteY9" fmla="*/ 5692094 h 6859101"/>
              <a:gd name="connsiteX10" fmla="*/ 561 w 8875759"/>
              <a:gd name="connsiteY10" fmla="*/ 4469800 h 6859101"/>
              <a:gd name="connsiteX11" fmla="*/ 47377 w 8875759"/>
              <a:gd name="connsiteY11" fmla="*/ 3945420 h 6859101"/>
              <a:gd name="connsiteX12" fmla="*/ 62248 w 8875759"/>
              <a:gd name="connsiteY12" fmla="*/ 3833673 h 6859101"/>
              <a:gd name="connsiteX13" fmla="*/ 108969 w 8875759"/>
              <a:gd name="connsiteY13" fmla="*/ 3659999 h 6859101"/>
              <a:gd name="connsiteX14" fmla="*/ 139210 w 8875759"/>
              <a:gd name="connsiteY14" fmla="*/ 3592419 h 6859101"/>
              <a:gd name="connsiteX15" fmla="*/ 486668 w 8875759"/>
              <a:gd name="connsiteY15" fmla="*/ 2815597 h 6859101"/>
              <a:gd name="connsiteX16" fmla="*/ 1140836 w 8875759"/>
              <a:gd name="connsiteY16" fmla="*/ 1858458 h 6859101"/>
              <a:gd name="connsiteX17" fmla="*/ 2283959 w 8875759"/>
              <a:gd name="connsiteY17" fmla="*/ 616417 h 6859101"/>
              <a:gd name="connsiteX18" fmla="*/ 2889393 w 8875759"/>
              <a:gd name="connsiteY18" fmla="*/ 67499 h 6859101"/>
              <a:gd name="connsiteX19" fmla="*/ 2971144 w 8875759"/>
              <a:gd name="connsiteY19" fmla="*/ 1101 h 6859101"/>
              <a:gd name="connsiteX0" fmla="*/ 2971144 w 8875759"/>
              <a:gd name="connsiteY0" fmla="*/ 0 h 6858000"/>
              <a:gd name="connsiteX1" fmla="*/ 7752484 w 8875759"/>
              <a:gd name="connsiteY1" fmla="*/ 0 h 6858000"/>
              <a:gd name="connsiteX2" fmla="*/ 8781642 w 8875759"/>
              <a:gd name="connsiteY2" fmla="*/ 85984 h 6858000"/>
              <a:gd name="connsiteX3" fmla="*/ 8875759 w 8875759"/>
              <a:gd name="connsiteY3" fmla="*/ 1138243 h 6858000"/>
              <a:gd name="connsiteX4" fmla="*/ 8527206 w 8875759"/>
              <a:gd name="connsiteY4" fmla="*/ 1631659 h 6858000"/>
              <a:gd name="connsiteX5" fmla="*/ 8527206 w 8875759"/>
              <a:gd name="connsiteY5" fmla="*/ 6858000 h 6858000"/>
              <a:gd name="connsiteX6" fmla="*/ 1968306 w 8875759"/>
              <a:gd name="connsiteY6" fmla="*/ 6858000 h 6858000"/>
              <a:gd name="connsiteX7" fmla="*/ 1963205 w 8875759"/>
              <a:gd name="connsiteY7" fmla="*/ 6855630 h 6858000"/>
              <a:gd name="connsiteX8" fmla="*/ 1098144 w 8875759"/>
              <a:gd name="connsiteY8" fmla="*/ 6340068 h 6858000"/>
              <a:gd name="connsiteX9" fmla="*/ 430707 w 8875759"/>
              <a:gd name="connsiteY9" fmla="*/ 5690993 h 6858000"/>
              <a:gd name="connsiteX10" fmla="*/ 561 w 8875759"/>
              <a:gd name="connsiteY10" fmla="*/ 4468699 h 6858000"/>
              <a:gd name="connsiteX11" fmla="*/ 47377 w 8875759"/>
              <a:gd name="connsiteY11" fmla="*/ 3944319 h 6858000"/>
              <a:gd name="connsiteX12" fmla="*/ 62248 w 8875759"/>
              <a:gd name="connsiteY12" fmla="*/ 3832572 h 6858000"/>
              <a:gd name="connsiteX13" fmla="*/ 108969 w 8875759"/>
              <a:gd name="connsiteY13" fmla="*/ 3658898 h 6858000"/>
              <a:gd name="connsiteX14" fmla="*/ 139210 w 8875759"/>
              <a:gd name="connsiteY14" fmla="*/ 3591318 h 6858000"/>
              <a:gd name="connsiteX15" fmla="*/ 486668 w 8875759"/>
              <a:gd name="connsiteY15" fmla="*/ 2814496 h 6858000"/>
              <a:gd name="connsiteX16" fmla="*/ 1140836 w 8875759"/>
              <a:gd name="connsiteY16" fmla="*/ 1857357 h 6858000"/>
              <a:gd name="connsiteX17" fmla="*/ 2283959 w 8875759"/>
              <a:gd name="connsiteY17" fmla="*/ 615316 h 6858000"/>
              <a:gd name="connsiteX18" fmla="*/ 2889393 w 8875759"/>
              <a:gd name="connsiteY18" fmla="*/ 66398 h 6858000"/>
              <a:gd name="connsiteX19" fmla="*/ 2971144 w 8875759"/>
              <a:gd name="connsiteY19" fmla="*/ 0 h 6858000"/>
              <a:gd name="connsiteX0" fmla="*/ 2971144 w 8943533"/>
              <a:gd name="connsiteY0" fmla="*/ 1101 h 6859101"/>
              <a:gd name="connsiteX1" fmla="*/ 7752484 w 8943533"/>
              <a:gd name="connsiteY1" fmla="*/ 1101 h 6859101"/>
              <a:gd name="connsiteX2" fmla="*/ 8879965 w 8943533"/>
              <a:gd name="connsiteY2" fmla="*/ 0 h 6859101"/>
              <a:gd name="connsiteX3" fmla="*/ 8875759 w 8943533"/>
              <a:gd name="connsiteY3" fmla="*/ 1139344 h 6859101"/>
              <a:gd name="connsiteX4" fmla="*/ 8527206 w 8943533"/>
              <a:gd name="connsiteY4" fmla="*/ 1632760 h 6859101"/>
              <a:gd name="connsiteX5" fmla="*/ 8527206 w 8943533"/>
              <a:gd name="connsiteY5" fmla="*/ 6859101 h 6859101"/>
              <a:gd name="connsiteX6" fmla="*/ 1968306 w 8943533"/>
              <a:gd name="connsiteY6" fmla="*/ 6859101 h 6859101"/>
              <a:gd name="connsiteX7" fmla="*/ 1963205 w 8943533"/>
              <a:gd name="connsiteY7" fmla="*/ 6856731 h 6859101"/>
              <a:gd name="connsiteX8" fmla="*/ 1098144 w 8943533"/>
              <a:gd name="connsiteY8" fmla="*/ 6341169 h 6859101"/>
              <a:gd name="connsiteX9" fmla="*/ 430707 w 8943533"/>
              <a:gd name="connsiteY9" fmla="*/ 5692094 h 6859101"/>
              <a:gd name="connsiteX10" fmla="*/ 561 w 8943533"/>
              <a:gd name="connsiteY10" fmla="*/ 4469800 h 6859101"/>
              <a:gd name="connsiteX11" fmla="*/ 47377 w 8943533"/>
              <a:gd name="connsiteY11" fmla="*/ 3945420 h 6859101"/>
              <a:gd name="connsiteX12" fmla="*/ 62248 w 8943533"/>
              <a:gd name="connsiteY12" fmla="*/ 3833673 h 6859101"/>
              <a:gd name="connsiteX13" fmla="*/ 108969 w 8943533"/>
              <a:gd name="connsiteY13" fmla="*/ 3659999 h 6859101"/>
              <a:gd name="connsiteX14" fmla="*/ 139210 w 8943533"/>
              <a:gd name="connsiteY14" fmla="*/ 3592419 h 6859101"/>
              <a:gd name="connsiteX15" fmla="*/ 486668 w 8943533"/>
              <a:gd name="connsiteY15" fmla="*/ 2815597 h 6859101"/>
              <a:gd name="connsiteX16" fmla="*/ 1140836 w 8943533"/>
              <a:gd name="connsiteY16" fmla="*/ 1858458 h 6859101"/>
              <a:gd name="connsiteX17" fmla="*/ 2283959 w 8943533"/>
              <a:gd name="connsiteY17" fmla="*/ 616417 h 6859101"/>
              <a:gd name="connsiteX18" fmla="*/ 2889393 w 8943533"/>
              <a:gd name="connsiteY18" fmla="*/ 67499 h 6859101"/>
              <a:gd name="connsiteX19" fmla="*/ 2971144 w 8943533"/>
              <a:gd name="connsiteY19" fmla="*/ 1101 h 6859101"/>
              <a:gd name="connsiteX0" fmla="*/ 2971144 w 8914877"/>
              <a:gd name="connsiteY0" fmla="*/ 1101 h 6859101"/>
              <a:gd name="connsiteX1" fmla="*/ 7752484 w 8914877"/>
              <a:gd name="connsiteY1" fmla="*/ 1101 h 6859101"/>
              <a:gd name="connsiteX2" fmla="*/ 8879965 w 8914877"/>
              <a:gd name="connsiteY2" fmla="*/ 0 h 6859101"/>
              <a:gd name="connsiteX3" fmla="*/ 8498857 w 8914877"/>
              <a:gd name="connsiteY3" fmla="*/ 616830 h 6859101"/>
              <a:gd name="connsiteX4" fmla="*/ 8527206 w 8914877"/>
              <a:gd name="connsiteY4" fmla="*/ 1632760 h 6859101"/>
              <a:gd name="connsiteX5" fmla="*/ 8527206 w 8914877"/>
              <a:gd name="connsiteY5" fmla="*/ 6859101 h 6859101"/>
              <a:gd name="connsiteX6" fmla="*/ 1968306 w 8914877"/>
              <a:gd name="connsiteY6" fmla="*/ 6859101 h 6859101"/>
              <a:gd name="connsiteX7" fmla="*/ 1963205 w 8914877"/>
              <a:gd name="connsiteY7" fmla="*/ 6856731 h 6859101"/>
              <a:gd name="connsiteX8" fmla="*/ 1098144 w 8914877"/>
              <a:gd name="connsiteY8" fmla="*/ 6341169 h 6859101"/>
              <a:gd name="connsiteX9" fmla="*/ 430707 w 8914877"/>
              <a:gd name="connsiteY9" fmla="*/ 5692094 h 6859101"/>
              <a:gd name="connsiteX10" fmla="*/ 561 w 8914877"/>
              <a:gd name="connsiteY10" fmla="*/ 4469800 h 6859101"/>
              <a:gd name="connsiteX11" fmla="*/ 47377 w 8914877"/>
              <a:gd name="connsiteY11" fmla="*/ 3945420 h 6859101"/>
              <a:gd name="connsiteX12" fmla="*/ 62248 w 8914877"/>
              <a:gd name="connsiteY12" fmla="*/ 3833673 h 6859101"/>
              <a:gd name="connsiteX13" fmla="*/ 108969 w 8914877"/>
              <a:gd name="connsiteY13" fmla="*/ 3659999 h 6859101"/>
              <a:gd name="connsiteX14" fmla="*/ 139210 w 8914877"/>
              <a:gd name="connsiteY14" fmla="*/ 3592419 h 6859101"/>
              <a:gd name="connsiteX15" fmla="*/ 486668 w 8914877"/>
              <a:gd name="connsiteY15" fmla="*/ 2815597 h 6859101"/>
              <a:gd name="connsiteX16" fmla="*/ 1140836 w 8914877"/>
              <a:gd name="connsiteY16" fmla="*/ 1858458 h 6859101"/>
              <a:gd name="connsiteX17" fmla="*/ 2283959 w 8914877"/>
              <a:gd name="connsiteY17" fmla="*/ 616417 h 6859101"/>
              <a:gd name="connsiteX18" fmla="*/ 2889393 w 8914877"/>
              <a:gd name="connsiteY18" fmla="*/ 67499 h 6859101"/>
              <a:gd name="connsiteX19" fmla="*/ 2971144 w 8914877"/>
              <a:gd name="connsiteY19" fmla="*/ 1101 h 6859101"/>
              <a:gd name="connsiteX0" fmla="*/ 2971144 w 8527206"/>
              <a:gd name="connsiteY0" fmla="*/ 0 h 6858000"/>
              <a:gd name="connsiteX1" fmla="*/ 7752484 w 8527206"/>
              <a:gd name="connsiteY1" fmla="*/ 0 h 6858000"/>
              <a:gd name="connsiteX2" fmla="*/ 8498857 w 8527206"/>
              <a:gd name="connsiteY2" fmla="*/ 615729 h 6858000"/>
              <a:gd name="connsiteX3" fmla="*/ 8527206 w 8527206"/>
              <a:gd name="connsiteY3" fmla="*/ 1631659 h 6858000"/>
              <a:gd name="connsiteX4" fmla="*/ 8527206 w 8527206"/>
              <a:gd name="connsiteY4" fmla="*/ 6858000 h 6858000"/>
              <a:gd name="connsiteX5" fmla="*/ 1968306 w 8527206"/>
              <a:gd name="connsiteY5" fmla="*/ 6858000 h 6858000"/>
              <a:gd name="connsiteX6" fmla="*/ 1963205 w 8527206"/>
              <a:gd name="connsiteY6" fmla="*/ 6855630 h 6858000"/>
              <a:gd name="connsiteX7" fmla="*/ 1098144 w 8527206"/>
              <a:gd name="connsiteY7" fmla="*/ 6340068 h 6858000"/>
              <a:gd name="connsiteX8" fmla="*/ 430707 w 8527206"/>
              <a:gd name="connsiteY8" fmla="*/ 5690993 h 6858000"/>
              <a:gd name="connsiteX9" fmla="*/ 561 w 8527206"/>
              <a:gd name="connsiteY9" fmla="*/ 4468699 h 6858000"/>
              <a:gd name="connsiteX10" fmla="*/ 47377 w 8527206"/>
              <a:gd name="connsiteY10" fmla="*/ 3944319 h 6858000"/>
              <a:gd name="connsiteX11" fmla="*/ 62248 w 8527206"/>
              <a:gd name="connsiteY11" fmla="*/ 3832572 h 6858000"/>
              <a:gd name="connsiteX12" fmla="*/ 108969 w 8527206"/>
              <a:gd name="connsiteY12" fmla="*/ 3658898 h 6858000"/>
              <a:gd name="connsiteX13" fmla="*/ 139210 w 8527206"/>
              <a:gd name="connsiteY13" fmla="*/ 3591318 h 6858000"/>
              <a:gd name="connsiteX14" fmla="*/ 486668 w 8527206"/>
              <a:gd name="connsiteY14" fmla="*/ 2814496 h 6858000"/>
              <a:gd name="connsiteX15" fmla="*/ 1140836 w 8527206"/>
              <a:gd name="connsiteY15" fmla="*/ 1857357 h 6858000"/>
              <a:gd name="connsiteX16" fmla="*/ 2283959 w 8527206"/>
              <a:gd name="connsiteY16" fmla="*/ 615316 h 6858000"/>
              <a:gd name="connsiteX17" fmla="*/ 2889393 w 8527206"/>
              <a:gd name="connsiteY17" fmla="*/ 66398 h 6858000"/>
              <a:gd name="connsiteX18" fmla="*/ 2971144 w 8527206"/>
              <a:gd name="connsiteY18" fmla="*/ 0 h 6858000"/>
              <a:gd name="connsiteX0" fmla="*/ 2971144 w 8531631"/>
              <a:gd name="connsiteY0" fmla="*/ 8385 h 6866385"/>
              <a:gd name="connsiteX1" fmla="*/ 7752484 w 8531631"/>
              <a:gd name="connsiteY1" fmla="*/ 8385 h 6866385"/>
              <a:gd name="connsiteX2" fmla="*/ 8531631 w 8531631"/>
              <a:gd name="connsiteY2" fmla="*/ 0 h 6866385"/>
              <a:gd name="connsiteX3" fmla="*/ 8527206 w 8531631"/>
              <a:gd name="connsiteY3" fmla="*/ 1640044 h 6866385"/>
              <a:gd name="connsiteX4" fmla="*/ 8527206 w 8531631"/>
              <a:gd name="connsiteY4" fmla="*/ 6866385 h 6866385"/>
              <a:gd name="connsiteX5" fmla="*/ 1968306 w 8531631"/>
              <a:gd name="connsiteY5" fmla="*/ 6866385 h 6866385"/>
              <a:gd name="connsiteX6" fmla="*/ 1963205 w 8531631"/>
              <a:gd name="connsiteY6" fmla="*/ 6864015 h 6866385"/>
              <a:gd name="connsiteX7" fmla="*/ 1098144 w 8531631"/>
              <a:gd name="connsiteY7" fmla="*/ 6348453 h 6866385"/>
              <a:gd name="connsiteX8" fmla="*/ 430707 w 8531631"/>
              <a:gd name="connsiteY8" fmla="*/ 5699378 h 6866385"/>
              <a:gd name="connsiteX9" fmla="*/ 561 w 8531631"/>
              <a:gd name="connsiteY9" fmla="*/ 4477084 h 6866385"/>
              <a:gd name="connsiteX10" fmla="*/ 47377 w 8531631"/>
              <a:gd name="connsiteY10" fmla="*/ 3952704 h 6866385"/>
              <a:gd name="connsiteX11" fmla="*/ 62248 w 8531631"/>
              <a:gd name="connsiteY11" fmla="*/ 3840957 h 6866385"/>
              <a:gd name="connsiteX12" fmla="*/ 108969 w 8531631"/>
              <a:gd name="connsiteY12" fmla="*/ 3667283 h 6866385"/>
              <a:gd name="connsiteX13" fmla="*/ 139210 w 8531631"/>
              <a:gd name="connsiteY13" fmla="*/ 3599703 h 6866385"/>
              <a:gd name="connsiteX14" fmla="*/ 486668 w 8531631"/>
              <a:gd name="connsiteY14" fmla="*/ 2822881 h 6866385"/>
              <a:gd name="connsiteX15" fmla="*/ 1140836 w 8531631"/>
              <a:gd name="connsiteY15" fmla="*/ 1865742 h 6866385"/>
              <a:gd name="connsiteX16" fmla="*/ 2283959 w 8531631"/>
              <a:gd name="connsiteY16" fmla="*/ 623701 h 6866385"/>
              <a:gd name="connsiteX17" fmla="*/ 2889393 w 8531631"/>
              <a:gd name="connsiteY17" fmla="*/ 74783 h 6866385"/>
              <a:gd name="connsiteX18" fmla="*/ 2971144 w 8531631"/>
              <a:gd name="connsiteY18" fmla="*/ 8385 h 6866385"/>
              <a:gd name="connsiteX0" fmla="*/ 2971144 w 8527206"/>
              <a:gd name="connsiteY0" fmla="*/ 21085 h 6879085"/>
              <a:gd name="connsiteX1" fmla="*/ 7752484 w 8527206"/>
              <a:gd name="connsiteY1" fmla="*/ 21085 h 6879085"/>
              <a:gd name="connsiteX2" fmla="*/ 8517292 w 8527206"/>
              <a:gd name="connsiteY2" fmla="*/ 0 h 6879085"/>
              <a:gd name="connsiteX3" fmla="*/ 8527206 w 8527206"/>
              <a:gd name="connsiteY3" fmla="*/ 1652744 h 6879085"/>
              <a:gd name="connsiteX4" fmla="*/ 8527206 w 8527206"/>
              <a:gd name="connsiteY4" fmla="*/ 6879085 h 6879085"/>
              <a:gd name="connsiteX5" fmla="*/ 1968306 w 8527206"/>
              <a:gd name="connsiteY5" fmla="*/ 6879085 h 6879085"/>
              <a:gd name="connsiteX6" fmla="*/ 1963205 w 8527206"/>
              <a:gd name="connsiteY6" fmla="*/ 6876715 h 6879085"/>
              <a:gd name="connsiteX7" fmla="*/ 1098144 w 8527206"/>
              <a:gd name="connsiteY7" fmla="*/ 6361153 h 6879085"/>
              <a:gd name="connsiteX8" fmla="*/ 430707 w 8527206"/>
              <a:gd name="connsiteY8" fmla="*/ 5712078 h 6879085"/>
              <a:gd name="connsiteX9" fmla="*/ 561 w 8527206"/>
              <a:gd name="connsiteY9" fmla="*/ 4489784 h 6879085"/>
              <a:gd name="connsiteX10" fmla="*/ 47377 w 8527206"/>
              <a:gd name="connsiteY10" fmla="*/ 3965404 h 6879085"/>
              <a:gd name="connsiteX11" fmla="*/ 62248 w 8527206"/>
              <a:gd name="connsiteY11" fmla="*/ 3853657 h 6879085"/>
              <a:gd name="connsiteX12" fmla="*/ 108969 w 8527206"/>
              <a:gd name="connsiteY12" fmla="*/ 3679983 h 6879085"/>
              <a:gd name="connsiteX13" fmla="*/ 139210 w 8527206"/>
              <a:gd name="connsiteY13" fmla="*/ 3612403 h 6879085"/>
              <a:gd name="connsiteX14" fmla="*/ 486668 w 8527206"/>
              <a:gd name="connsiteY14" fmla="*/ 2835581 h 6879085"/>
              <a:gd name="connsiteX15" fmla="*/ 1140836 w 8527206"/>
              <a:gd name="connsiteY15" fmla="*/ 1878442 h 6879085"/>
              <a:gd name="connsiteX16" fmla="*/ 2283959 w 8527206"/>
              <a:gd name="connsiteY16" fmla="*/ 636401 h 6879085"/>
              <a:gd name="connsiteX17" fmla="*/ 2889393 w 8527206"/>
              <a:gd name="connsiteY17" fmla="*/ 87483 h 6879085"/>
              <a:gd name="connsiteX18" fmla="*/ 2971144 w 8527206"/>
              <a:gd name="connsiteY18" fmla="*/ 21085 h 6879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8527206" h="6879085">
                <a:moveTo>
                  <a:pt x="2971144" y="21085"/>
                </a:moveTo>
                <a:lnTo>
                  <a:pt x="7752484" y="21085"/>
                </a:lnTo>
                <a:lnTo>
                  <a:pt x="8517292" y="0"/>
                </a:lnTo>
                <a:cubicBezTo>
                  <a:pt x="8520597" y="550915"/>
                  <a:pt x="8523901" y="1101829"/>
                  <a:pt x="8527206" y="1652744"/>
                </a:cubicBezTo>
                <a:lnTo>
                  <a:pt x="8527206" y="6879085"/>
                </a:lnTo>
                <a:lnTo>
                  <a:pt x="1968306" y="6879085"/>
                </a:lnTo>
                <a:lnTo>
                  <a:pt x="1963205" y="6876715"/>
                </a:lnTo>
                <a:cubicBezTo>
                  <a:pt x="1660296" y="6729085"/>
                  <a:pt x="1369305" y="6562034"/>
                  <a:pt x="1098144" y="6361153"/>
                </a:cubicBezTo>
                <a:cubicBezTo>
                  <a:pt x="846763" y="6174731"/>
                  <a:pt x="618854" y="5964164"/>
                  <a:pt x="430707" y="5712078"/>
                </a:cubicBezTo>
                <a:cubicBezTo>
                  <a:pt x="160576" y="5349599"/>
                  <a:pt x="10446" y="4944560"/>
                  <a:pt x="561" y="4489784"/>
                </a:cubicBezTo>
                <a:cubicBezTo>
                  <a:pt x="-3349" y="4313367"/>
                  <a:pt x="13298" y="4138562"/>
                  <a:pt x="47377" y="3965404"/>
                </a:cubicBezTo>
                <a:cubicBezTo>
                  <a:pt x="54591" y="3928616"/>
                  <a:pt x="57532" y="3891117"/>
                  <a:pt x="62248" y="3853657"/>
                </a:cubicBezTo>
                <a:lnTo>
                  <a:pt x="108969" y="3679983"/>
                </a:lnTo>
                <a:cubicBezTo>
                  <a:pt x="119050" y="3657455"/>
                  <a:pt x="131522" y="3636010"/>
                  <a:pt x="139210" y="3612403"/>
                </a:cubicBezTo>
                <a:cubicBezTo>
                  <a:pt x="227692" y="3341611"/>
                  <a:pt x="347049" y="3083914"/>
                  <a:pt x="486668" y="2835581"/>
                </a:cubicBezTo>
                <a:cubicBezTo>
                  <a:pt x="676736" y="2497691"/>
                  <a:pt x="899048" y="2181095"/>
                  <a:pt x="1140836" y="1878442"/>
                </a:cubicBezTo>
                <a:cubicBezTo>
                  <a:pt x="1492243" y="1437311"/>
                  <a:pt x="1878074" y="1027633"/>
                  <a:pt x="2283959" y="636401"/>
                </a:cubicBezTo>
                <a:cubicBezTo>
                  <a:pt x="2480507" y="447118"/>
                  <a:pt x="2681614" y="263303"/>
                  <a:pt x="2889393" y="87483"/>
                </a:cubicBezTo>
                <a:lnTo>
                  <a:pt x="2971144" y="21085"/>
                </a:lnTo>
                <a:close/>
              </a:path>
            </a:pathLst>
          </a:custGeom>
          <a:solidFill>
            <a:schemeClr val="accent6">
              <a:lumMod val="20000"/>
              <a:lumOff val="80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600" b="0" i="0">
                <a:latin typeface="Titillium" charset="0"/>
                <a:ea typeface="Titillium" charset="0"/>
                <a:cs typeface="Titillium" charset="0"/>
              </a:defRPr>
            </a:lvl1pPr>
          </a:lstStyle>
          <a:p>
            <a:r>
              <a:rPr lang="en-US" dirty="0"/>
              <a:t>Insert Image</a:t>
            </a:r>
          </a:p>
        </p:txBody>
      </p:sp>
    </p:spTree>
    <p:extLst>
      <p:ext uri="{BB962C8B-B14F-4D97-AF65-F5344CB8AC3E}">
        <p14:creationId xmlns:p14="http://schemas.microsoft.com/office/powerpoint/2010/main" val="3068682673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1128">
          <p15:clr>
            <a:srgbClr val="FBAE40"/>
          </p15:clr>
        </p15:guide>
        <p15:guide id="4" pos="6552">
          <p15:clr>
            <a:srgbClr val="FBAE40"/>
          </p15:clr>
        </p15:guide>
        <p15:guide id="5" orient="horz" pos="480">
          <p15:clr>
            <a:srgbClr val="FBAE40"/>
          </p15:clr>
        </p15:guide>
        <p15:guide id="6" orient="horz" pos="384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E65D60CF-1C8F-4ACF-AFA4-B78C037EE9F1}" type="datetime1">
              <a:rPr lang="en-US" smtClean="0"/>
              <a:pPr/>
              <a:t>7/25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ECD629-4DA5-4EAE-B174-69948CAAE2C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080052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E7079389-24F6-4261-80B6-678B85ACA5F3}" type="datetime1">
              <a:rPr lang="en-US" smtClean="0"/>
              <a:pPr/>
              <a:t>7/25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ECD629-4DA5-4EAE-B174-69948CAAE2C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91339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ECD629-4DA5-4EAE-B174-69948CAAE2C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2" name="Picture Placeholder 13"/>
          <p:cNvSpPr>
            <a:spLocks noGrp="1"/>
          </p:cNvSpPr>
          <p:nvPr userDrawn="1">
            <p:ph type="pic" sz="quarter" idx="13"/>
          </p:nvPr>
        </p:nvSpPr>
        <p:spPr>
          <a:xfrm>
            <a:off x="5574653" y="1573167"/>
            <a:ext cx="1042694" cy="1042694"/>
          </a:xfrm>
          <a:prstGeom prst="ellipse">
            <a:avLst/>
          </a:prstGeom>
          <a:solidFill>
            <a:schemeClr val="bg1">
              <a:lumMod val="75000"/>
            </a:schemeClr>
          </a:solidFill>
          <a:ln w="6350">
            <a:noFill/>
          </a:ln>
          <a:effectLst/>
        </p:spPr>
        <p:txBody>
          <a:bodyPr lIns="0" tIns="0" rIns="0" bIns="0" anchor="ctr">
            <a:normAutofit/>
          </a:bodyPr>
          <a:lstStyle>
            <a:lvl1pPr marL="0" indent="0" algn="ctr">
              <a:buNone/>
              <a:defRPr lang="en-US" sz="140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+mn-lt"/>
              </a:defRPr>
            </a:lvl1pPr>
          </a:lstStyle>
          <a:p>
            <a:pPr marL="0" lvl="0" defTabSz="292071"/>
            <a:endParaRPr lang="en-US"/>
          </a:p>
        </p:txBody>
      </p:sp>
      <p:sp>
        <p:nvSpPr>
          <p:cNvPr id="23" name="Picture Placeholder 13"/>
          <p:cNvSpPr>
            <a:spLocks noGrp="1"/>
          </p:cNvSpPr>
          <p:nvPr userDrawn="1">
            <p:ph type="pic" sz="quarter" idx="14"/>
          </p:nvPr>
        </p:nvSpPr>
        <p:spPr>
          <a:xfrm>
            <a:off x="1839630" y="3904374"/>
            <a:ext cx="848418" cy="848418"/>
          </a:xfrm>
          <a:prstGeom prst="ellipse">
            <a:avLst/>
          </a:prstGeom>
          <a:solidFill>
            <a:schemeClr val="bg1">
              <a:lumMod val="75000"/>
            </a:schemeClr>
          </a:solidFill>
          <a:ln w="6350">
            <a:noFill/>
          </a:ln>
          <a:effectLst/>
        </p:spPr>
        <p:txBody>
          <a:bodyPr lIns="0" tIns="0" rIns="0" bIns="0" anchor="ctr">
            <a:normAutofit/>
          </a:bodyPr>
          <a:lstStyle>
            <a:lvl1pPr marL="0" indent="0" algn="ctr">
              <a:buNone/>
              <a:defRPr lang="en-US" sz="140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+mn-lt"/>
              </a:defRPr>
            </a:lvl1pPr>
          </a:lstStyle>
          <a:p>
            <a:pPr marL="0" lvl="0" defTabSz="292071"/>
            <a:endParaRPr lang="en-US"/>
          </a:p>
        </p:txBody>
      </p:sp>
      <p:sp>
        <p:nvSpPr>
          <p:cNvPr id="24" name="Picture Placeholder 13"/>
          <p:cNvSpPr>
            <a:spLocks noGrp="1"/>
          </p:cNvSpPr>
          <p:nvPr userDrawn="1">
            <p:ph type="pic" sz="quarter" idx="15"/>
          </p:nvPr>
        </p:nvSpPr>
        <p:spPr>
          <a:xfrm>
            <a:off x="3760624" y="3904374"/>
            <a:ext cx="848418" cy="848418"/>
          </a:xfrm>
          <a:prstGeom prst="ellipse">
            <a:avLst/>
          </a:prstGeom>
          <a:solidFill>
            <a:schemeClr val="bg1">
              <a:lumMod val="75000"/>
            </a:schemeClr>
          </a:solidFill>
          <a:ln w="6350">
            <a:noFill/>
          </a:ln>
          <a:effectLst/>
        </p:spPr>
        <p:txBody>
          <a:bodyPr lIns="0" tIns="0" rIns="0" bIns="0" anchor="ctr">
            <a:normAutofit/>
          </a:bodyPr>
          <a:lstStyle>
            <a:lvl1pPr marL="0" indent="0" algn="ctr">
              <a:buNone/>
              <a:defRPr lang="en-US" sz="140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+mn-lt"/>
              </a:defRPr>
            </a:lvl1pPr>
          </a:lstStyle>
          <a:p>
            <a:pPr marL="0" lvl="0" defTabSz="292071"/>
            <a:endParaRPr lang="en-US"/>
          </a:p>
        </p:txBody>
      </p:sp>
      <p:sp>
        <p:nvSpPr>
          <p:cNvPr id="25" name="Picture Placeholder 13"/>
          <p:cNvSpPr>
            <a:spLocks noGrp="1"/>
          </p:cNvSpPr>
          <p:nvPr userDrawn="1">
            <p:ph type="pic" sz="quarter" idx="16"/>
          </p:nvPr>
        </p:nvSpPr>
        <p:spPr>
          <a:xfrm>
            <a:off x="5679203" y="3904374"/>
            <a:ext cx="848418" cy="848418"/>
          </a:xfrm>
          <a:prstGeom prst="ellipse">
            <a:avLst/>
          </a:prstGeom>
          <a:solidFill>
            <a:schemeClr val="bg1">
              <a:lumMod val="75000"/>
            </a:schemeClr>
          </a:solidFill>
          <a:ln w="6350">
            <a:noFill/>
          </a:ln>
          <a:effectLst/>
        </p:spPr>
        <p:txBody>
          <a:bodyPr lIns="0" tIns="0" rIns="0" bIns="0" anchor="ctr">
            <a:normAutofit/>
          </a:bodyPr>
          <a:lstStyle>
            <a:lvl1pPr marL="0" indent="0" algn="ctr">
              <a:buNone/>
              <a:defRPr lang="en-US" sz="140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+mn-lt"/>
              </a:defRPr>
            </a:lvl1pPr>
          </a:lstStyle>
          <a:p>
            <a:pPr marL="0" lvl="0" defTabSz="292071"/>
            <a:endParaRPr lang="en-US"/>
          </a:p>
        </p:txBody>
      </p:sp>
      <p:sp>
        <p:nvSpPr>
          <p:cNvPr id="26" name="Picture Placeholder 13"/>
          <p:cNvSpPr>
            <a:spLocks noGrp="1"/>
          </p:cNvSpPr>
          <p:nvPr userDrawn="1">
            <p:ph type="pic" sz="quarter" idx="17"/>
          </p:nvPr>
        </p:nvSpPr>
        <p:spPr>
          <a:xfrm>
            <a:off x="7592776" y="3904374"/>
            <a:ext cx="848418" cy="848418"/>
          </a:xfrm>
          <a:prstGeom prst="ellipse">
            <a:avLst/>
          </a:prstGeom>
          <a:solidFill>
            <a:schemeClr val="bg1">
              <a:lumMod val="75000"/>
            </a:schemeClr>
          </a:solidFill>
          <a:ln w="6350">
            <a:noFill/>
          </a:ln>
          <a:effectLst/>
        </p:spPr>
        <p:txBody>
          <a:bodyPr lIns="0" tIns="0" rIns="0" bIns="0" anchor="ctr">
            <a:normAutofit/>
          </a:bodyPr>
          <a:lstStyle>
            <a:lvl1pPr marL="0" indent="0" algn="ctr">
              <a:buNone/>
              <a:defRPr lang="en-US" sz="140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+mn-lt"/>
              </a:defRPr>
            </a:lvl1pPr>
          </a:lstStyle>
          <a:p>
            <a:pPr marL="0" lvl="0" defTabSz="292071"/>
            <a:endParaRPr lang="en-US"/>
          </a:p>
        </p:txBody>
      </p:sp>
      <p:sp>
        <p:nvSpPr>
          <p:cNvPr id="27" name="Picture Placeholder 13"/>
          <p:cNvSpPr>
            <a:spLocks noGrp="1"/>
          </p:cNvSpPr>
          <p:nvPr userDrawn="1">
            <p:ph type="pic" sz="quarter" idx="18"/>
          </p:nvPr>
        </p:nvSpPr>
        <p:spPr>
          <a:xfrm>
            <a:off x="9498703" y="3904374"/>
            <a:ext cx="848418" cy="848418"/>
          </a:xfrm>
          <a:prstGeom prst="ellipse">
            <a:avLst/>
          </a:prstGeom>
          <a:solidFill>
            <a:schemeClr val="bg1">
              <a:lumMod val="75000"/>
            </a:schemeClr>
          </a:solidFill>
          <a:ln w="6350">
            <a:noFill/>
          </a:ln>
          <a:effectLst/>
        </p:spPr>
        <p:txBody>
          <a:bodyPr lIns="0" tIns="0" rIns="0" bIns="0" anchor="ctr">
            <a:normAutofit/>
          </a:bodyPr>
          <a:lstStyle>
            <a:lvl1pPr marL="0" indent="0" algn="ctr">
              <a:buNone/>
              <a:defRPr lang="en-US" sz="140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+mn-lt"/>
              </a:defRPr>
            </a:lvl1pPr>
          </a:lstStyle>
          <a:p>
            <a:pPr marL="0" lvl="0" defTabSz="292071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525768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Picture Placeholder 13"/>
          <p:cNvSpPr>
            <a:spLocks noGrp="1"/>
          </p:cNvSpPr>
          <p:nvPr>
            <p:ph type="pic" sz="quarter" idx="17"/>
          </p:nvPr>
        </p:nvSpPr>
        <p:spPr>
          <a:xfrm>
            <a:off x="8969771" y="3443853"/>
            <a:ext cx="980866" cy="980866"/>
          </a:xfrm>
          <a:prstGeom prst="ellipse">
            <a:avLst/>
          </a:prstGeom>
          <a:solidFill>
            <a:schemeClr val="bg1">
              <a:lumMod val="75000"/>
            </a:schemeClr>
          </a:solidFill>
          <a:ln w="6350">
            <a:noFill/>
          </a:ln>
          <a:effectLst/>
        </p:spPr>
        <p:txBody>
          <a:bodyPr lIns="0" tIns="0" rIns="0" bIns="0" anchor="ctr">
            <a:normAutofit/>
          </a:bodyPr>
          <a:lstStyle>
            <a:lvl1pPr marL="0" indent="0" algn="ctr">
              <a:buNone/>
              <a:defRPr lang="en-US" sz="140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+mn-lt"/>
              </a:defRPr>
            </a:lvl1pPr>
          </a:lstStyle>
          <a:p>
            <a:pPr marL="0" lvl="0" defTabSz="292071"/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ECD629-4DA5-4EAE-B174-69948CAAE2C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0" name="Picture Placeholder 13"/>
          <p:cNvSpPr>
            <a:spLocks noGrp="1"/>
          </p:cNvSpPr>
          <p:nvPr>
            <p:ph type="pic" sz="quarter" idx="15"/>
          </p:nvPr>
        </p:nvSpPr>
        <p:spPr>
          <a:xfrm>
            <a:off x="5623994" y="1720630"/>
            <a:ext cx="980866" cy="980866"/>
          </a:xfrm>
          <a:prstGeom prst="ellipse">
            <a:avLst/>
          </a:prstGeom>
          <a:solidFill>
            <a:schemeClr val="bg1">
              <a:lumMod val="75000"/>
            </a:schemeClr>
          </a:solidFill>
          <a:ln w="6350">
            <a:noFill/>
          </a:ln>
          <a:effectLst/>
        </p:spPr>
        <p:txBody>
          <a:bodyPr lIns="0" tIns="0" rIns="0" bIns="0" anchor="ctr">
            <a:normAutofit/>
          </a:bodyPr>
          <a:lstStyle>
            <a:lvl1pPr marL="0" indent="0" algn="ctr">
              <a:buNone/>
              <a:defRPr lang="en-US" sz="140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+mn-lt"/>
              </a:defRPr>
            </a:lvl1pPr>
          </a:lstStyle>
          <a:p>
            <a:pPr marL="0" lvl="0" defTabSz="292071"/>
            <a:endParaRPr lang="en-US"/>
          </a:p>
        </p:txBody>
      </p:sp>
      <p:sp>
        <p:nvSpPr>
          <p:cNvPr id="31" name="Picture Placeholder 13"/>
          <p:cNvSpPr>
            <a:spLocks noGrp="1"/>
          </p:cNvSpPr>
          <p:nvPr>
            <p:ph type="pic" sz="quarter" idx="16"/>
          </p:nvPr>
        </p:nvSpPr>
        <p:spPr>
          <a:xfrm>
            <a:off x="2272459" y="3443853"/>
            <a:ext cx="980866" cy="980866"/>
          </a:xfrm>
          <a:prstGeom prst="ellipse">
            <a:avLst/>
          </a:prstGeom>
          <a:solidFill>
            <a:schemeClr val="bg1">
              <a:lumMod val="75000"/>
            </a:schemeClr>
          </a:solidFill>
          <a:ln w="6350">
            <a:noFill/>
          </a:ln>
          <a:effectLst/>
        </p:spPr>
        <p:txBody>
          <a:bodyPr lIns="0" tIns="0" rIns="0" bIns="0" anchor="ctr">
            <a:normAutofit/>
          </a:bodyPr>
          <a:lstStyle>
            <a:lvl1pPr marL="0" indent="0" algn="ctr">
              <a:buNone/>
              <a:defRPr lang="en-US" sz="140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+mn-lt"/>
              </a:defRPr>
            </a:lvl1pPr>
          </a:lstStyle>
          <a:p>
            <a:pPr marL="0" lvl="0" defTabSz="292071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647212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Picture Placeholder 13"/>
          <p:cNvSpPr>
            <a:spLocks noGrp="1"/>
          </p:cNvSpPr>
          <p:nvPr>
            <p:ph type="pic" sz="quarter" idx="15"/>
          </p:nvPr>
        </p:nvSpPr>
        <p:spPr>
          <a:xfrm>
            <a:off x="5578587" y="3040673"/>
            <a:ext cx="1133990" cy="1133990"/>
          </a:xfrm>
          <a:prstGeom prst="ellipse">
            <a:avLst/>
          </a:prstGeom>
          <a:solidFill>
            <a:schemeClr val="bg1">
              <a:lumMod val="75000"/>
            </a:schemeClr>
          </a:solidFill>
          <a:ln w="6350">
            <a:noFill/>
          </a:ln>
          <a:effectLst/>
        </p:spPr>
        <p:txBody>
          <a:bodyPr lIns="0" tIns="0" rIns="0" bIns="0" anchor="ctr">
            <a:normAutofit/>
          </a:bodyPr>
          <a:lstStyle>
            <a:lvl1pPr marL="0" indent="0" algn="ctr">
              <a:buNone/>
              <a:defRPr lang="en-US" sz="140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+mn-lt"/>
              </a:defRPr>
            </a:lvl1pPr>
          </a:lstStyle>
          <a:p>
            <a:pPr marL="0" lvl="0" defTabSz="292071"/>
            <a:endParaRPr lang="en-US"/>
          </a:p>
        </p:txBody>
      </p:sp>
      <p:sp>
        <p:nvSpPr>
          <p:cNvPr id="12" name="Picture Placeholder 13"/>
          <p:cNvSpPr>
            <a:spLocks noGrp="1"/>
          </p:cNvSpPr>
          <p:nvPr>
            <p:ph type="pic" sz="quarter" idx="16"/>
          </p:nvPr>
        </p:nvSpPr>
        <p:spPr>
          <a:xfrm>
            <a:off x="4277047" y="1995568"/>
            <a:ext cx="857388" cy="857388"/>
          </a:xfrm>
          <a:prstGeom prst="ellipse">
            <a:avLst/>
          </a:prstGeom>
          <a:solidFill>
            <a:schemeClr val="bg1">
              <a:lumMod val="75000"/>
            </a:schemeClr>
          </a:solidFill>
          <a:ln w="6350">
            <a:noFill/>
          </a:ln>
          <a:effectLst/>
        </p:spPr>
        <p:txBody>
          <a:bodyPr lIns="0" tIns="0" rIns="0" bIns="0" anchor="ctr">
            <a:normAutofit/>
          </a:bodyPr>
          <a:lstStyle>
            <a:lvl1pPr marL="0" indent="0" algn="ctr">
              <a:buNone/>
              <a:defRPr lang="en-US" sz="140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+mn-lt"/>
              </a:defRPr>
            </a:lvl1pPr>
          </a:lstStyle>
          <a:p>
            <a:pPr marL="0" lvl="0" defTabSz="292071"/>
            <a:endParaRPr lang="en-US"/>
          </a:p>
        </p:txBody>
      </p:sp>
      <p:sp>
        <p:nvSpPr>
          <p:cNvPr id="13" name="Picture Placeholder 13"/>
          <p:cNvSpPr>
            <a:spLocks noGrp="1"/>
          </p:cNvSpPr>
          <p:nvPr>
            <p:ph type="pic" sz="quarter" idx="17"/>
          </p:nvPr>
        </p:nvSpPr>
        <p:spPr>
          <a:xfrm>
            <a:off x="7059565" y="1995568"/>
            <a:ext cx="857388" cy="857388"/>
          </a:xfrm>
          <a:prstGeom prst="ellipse">
            <a:avLst/>
          </a:prstGeom>
          <a:solidFill>
            <a:schemeClr val="bg1">
              <a:lumMod val="75000"/>
            </a:schemeClr>
          </a:solidFill>
          <a:ln w="6350">
            <a:noFill/>
          </a:ln>
          <a:effectLst/>
        </p:spPr>
        <p:txBody>
          <a:bodyPr lIns="0" tIns="0" rIns="0" bIns="0" anchor="ctr">
            <a:normAutofit/>
          </a:bodyPr>
          <a:lstStyle>
            <a:lvl1pPr marL="0" indent="0" algn="ctr">
              <a:buNone/>
              <a:defRPr lang="en-US" sz="140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+mn-lt"/>
              </a:defRPr>
            </a:lvl1pPr>
          </a:lstStyle>
          <a:p>
            <a:pPr marL="0" lvl="0" defTabSz="292071"/>
            <a:endParaRPr lang="en-US"/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8"/>
          </p:nvPr>
        </p:nvSpPr>
        <p:spPr>
          <a:xfrm>
            <a:off x="4277047" y="4481972"/>
            <a:ext cx="857388" cy="857388"/>
          </a:xfrm>
          <a:prstGeom prst="ellipse">
            <a:avLst/>
          </a:prstGeom>
          <a:solidFill>
            <a:schemeClr val="bg1">
              <a:lumMod val="75000"/>
            </a:schemeClr>
          </a:solidFill>
          <a:ln w="6350">
            <a:noFill/>
          </a:ln>
          <a:effectLst/>
        </p:spPr>
        <p:txBody>
          <a:bodyPr lIns="0" tIns="0" rIns="0" bIns="0" anchor="ctr">
            <a:normAutofit/>
          </a:bodyPr>
          <a:lstStyle>
            <a:lvl1pPr marL="0" indent="0" algn="ctr">
              <a:buNone/>
              <a:defRPr lang="en-US" sz="140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+mn-lt"/>
              </a:defRPr>
            </a:lvl1pPr>
          </a:lstStyle>
          <a:p>
            <a:pPr marL="0" lvl="0" defTabSz="292071"/>
            <a:endParaRPr lang="en-US"/>
          </a:p>
        </p:txBody>
      </p:sp>
      <p:sp>
        <p:nvSpPr>
          <p:cNvPr id="15" name="Picture Placeholder 13"/>
          <p:cNvSpPr>
            <a:spLocks noGrp="1"/>
          </p:cNvSpPr>
          <p:nvPr>
            <p:ph type="pic" sz="quarter" idx="19"/>
          </p:nvPr>
        </p:nvSpPr>
        <p:spPr>
          <a:xfrm>
            <a:off x="7059565" y="4481972"/>
            <a:ext cx="857388" cy="857388"/>
          </a:xfrm>
          <a:prstGeom prst="ellipse">
            <a:avLst/>
          </a:prstGeom>
          <a:solidFill>
            <a:schemeClr val="bg1">
              <a:lumMod val="75000"/>
            </a:schemeClr>
          </a:solidFill>
          <a:ln w="6350">
            <a:noFill/>
          </a:ln>
          <a:effectLst/>
        </p:spPr>
        <p:txBody>
          <a:bodyPr lIns="0" tIns="0" rIns="0" bIns="0" anchor="ctr">
            <a:normAutofit/>
          </a:bodyPr>
          <a:lstStyle>
            <a:lvl1pPr marL="0" indent="0" algn="ctr">
              <a:buNone/>
              <a:defRPr lang="en-US" sz="140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+mn-lt"/>
              </a:defRPr>
            </a:lvl1pPr>
          </a:lstStyle>
          <a:p>
            <a:pPr marL="0" lvl="0" defTabSz="292071"/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ECD629-4DA5-4EAE-B174-69948CAAE2C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691559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Picture Placeholder 13"/>
          <p:cNvSpPr>
            <a:spLocks noGrp="1"/>
          </p:cNvSpPr>
          <p:nvPr>
            <p:ph type="pic" sz="quarter" idx="26"/>
          </p:nvPr>
        </p:nvSpPr>
        <p:spPr>
          <a:xfrm>
            <a:off x="9840340" y="5220971"/>
            <a:ext cx="764793" cy="764793"/>
          </a:xfrm>
          <a:prstGeom prst="ellipse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4"/>
            </a:solidFill>
          </a:ln>
          <a:effectLst/>
        </p:spPr>
        <p:txBody>
          <a:bodyPr lIns="0" tIns="0" rIns="0" bIns="0" anchor="ctr">
            <a:normAutofit/>
          </a:bodyPr>
          <a:lstStyle>
            <a:lvl1pPr marL="0" indent="0" algn="ctr">
              <a:buNone/>
              <a:defRPr lang="en-US" sz="1100" b="0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lvl="0" defTabSz="292071"/>
            <a:endParaRPr lang="en-US" dirty="0"/>
          </a:p>
        </p:txBody>
      </p:sp>
      <p:sp>
        <p:nvSpPr>
          <p:cNvPr id="12" name="Picture Placeholder 13"/>
          <p:cNvSpPr>
            <a:spLocks noGrp="1"/>
          </p:cNvSpPr>
          <p:nvPr>
            <p:ph type="pic" sz="quarter" idx="16"/>
          </p:nvPr>
        </p:nvSpPr>
        <p:spPr>
          <a:xfrm>
            <a:off x="4166009" y="2021369"/>
            <a:ext cx="841272" cy="841272"/>
          </a:xfrm>
          <a:prstGeom prst="ellipse">
            <a:avLst/>
          </a:prstGeom>
          <a:solidFill>
            <a:schemeClr val="bg1">
              <a:lumMod val="75000"/>
            </a:schemeClr>
          </a:solidFill>
          <a:ln w="6350">
            <a:noFill/>
          </a:ln>
          <a:effectLst/>
        </p:spPr>
        <p:txBody>
          <a:bodyPr lIns="0" tIns="0" rIns="0" bIns="0" anchor="ctr">
            <a:normAutofit/>
          </a:bodyPr>
          <a:lstStyle>
            <a:lvl1pPr marL="0" indent="0" algn="ctr">
              <a:buNone/>
              <a:defRPr lang="en-US" sz="140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+mn-lt"/>
              </a:defRPr>
            </a:lvl1pPr>
          </a:lstStyle>
          <a:p>
            <a:pPr marL="0" lvl="0" defTabSz="292071"/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ECD629-4DA5-4EAE-B174-69948CAAE2C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3" name="Picture Placeholder 13"/>
          <p:cNvSpPr>
            <a:spLocks noGrp="1"/>
          </p:cNvSpPr>
          <p:nvPr>
            <p:ph type="pic" sz="quarter" idx="17"/>
          </p:nvPr>
        </p:nvSpPr>
        <p:spPr>
          <a:xfrm>
            <a:off x="1586728" y="1536428"/>
            <a:ext cx="764793" cy="764793"/>
          </a:xfrm>
          <a:prstGeom prst="ellipse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1"/>
            </a:solidFill>
          </a:ln>
          <a:effectLst/>
        </p:spPr>
        <p:txBody>
          <a:bodyPr lIns="0" tIns="0" rIns="0" bIns="0" anchor="ctr">
            <a:normAutofit/>
          </a:bodyPr>
          <a:lstStyle>
            <a:lvl1pPr marL="0" indent="0" algn="ctr">
              <a:buNone/>
              <a:defRPr lang="en-US" sz="1100" b="0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lvl="0" defTabSz="292071"/>
            <a:endParaRPr lang="en-US" dirty="0"/>
          </a:p>
        </p:txBody>
      </p:sp>
      <p:sp>
        <p:nvSpPr>
          <p:cNvPr id="24" name="Picture Placeholder 13"/>
          <p:cNvSpPr>
            <a:spLocks noGrp="1"/>
          </p:cNvSpPr>
          <p:nvPr>
            <p:ph type="pic" sz="quarter" idx="18"/>
          </p:nvPr>
        </p:nvSpPr>
        <p:spPr>
          <a:xfrm>
            <a:off x="1586728" y="2469527"/>
            <a:ext cx="764793" cy="764793"/>
          </a:xfrm>
          <a:prstGeom prst="ellipse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1"/>
            </a:solidFill>
          </a:ln>
          <a:effectLst/>
        </p:spPr>
        <p:txBody>
          <a:bodyPr lIns="0" tIns="0" rIns="0" bIns="0" anchor="ctr">
            <a:normAutofit/>
          </a:bodyPr>
          <a:lstStyle>
            <a:lvl1pPr marL="0" indent="0" algn="ctr">
              <a:buNone/>
              <a:defRPr lang="en-US" sz="1100" b="0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lvl="0" defTabSz="292071"/>
            <a:endParaRPr lang="en-US" dirty="0"/>
          </a:p>
        </p:txBody>
      </p:sp>
      <p:sp>
        <p:nvSpPr>
          <p:cNvPr id="25" name="Picture Placeholder 13"/>
          <p:cNvSpPr>
            <a:spLocks noGrp="1"/>
          </p:cNvSpPr>
          <p:nvPr>
            <p:ph type="pic" sz="quarter" idx="19"/>
          </p:nvPr>
        </p:nvSpPr>
        <p:spPr>
          <a:xfrm>
            <a:off x="6708875" y="1755572"/>
            <a:ext cx="841272" cy="841272"/>
          </a:xfrm>
          <a:prstGeom prst="ellipse">
            <a:avLst/>
          </a:prstGeom>
          <a:solidFill>
            <a:schemeClr val="bg1">
              <a:lumMod val="75000"/>
            </a:schemeClr>
          </a:solidFill>
          <a:ln w="6350">
            <a:noFill/>
          </a:ln>
          <a:effectLst/>
        </p:spPr>
        <p:txBody>
          <a:bodyPr lIns="0" tIns="0" rIns="0" bIns="0" anchor="ctr">
            <a:normAutofit/>
          </a:bodyPr>
          <a:lstStyle>
            <a:lvl1pPr marL="0" indent="0" algn="ctr">
              <a:buNone/>
              <a:defRPr lang="en-US" sz="140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+mn-lt"/>
              </a:defRPr>
            </a:lvl1pPr>
          </a:lstStyle>
          <a:p>
            <a:pPr marL="0" lvl="0" defTabSz="292071"/>
            <a:endParaRPr lang="en-US" dirty="0"/>
          </a:p>
        </p:txBody>
      </p:sp>
      <p:sp>
        <p:nvSpPr>
          <p:cNvPr id="26" name="Picture Placeholder 13"/>
          <p:cNvSpPr>
            <a:spLocks noGrp="1"/>
          </p:cNvSpPr>
          <p:nvPr>
            <p:ph type="pic" sz="quarter" idx="20"/>
          </p:nvPr>
        </p:nvSpPr>
        <p:spPr>
          <a:xfrm>
            <a:off x="7048303" y="4728280"/>
            <a:ext cx="841272" cy="841272"/>
          </a:xfrm>
          <a:prstGeom prst="ellipse">
            <a:avLst/>
          </a:prstGeom>
          <a:solidFill>
            <a:schemeClr val="bg1">
              <a:lumMod val="75000"/>
            </a:schemeClr>
          </a:solidFill>
          <a:ln w="6350">
            <a:noFill/>
          </a:ln>
          <a:effectLst/>
        </p:spPr>
        <p:txBody>
          <a:bodyPr lIns="0" tIns="0" rIns="0" bIns="0" anchor="ctr">
            <a:normAutofit/>
          </a:bodyPr>
          <a:lstStyle>
            <a:lvl1pPr marL="0" indent="0" algn="ctr">
              <a:buNone/>
              <a:defRPr lang="en-US" sz="140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+mn-lt"/>
              </a:defRPr>
            </a:lvl1pPr>
          </a:lstStyle>
          <a:p>
            <a:pPr marL="0" lvl="0" defTabSz="292071"/>
            <a:endParaRPr lang="en-US" dirty="0"/>
          </a:p>
        </p:txBody>
      </p:sp>
      <p:sp>
        <p:nvSpPr>
          <p:cNvPr id="27" name="Picture Placeholder 13"/>
          <p:cNvSpPr>
            <a:spLocks noGrp="1"/>
          </p:cNvSpPr>
          <p:nvPr>
            <p:ph type="pic" sz="quarter" idx="21"/>
          </p:nvPr>
        </p:nvSpPr>
        <p:spPr>
          <a:xfrm>
            <a:off x="4967530" y="4580555"/>
            <a:ext cx="841272" cy="841272"/>
          </a:xfrm>
          <a:prstGeom prst="ellipse">
            <a:avLst/>
          </a:prstGeom>
          <a:solidFill>
            <a:schemeClr val="bg1">
              <a:lumMod val="75000"/>
            </a:schemeClr>
          </a:solidFill>
          <a:ln w="6350">
            <a:noFill/>
          </a:ln>
          <a:effectLst/>
        </p:spPr>
        <p:txBody>
          <a:bodyPr lIns="0" tIns="0" rIns="0" bIns="0" anchor="ctr">
            <a:normAutofit/>
          </a:bodyPr>
          <a:lstStyle>
            <a:lvl1pPr marL="0" indent="0" algn="ctr">
              <a:buNone/>
              <a:defRPr lang="en-US" sz="140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+mn-lt"/>
              </a:defRPr>
            </a:lvl1pPr>
          </a:lstStyle>
          <a:p>
            <a:pPr marL="0" lvl="0" defTabSz="292071"/>
            <a:endParaRPr lang="en-US" dirty="0"/>
          </a:p>
        </p:txBody>
      </p:sp>
      <p:sp>
        <p:nvSpPr>
          <p:cNvPr id="28" name="Picture Placeholder 13"/>
          <p:cNvSpPr>
            <a:spLocks noGrp="1"/>
          </p:cNvSpPr>
          <p:nvPr>
            <p:ph type="pic" sz="quarter" idx="22"/>
          </p:nvPr>
        </p:nvSpPr>
        <p:spPr>
          <a:xfrm>
            <a:off x="2608129" y="4664454"/>
            <a:ext cx="764793" cy="764793"/>
          </a:xfrm>
          <a:prstGeom prst="ellipse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3"/>
            </a:solidFill>
          </a:ln>
          <a:effectLst/>
        </p:spPr>
        <p:txBody>
          <a:bodyPr lIns="0" tIns="0" rIns="0" bIns="0" anchor="ctr">
            <a:normAutofit/>
          </a:bodyPr>
          <a:lstStyle>
            <a:lvl1pPr marL="0" indent="0" algn="ctr">
              <a:buNone/>
              <a:defRPr lang="en-US" sz="1100" b="0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lvl="0" defTabSz="292071"/>
            <a:endParaRPr lang="en-US" dirty="0"/>
          </a:p>
        </p:txBody>
      </p:sp>
      <p:sp>
        <p:nvSpPr>
          <p:cNvPr id="29" name="Picture Placeholder 13"/>
          <p:cNvSpPr>
            <a:spLocks noGrp="1"/>
          </p:cNvSpPr>
          <p:nvPr>
            <p:ph type="pic" sz="quarter" idx="23"/>
          </p:nvPr>
        </p:nvSpPr>
        <p:spPr>
          <a:xfrm>
            <a:off x="9338385" y="1412060"/>
            <a:ext cx="764793" cy="764793"/>
          </a:xfrm>
          <a:prstGeom prst="ellipse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  <a:effectLst/>
        </p:spPr>
        <p:txBody>
          <a:bodyPr lIns="0" tIns="0" rIns="0" bIns="0" anchor="ctr">
            <a:normAutofit/>
          </a:bodyPr>
          <a:lstStyle>
            <a:lvl1pPr marL="0" indent="0" algn="ctr">
              <a:buNone/>
              <a:defRPr lang="en-US" sz="1100" b="0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lvl="0" defTabSz="292071"/>
            <a:endParaRPr lang="en-US" dirty="0"/>
          </a:p>
        </p:txBody>
      </p:sp>
      <p:sp>
        <p:nvSpPr>
          <p:cNvPr id="31" name="Picture Placeholder 13"/>
          <p:cNvSpPr>
            <a:spLocks noGrp="1"/>
          </p:cNvSpPr>
          <p:nvPr>
            <p:ph type="pic" sz="quarter" idx="24"/>
          </p:nvPr>
        </p:nvSpPr>
        <p:spPr>
          <a:xfrm>
            <a:off x="9338385" y="2352833"/>
            <a:ext cx="764793" cy="764793"/>
          </a:xfrm>
          <a:prstGeom prst="ellipse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2"/>
            </a:solidFill>
          </a:ln>
          <a:effectLst/>
        </p:spPr>
        <p:txBody>
          <a:bodyPr lIns="0" tIns="0" rIns="0" bIns="0" anchor="ctr">
            <a:normAutofit/>
          </a:bodyPr>
          <a:lstStyle>
            <a:lvl1pPr marL="0" indent="0" algn="ctr">
              <a:buNone/>
              <a:defRPr lang="en-US" sz="1100" b="0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lvl="0" defTabSz="292071"/>
            <a:endParaRPr lang="en-US" dirty="0"/>
          </a:p>
        </p:txBody>
      </p:sp>
      <p:sp>
        <p:nvSpPr>
          <p:cNvPr id="32" name="Picture Placeholder 13"/>
          <p:cNvSpPr>
            <a:spLocks noGrp="1"/>
          </p:cNvSpPr>
          <p:nvPr>
            <p:ph type="pic" sz="quarter" idx="25"/>
          </p:nvPr>
        </p:nvSpPr>
        <p:spPr>
          <a:xfrm>
            <a:off x="9840340" y="4257283"/>
            <a:ext cx="764793" cy="764793"/>
          </a:xfrm>
          <a:prstGeom prst="ellipse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accent4"/>
            </a:solidFill>
          </a:ln>
          <a:effectLst/>
        </p:spPr>
        <p:txBody>
          <a:bodyPr lIns="0" tIns="0" rIns="0" bIns="0" anchor="ctr">
            <a:normAutofit/>
          </a:bodyPr>
          <a:lstStyle>
            <a:lvl1pPr marL="0" indent="0" algn="ctr">
              <a:buNone/>
              <a:defRPr lang="en-US" sz="1100" b="0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lvl="0" defTabSz="29207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5263868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Picture Placeholder 13"/>
          <p:cNvSpPr>
            <a:spLocks noGrp="1"/>
          </p:cNvSpPr>
          <p:nvPr>
            <p:ph type="pic" sz="quarter" idx="15"/>
          </p:nvPr>
        </p:nvSpPr>
        <p:spPr>
          <a:xfrm>
            <a:off x="5632853" y="1486927"/>
            <a:ext cx="929249" cy="929249"/>
          </a:xfrm>
          <a:prstGeom prst="ellipse">
            <a:avLst/>
          </a:prstGeom>
          <a:solidFill>
            <a:schemeClr val="bg1">
              <a:lumMod val="75000"/>
            </a:schemeClr>
          </a:solidFill>
          <a:ln w="6350">
            <a:noFill/>
          </a:ln>
          <a:effectLst/>
        </p:spPr>
        <p:txBody>
          <a:bodyPr lIns="0" tIns="0" rIns="0" bIns="0" anchor="ctr">
            <a:normAutofit/>
          </a:bodyPr>
          <a:lstStyle>
            <a:lvl1pPr marL="0" indent="0" algn="ctr">
              <a:buNone/>
              <a:defRPr lang="en-US" sz="140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+mn-lt"/>
              </a:defRPr>
            </a:lvl1pPr>
          </a:lstStyle>
          <a:p>
            <a:pPr marL="0" lvl="0" defTabSz="292071"/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ECD629-4DA5-4EAE-B174-69948CAAE2C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745328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11353800" y="6356195"/>
            <a:ext cx="508842" cy="50180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53800" y="6500774"/>
            <a:ext cx="508842" cy="212645"/>
          </a:xfrm>
          <a:prstGeom prst="rect">
            <a:avLst/>
          </a:prstGeom>
        </p:spPr>
        <p:txBody>
          <a:bodyPr anchor="ctr">
            <a:noAutofit/>
          </a:bodyPr>
          <a:lstStyle>
            <a:lvl1pPr algn="ctr">
              <a:defRPr lang="en-US" sz="1200" smtClean="0">
                <a:solidFill>
                  <a:schemeClr val="bg1"/>
                </a:solidFill>
                <a:latin typeface="+mj-lt"/>
              </a:defRPr>
            </a:lvl1pPr>
          </a:lstStyle>
          <a:p>
            <a:pPr defTabSz="952530">
              <a:lnSpc>
                <a:spcPct val="90000"/>
              </a:lnSpc>
              <a:spcBef>
                <a:spcPts val="1042"/>
              </a:spcBef>
              <a:buFont typeface="Arial" panose="020B0604020202020204" pitchFamily="34" charset="0"/>
              <a:buNone/>
            </a:pPr>
            <a:fld id="{32ECD629-4DA5-4EAE-B174-69948CAAE2CE}" type="slidenum">
              <a:rPr lang="en-US" smtClean="0"/>
              <a:pPr defTabSz="952530">
                <a:lnSpc>
                  <a:spcPct val="90000"/>
                </a:lnSpc>
                <a:spcBef>
                  <a:spcPts val="1042"/>
                </a:spcBef>
                <a:buFont typeface="Arial" panose="020B0604020202020204" pitchFamily="34" charset="0"/>
                <a:buNone/>
              </a:pPr>
              <a:t>‹#›</a:t>
            </a:fld>
            <a:endParaRPr lang="en-US" dirty="0"/>
          </a:p>
        </p:txBody>
      </p:sp>
      <p:sp>
        <p:nvSpPr>
          <p:cNvPr id="7" name="Text Placeholder 7"/>
          <p:cNvSpPr txBox="1">
            <a:spLocks/>
          </p:cNvSpPr>
          <p:nvPr/>
        </p:nvSpPr>
        <p:spPr>
          <a:xfrm>
            <a:off x="9485153" y="6500774"/>
            <a:ext cx="1868647" cy="212645"/>
          </a:xfrm>
          <a:prstGeom prst="rect">
            <a:avLst/>
          </a:prstGeom>
        </p:spPr>
        <p:txBody>
          <a:bodyPr>
            <a:noAutofit/>
          </a:bodyPr>
          <a:lstStyle>
            <a:lvl1pPr marL="238133" indent="-238133" algn="l" defTabSz="952530" rtl="0" eaLnBrk="1" latinLnBrk="0" hangingPunct="1">
              <a:lnSpc>
                <a:spcPct val="90000"/>
              </a:lnSpc>
              <a:spcBef>
                <a:spcPts val="1042"/>
              </a:spcBef>
              <a:buFont typeface="Arial" panose="020B0604020202020204" pitchFamily="34" charset="0"/>
              <a:buChar char="•"/>
              <a:defRPr sz="291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14398" indent="-238133" algn="l" defTabSz="952530" rtl="0" eaLnBrk="1" latinLnBrk="0" hangingPunct="1">
              <a:lnSpc>
                <a:spcPct val="90000"/>
              </a:lnSpc>
              <a:spcBef>
                <a:spcPts val="521"/>
              </a:spcBef>
              <a:buFont typeface="Arial" panose="020B0604020202020204" pitchFamily="34" charset="0"/>
              <a:buChar char="•"/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90663" indent="-238133" algn="l" defTabSz="952530" rtl="0" eaLnBrk="1" latinLnBrk="0" hangingPunct="1">
              <a:lnSpc>
                <a:spcPct val="90000"/>
              </a:lnSpc>
              <a:spcBef>
                <a:spcPts val="521"/>
              </a:spcBef>
              <a:buFont typeface="Arial" panose="020B0604020202020204" pitchFamily="34" charset="0"/>
              <a:buChar char="•"/>
              <a:defRPr sz="208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66928" indent="-238133" algn="l" defTabSz="952530" rtl="0" eaLnBrk="1" latinLnBrk="0" hangingPunct="1">
              <a:lnSpc>
                <a:spcPct val="90000"/>
              </a:lnSpc>
              <a:spcBef>
                <a:spcPts val="521"/>
              </a:spcBef>
              <a:buFont typeface="Arial" panose="020B0604020202020204" pitchFamily="34" charset="0"/>
              <a:buChar char="•"/>
              <a:defRPr sz="18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43194" indent="-238133" algn="l" defTabSz="952530" rtl="0" eaLnBrk="1" latinLnBrk="0" hangingPunct="1">
              <a:lnSpc>
                <a:spcPct val="90000"/>
              </a:lnSpc>
              <a:spcBef>
                <a:spcPts val="521"/>
              </a:spcBef>
              <a:buFont typeface="Arial" panose="020B0604020202020204" pitchFamily="34" charset="0"/>
              <a:buChar char="•"/>
              <a:defRPr sz="18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19459" indent="-238133" algn="l" defTabSz="952530" rtl="0" eaLnBrk="1" latinLnBrk="0" hangingPunct="1">
              <a:lnSpc>
                <a:spcPct val="90000"/>
              </a:lnSpc>
              <a:spcBef>
                <a:spcPts val="521"/>
              </a:spcBef>
              <a:buFont typeface="Arial" panose="020B0604020202020204" pitchFamily="34" charset="0"/>
              <a:buChar char="•"/>
              <a:defRPr sz="18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95724" indent="-238133" algn="l" defTabSz="952530" rtl="0" eaLnBrk="1" latinLnBrk="0" hangingPunct="1">
              <a:lnSpc>
                <a:spcPct val="90000"/>
              </a:lnSpc>
              <a:spcBef>
                <a:spcPts val="521"/>
              </a:spcBef>
              <a:buFont typeface="Arial" panose="020B0604020202020204" pitchFamily="34" charset="0"/>
              <a:buChar char="•"/>
              <a:defRPr sz="18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71989" indent="-238133" algn="l" defTabSz="952530" rtl="0" eaLnBrk="1" latinLnBrk="0" hangingPunct="1">
              <a:lnSpc>
                <a:spcPct val="90000"/>
              </a:lnSpc>
              <a:spcBef>
                <a:spcPts val="521"/>
              </a:spcBef>
              <a:buFont typeface="Arial" panose="020B0604020202020204" pitchFamily="34" charset="0"/>
              <a:buChar char="•"/>
              <a:defRPr sz="18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48255" indent="-238133" algn="l" defTabSz="952530" rtl="0" eaLnBrk="1" latinLnBrk="0" hangingPunct="1">
              <a:lnSpc>
                <a:spcPct val="90000"/>
              </a:lnSpc>
              <a:spcBef>
                <a:spcPts val="521"/>
              </a:spcBef>
              <a:buFont typeface="Arial" panose="020B0604020202020204" pitchFamily="34" charset="0"/>
              <a:buChar char="•"/>
              <a:defRPr sz="18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en-US" sz="1100" dirty="0" smtClean="0">
                <a:solidFill>
                  <a:schemeClr val="bg1">
                    <a:lumMod val="85000"/>
                  </a:schemeClr>
                </a:solidFill>
                <a:latin typeface="+mj-lt"/>
              </a:rPr>
              <a:t>simrspknrskd.com</a:t>
            </a:r>
            <a:endParaRPr lang="en-US" sz="1100" dirty="0">
              <a:solidFill>
                <a:schemeClr val="bg1">
                  <a:lumMod val="85000"/>
                </a:schemeClr>
              </a:solidFill>
              <a:latin typeface="+mj-lt"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5153" y="6235893"/>
            <a:ext cx="829476" cy="622107"/>
          </a:xfrm>
          <a:prstGeom prst="rect">
            <a:avLst/>
          </a:prstGeom>
        </p:spPr>
      </p:pic>
      <p:sp>
        <p:nvSpPr>
          <p:cNvPr id="8" name="TextBox 7"/>
          <p:cNvSpPr txBox="1">
            <a:spLocks noChangeArrowheads="1"/>
          </p:cNvSpPr>
          <p:nvPr/>
        </p:nvSpPr>
        <p:spPr bwMode="auto">
          <a:xfrm>
            <a:off x="846138" y="6396038"/>
            <a:ext cx="2622550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r>
              <a:rPr lang="en-US" sz="1200" dirty="0" err="1">
                <a:solidFill>
                  <a:schemeClr val="bg1"/>
                </a:solidFill>
                <a:latin typeface="Montserrat" pitchFamily="2" charset="0"/>
                <a:ea typeface="Calibri" pitchFamily="34" charset="0"/>
                <a:cs typeface="Calibri" pitchFamily="34" charset="0"/>
              </a:rPr>
              <a:t>Rumah</a:t>
            </a:r>
            <a:r>
              <a:rPr lang="en-US" sz="1200" dirty="0">
                <a:solidFill>
                  <a:schemeClr val="bg1"/>
                </a:solidFill>
                <a:latin typeface="Montserrat" pitchFamily="2" charset="0"/>
                <a:ea typeface="Calibri" pitchFamily="34" charset="0"/>
                <a:cs typeface="Calibri" pitchFamily="34" charset="0"/>
              </a:rPr>
              <a:t> </a:t>
            </a:r>
            <a:r>
              <a:rPr lang="en-US" sz="1200" dirty="0" err="1">
                <a:solidFill>
                  <a:schemeClr val="bg1"/>
                </a:solidFill>
                <a:latin typeface="Montserrat" pitchFamily="2" charset="0"/>
                <a:ea typeface="Calibri" pitchFamily="34" charset="0"/>
                <a:cs typeface="Calibri" pitchFamily="34" charset="0"/>
              </a:rPr>
              <a:t>Sakit</a:t>
            </a:r>
            <a:r>
              <a:rPr lang="en-US" sz="1200" dirty="0">
                <a:solidFill>
                  <a:schemeClr val="bg1"/>
                </a:solidFill>
                <a:latin typeface="Montserrat" pitchFamily="2" charset="0"/>
                <a:ea typeface="Calibri" pitchFamily="34" charset="0"/>
                <a:cs typeface="Calibri" pitchFamily="34" charset="0"/>
              </a:rPr>
              <a:t> </a:t>
            </a:r>
            <a:r>
              <a:rPr lang="en-US" sz="1200" dirty="0" err="1">
                <a:solidFill>
                  <a:schemeClr val="bg1"/>
                </a:solidFill>
                <a:latin typeface="Montserrat" pitchFamily="2" charset="0"/>
                <a:ea typeface="Calibri" pitchFamily="34" charset="0"/>
                <a:cs typeface="Calibri" pitchFamily="34" charset="0"/>
              </a:rPr>
              <a:t>Kanker</a:t>
            </a:r>
            <a:r>
              <a:rPr lang="en-US" sz="1200" dirty="0">
                <a:solidFill>
                  <a:schemeClr val="bg1"/>
                </a:solidFill>
                <a:latin typeface="Montserrat" pitchFamily="2" charset="0"/>
                <a:ea typeface="Calibri" pitchFamily="34" charset="0"/>
                <a:cs typeface="Calibri" pitchFamily="34" charset="0"/>
              </a:rPr>
              <a:t> “</a:t>
            </a:r>
            <a:r>
              <a:rPr lang="en-US" sz="1200" dirty="0" err="1">
                <a:solidFill>
                  <a:schemeClr val="bg1"/>
                </a:solidFill>
                <a:latin typeface="Montserrat" pitchFamily="2" charset="0"/>
                <a:ea typeface="Calibri" pitchFamily="34" charset="0"/>
                <a:cs typeface="Calibri" pitchFamily="34" charset="0"/>
              </a:rPr>
              <a:t>Dharmais</a:t>
            </a:r>
            <a:r>
              <a:rPr lang="en-US" sz="1200" dirty="0">
                <a:solidFill>
                  <a:schemeClr val="bg1"/>
                </a:solidFill>
                <a:latin typeface="Montserrat" pitchFamily="2" charset="0"/>
                <a:ea typeface="Calibri" pitchFamily="34" charset="0"/>
                <a:cs typeface="Calibri" pitchFamily="34" charset="0"/>
              </a:rPr>
              <a:t>”</a:t>
            </a:r>
            <a:endParaRPr lang="id-ID" sz="1200" dirty="0">
              <a:solidFill>
                <a:schemeClr val="bg1"/>
              </a:solidFill>
              <a:latin typeface="Montserrat" pitchFamily="2" charset="0"/>
              <a:ea typeface="Calibri" pitchFamily="34" charset="0"/>
              <a:cs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497608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704" r:id="rId2"/>
    <p:sldLayoutId id="2147483698" r:id="rId3"/>
    <p:sldLayoutId id="2147483702" r:id="rId4"/>
    <p:sldLayoutId id="2147483705" r:id="rId5"/>
    <p:sldLayoutId id="2147483706" r:id="rId6"/>
    <p:sldLayoutId id="2147483707" r:id="rId7"/>
    <p:sldLayoutId id="2147483708" r:id="rId8"/>
    <p:sldLayoutId id="2147483709" r:id="rId9"/>
    <p:sldLayoutId id="2147483710" r:id="rId10"/>
    <p:sldLayoutId id="2147483711" r:id="rId11"/>
    <p:sldLayoutId id="2147483712" r:id="rId12"/>
    <p:sldLayoutId id="2147483713" r:id="rId13"/>
    <p:sldLayoutId id="2147483714" r:id="rId14"/>
    <p:sldLayoutId id="2147483716" r:id="rId15"/>
    <p:sldLayoutId id="2147483715" r:id="rId16"/>
    <p:sldLayoutId id="2147483717" r:id="rId17"/>
    <p:sldLayoutId id="2147483718" r:id="rId18"/>
    <p:sldLayoutId id="2147483719" r:id="rId19"/>
    <p:sldLayoutId id="2147483720" r:id="rId20"/>
    <p:sldLayoutId id="2147483703" r:id="rId21"/>
    <p:sldLayoutId id="2147483723" r:id="rId22"/>
    <p:sldLayoutId id="2147483726" r:id="rId23"/>
    <p:sldLayoutId id="2147483730" r:id="rId24"/>
    <p:sldLayoutId id="2147483733" r:id="rId25"/>
    <p:sldLayoutId id="2147483734" r:id="rId26"/>
    <p:sldLayoutId id="2147483735" r:id="rId27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bg1"/>
          </a:solidFill>
          <a:latin typeface="Open Sans Light" panose="020B0306030504020204" pitchFamily="34" charset="0"/>
          <a:ea typeface="Open Sans Light" panose="020B0306030504020204" pitchFamily="34" charset="0"/>
          <a:cs typeface="Open Sans Light" panose="020B0306030504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bg1"/>
          </a:solidFill>
          <a:latin typeface="+mj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bg1"/>
          </a:solidFill>
          <a:latin typeface="+mj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bg1"/>
          </a:solidFill>
          <a:latin typeface="+mj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bg1"/>
          </a:solidFill>
          <a:latin typeface="+mj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bg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6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7" Type="http://schemas.openxmlformats.org/officeDocument/2006/relationships/chart" Target="../charts/chart3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4.png"/><Relationship Id="rId5" Type="http://schemas.openxmlformats.org/officeDocument/2006/relationships/chart" Target="../charts/chart2.xml"/><Relationship Id="rId4" Type="http://schemas.openxmlformats.org/officeDocument/2006/relationships/chart" Target="../charts/chart1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g"/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4.xml"/><Relationship Id="rId2" Type="http://schemas.openxmlformats.org/officeDocument/2006/relationships/diagramData" Target="../diagrams/data4.xml"/><Relationship Id="rId1" Type="http://schemas.openxmlformats.org/officeDocument/2006/relationships/slideLayout" Target="../slideLayouts/slideLayout3.xml"/><Relationship Id="rId6" Type="http://schemas.microsoft.com/office/2007/relationships/diagramDrawing" Target="../diagrams/drawing4.xml"/><Relationship Id="rId5" Type="http://schemas.openxmlformats.org/officeDocument/2006/relationships/diagramColors" Target="../diagrams/colors4.xml"/><Relationship Id="rId4" Type="http://schemas.openxmlformats.org/officeDocument/2006/relationships/diagramQuickStyle" Target="../diagrams/quickStyle4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jpeg"/><Relationship Id="rId13" Type="http://schemas.openxmlformats.org/officeDocument/2006/relationships/image" Target="../media/image19.jpeg"/><Relationship Id="rId18" Type="http://schemas.openxmlformats.org/officeDocument/2006/relationships/image" Target="../media/image24.jpeg"/><Relationship Id="rId26" Type="http://schemas.openxmlformats.org/officeDocument/2006/relationships/image" Target="../media/image32.jpeg"/><Relationship Id="rId3" Type="http://schemas.openxmlformats.org/officeDocument/2006/relationships/image" Target="../media/image9.jpeg"/><Relationship Id="rId21" Type="http://schemas.openxmlformats.org/officeDocument/2006/relationships/image" Target="../media/image27.jpeg"/><Relationship Id="rId7" Type="http://schemas.openxmlformats.org/officeDocument/2006/relationships/image" Target="../media/image13.jpeg"/><Relationship Id="rId12" Type="http://schemas.openxmlformats.org/officeDocument/2006/relationships/image" Target="../media/image18.jpeg"/><Relationship Id="rId17" Type="http://schemas.openxmlformats.org/officeDocument/2006/relationships/image" Target="../media/image23.jpeg"/><Relationship Id="rId25" Type="http://schemas.openxmlformats.org/officeDocument/2006/relationships/image" Target="../media/image31.jpeg"/><Relationship Id="rId2" Type="http://schemas.openxmlformats.org/officeDocument/2006/relationships/notesSlide" Target="../notesSlides/notesSlide3.xml"/><Relationship Id="rId16" Type="http://schemas.openxmlformats.org/officeDocument/2006/relationships/image" Target="../media/image22.jpeg"/><Relationship Id="rId20" Type="http://schemas.openxmlformats.org/officeDocument/2006/relationships/image" Target="../media/image26.jpe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2.jpeg"/><Relationship Id="rId11" Type="http://schemas.openxmlformats.org/officeDocument/2006/relationships/image" Target="../media/image17.jpeg"/><Relationship Id="rId24" Type="http://schemas.openxmlformats.org/officeDocument/2006/relationships/image" Target="../media/image30.jpeg"/><Relationship Id="rId5" Type="http://schemas.openxmlformats.org/officeDocument/2006/relationships/image" Target="../media/image11.jpeg"/><Relationship Id="rId15" Type="http://schemas.openxmlformats.org/officeDocument/2006/relationships/image" Target="../media/image21.jpeg"/><Relationship Id="rId23" Type="http://schemas.openxmlformats.org/officeDocument/2006/relationships/image" Target="../media/image29.jpeg"/><Relationship Id="rId10" Type="http://schemas.openxmlformats.org/officeDocument/2006/relationships/image" Target="../media/image16.jpeg"/><Relationship Id="rId19" Type="http://schemas.openxmlformats.org/officeDocument/2006/relationships/image" Target="../media/image25.jpeg"/><Relationship Id="rId4" Type="http://schemas.openxmlformats.org/officeDocument/2006/relationships/image" Target="../media/image10.jpeg"/><Relationship Id="rId9" Type="http://schemas.openxmlformats.org/officeDocument/2006/relationships/image" Target="../media/image15.jpeg"/><Relationship Id="rId14" Type="http://schemas.openxmlformats.org/officeDocument/2006/relationships/image" Target="../media/image20.jpeg"/><Relationship Id="rId22" Type="http://schemas.openxmlformats.org/officeDocument/2006/relationships/image" Target="../media/image28.jpeg"/><Relationship Id="rId27" Type="http://schemas.openxmlformats.org/officeDocument/2006/relationships/image" Target="../media/image33.jpe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eg"/><Relationship Id="rId2" Type="http://schemas.openxmlformats.org/officeDocument/2006/relationships/image" Target="../media/image34.jpeg"/><Relationship Id="rId1" Type="http://schemas.openxmlformats.org/officeDocument/2006/relationships/slideLayout" Target="../slideLayouts/slideLayout3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3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40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3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3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3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3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3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53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3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3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58.png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Layout" Target="../slideLayouts/slideLayout3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60.png"/><Relationship Id="rId1" Type="http://schemas.openxmlformats.org/officeDocument/2006/relationships/slideLayout" Target="../slideLayouts/slideLayout3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3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image" Target="../media/image64.jpe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66.pn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png"/><Relationship Id="rId2" Type="http://schemas.openxmlformats.org/officeDocument/2006/relationships/image" Target="../media/image67.png"/><Relationship Id="rId1" Type="http://schemas.openxmlformats.org/officeDocument/2006/relationships/slideLayout" Target="../slideLayouts/slideLayout3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image" Target="../media/image69.png"/><Relationship Id="rId1" Type="http://schemas.openxmlformats.org/officeDocument/2006/relationships/slideLayout" Target="../slideLayouts/slideLayout3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png"/><Relationship Id="rId2" Type="http://schemas.openxmlformats.org/officeDocument/2006/relationships/image" Target="../media/image70.png"/><Relationship Id="rId1" Type="http://schemas.openxmlformats.org/officeDocument/2006/relationships/slideLayout" Target="../slideLayouts/slideLayout3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image" Target="../media/image72.png"/><Relationship Id="rId1" Type="http://schemas.openxmlformats.org/officeDocument/2006/relationships/slideLayout" Target="../slideLayouts/slideLayout25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2.xml"/><Relationship Id="rId3" Type="http://schemas.openxmlformats.org/officeDocument/2006/relationships/image" Target="../media/image3.jpg"/><Relationship Id="rId7" Type="http://schemas.openxmlformats.org/officeDocument/2006/relationships/diagramQuickStyle" Target="../diagrams/quickStyle2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Relationship Id="rId6" Type="http://schemas.openxmlformats.org/officeDocument/2006/relationships/diagramLayout" Target="../diagrams/layout2.xml"/><Relationship Id="rId5" Type="http://schemas.openxmlformats.org/officeDocument/2006/relationships/diagramData" Target="../diagrams/data2.xml"/><Relationship Id="rId4" Type="http://schemas.openxmlformats.org/officeDocument/2006/relationships/image" Target="../media/image4.png"/><Relationship Id="rId9" Type="http://schemas.microsoft.com/office/2007/relationships/diagramDrawing" Target="../diagrams/drawing2.xml"/></Relationships>
</file>

<file path=ppt/slides/_rels/slide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75.png"/><Relationship Id="rId3" Type="http://schemas.openxmlformats.org/officeDocument/2006/relationships/slideLayout" Target="../slideLayouts/slideLayout27.xml"/><Relationship Id="rId7" Type="http://schemas.openxmlformats.org/officeDocument/2006/relationships/hyperlink" Target="http://simrspknrskd.com/" TargetMode="Externa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74.emf"/><Relationship Id="rId5" Type="http://schemas.openxmlformats.org/officeDocument/2006/relationships/oleObject" Target="../embeddings/oleObject1.bin"/><Relationship Id="rId10" Type="http://schemas.openxmlformats.org/officeDocument/2006/relationships/image" Target="../media/image76.jpg"/><Relationship Id="rId4" Type="http://schemas.openxmlformats.org/officeDocument/2006/relationships/notesSlide" Target="../notesSlides/notesSlide6.xml"/><Relationship Id="rId9" Type="http://schemas.openxmlformats.org/officeDocument/2006/relationships/image" Target="../media/image31.sv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23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1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0" y="1"/>
            <a:ext cx="3115733" cy="2156459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ECD629-4DA5-4EAE-B174-69948CAAE2CE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521146" y="1"/>
            <a:ext cx="3115733" cy="215645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itle 11"/>
          <p:cNvSpPr txBox="1">
            <a:spLocks/>
          </p:cNvSpPr>
          <p:nvPr/>
        </p:nvSpPr>
        <p:spPr>
          <a:xfrm>
            <a:off x="2895600" y="2156460"/>
            <a:ext cx="7353300" cy="246656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200" dirty="0" err="1" smtClean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Implementasi</a:t>
            </a:r>
            <a:r>
              <a:rPr lang="en-US" sz="3200" dirty="0" smtClean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3200" dirty="0" err="1" smtClean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Sistem</a:t>
            </a:r>
            <a:r>
              <a:rPr lang="en-US" sz="3200" dirty="0" smtClean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3200" dirty="0" err="1" smtClean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Informasi</a:t>
            </a:r>
            <a:r>
              <a:rPr lang="en-US" sz="3200" dirty="0" smtClean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3200" dirty="0" err="1" smtClean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Manajemen</a:t>
            </a:r>
            <a:r>
              <a:rPr lang="en-US" sz="3200" dirty="0" smtClean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3200" dirty="0" err="1" smtClean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Rumah</a:t>
            </a:r>
            <a:r>
              <a:rPr lang="en-US" sz="3200" dirty="0" smtClean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3200" dirty="0" err="1" smtClean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Sakit</a:t>
            </a:r>
            <a:r>
              <a:rPr lang="en-US" sz="3200" dirty="0" smtClean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</a:p>
          <a:p>
            <a:r>
              <a:rPr lang="en-US" sz="3200" dirty="0" err="1" smtClean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Kanker</a:t>
            </a:r>
            <a:r>
              <a:rPr lang="en-US" sz="3200" dirty="0" smtClean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3200" dirty="0" err="1" smtClean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Dharmais</a:t>
            </a:r>
            <a:endParaRPr lang="en-US" sz="3200" dirty="0" smtClean="0">
              <a:solidFill>
                <a:schemeClr val="bg1"/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grpSp>
        <p:nvGrpSpPr>
          <p:cNvPr id="16" name="Group 15"/>
          <p:cNvGrpSpPr/>
          <p:nvPr/>
        </p:nvGrpSpPr>
        <p:grpSpPr>
          <a:xfrm>
            <a:off x="1470999" y="560565"/>
            <a:ext cx="731838" cy="658812"/>
            <a:chOff x="3841750" y="458788"/>
            <a:chExt cx="731838" cy="658812"/>
          </a:xfrm>
          <a:solidFill>
            <a:schemeClr val="bg1"/>
          </a:solidFill>
        </p:grpSpPr>
        <p:sp>
          <p:nvSpPr>
            <p:cNvPr id="17" name="Freeform 49"/>
            <p:cNvSpPr>
              <a:spLocks/>
            </p:cNvSpPr>
            <p:nvPr/>
          </p:nvSpPr>
          <p:spPr bwMode="auto">
            <a:xfrm>
              <a:off x="4127500" y="957263"/>
              <a:ext cx="246063" cy="157162"/>
            </a:xfrm>
            <a:custGeom>
              <a:avLst/>
              <a:gdLst>
                <a:gd name="T0" fmla="*/ 156 w 311"/>
                <a:gd name="T1" fmla="*/ 197 h 197"/>
                <a:gd name="T2" fmla="*/ 156 w 311"/>
                <a:gd name="T3" fmla="*/ 197 h 197"/>
                <a:gd name="T4" fmla="*/ 149 w 311"/>
                <a:gd name="T5" fmla="*/ 197 h 197"/>
                <a:gd name="T6" fmla="*/ 146 w 311"/>
                <a:gd name="T7" fmla="*/ 194 h 197"/>
                <a:gd name="T8" fmla="*/ 142 w 311"/>
                <a:gd name="T9" fmla="*/ 189 h 197"/>
                <a:gd name="T10" fmla="*/ 142 w 311"/>
                <a:gd name="T11" fmla="*/ 184 h 197"/>
                <a:gd name="T12" fmla="*/ 142 w 311"/>
                <a:gd name="T13" fmla="*/ 94 h 197"/>
                <a:gd name="T14" fmla="*/ 22 w 311"/>
                <a:gd name="T15" fmla="*/ 192 h 197"/>
                <a:gd name="T16" fmla="*/ 22 w 311"/>
                <a:gd name="T17" fmla="*/ 192 h 197"/>
                <a:gd name="T18" fmla="*/ 17 w 311"/>
                <a:gd name="T19" fmla="*/ 196 h 197"/>
                <a:gd name="T20" fmla="*/ 14 w 311"/>
                <a:gd name="T21" fmla="*/ 196 h 197"/>
                <a:gd name="T22" fmla="*/ 14 w 311"/>
                <a:gd name="T23" fmla="*/ 196 h 197"/>
                <a:gd name="T24" fmla="*/ 7 w 311"/>
                <a:gd name="T25" fmla="*/ 196 h 197"/>
                <a:gd name="T26" fmla="*/ 4 w 311"/>
                <a:gd name="T27" fmla="*/ 191 h 197"/>
                <a:gd name="T28" fmla="*/ 4 w 311"/>
                <a:gd name="T29" fmla="*/ 191 h 197"/>
                <a:gd name="T30" fmla="*/ 0 w 311"/>
                <a:gd name="T31" fmla="*/ 187 h 197"/>
                <a:gd name="T32" fmla="*/ 0 w 311"/>
                <a:gd name="T33" fmla="*/ 182 h 197"/>
                <a:gd name="T34" fmla="*/ 0 w 311"/>
                <a:gd name="T35" fmla="*/ 182 h 197"/>
                <a:gd name="T36" fmla="*/ 2 w 311"/>
                <a:gd name="T37" fmla="*/ 177 h 197"/>
                <a:gd name="T38" fmla="*/ 5 w 311"/>
                <a:gd name="T39" fmla="*/ 172 h 197"/>
                <a:gd name="T40" fmla="*/ 142 w 311"/>
                <a:gd name="T41" fmla="*/ 59 h 197"/>
                <a:gd name="T42" fmla="*/ 142 w 311"/>
                <a:gd name="T43" fmla="*/ 0 h 197"/>
                <a:gd name="T44" fmla="*/ 169 w 311"/>
                <a:gd name="T45" fmla="*/ 0 h 197"/>
                <a:gd name="T46" fmla="*/ 169 w 311"/>
                <a:gd name="T47" fmla="*/ 59 h 197"/>
                <a:gd name="T48" fmla="*/ 306 w 311"/>
                <a:gd name="T49" fmla="*/ 172 h 197"/>
                <a:gd name="T50" fmla="*/ 306 w 311"/>
                <a:gd name="T51" fmla="*/ 172 h 197"/>
                <a:gd name="T52" fmla="*/ 310 w 311"/>
                <a:gd name="T53" fmla="*/ 177 h 197"/>
                <a:gd name="T54" fmla="*/ 311 w 311"/>
                <a:gd name="T55" fmla="*/ 182 h 197"/>
                <a:gd name="T56" fmla="*/ 311 w 311"/>
                <a:gd name="T57" fmla="*/ 187 h 197"/>
                <a:gd name="T58" fmla="*/ 308 w 311"/>
                <a:gd name="T59" fmla="*/ 191 h 197"/>
                <a:gd name="T60" fmla="*/ 308 w 311"/>
                <a:gd name="T61" fmla="*/ 191 h 197"/>
                <a:gd name="T62" fmla="*/ 303 w 311"/>
                <a:gd name="T63" fmla="*/ 196 h 197"/>
                <a:gd name="T64" fmla="*/ 298 w 311"/>
                <a:gd name="T65" fmla="*/ 196 h 197"/>
                <a:gd name="T66" fmla="*/ 298 w 311"/>
                <a:gd name="T67" fmla="*/ 196 h 197"/>
                <a:gd name="T68" fmla="*/ 294 w 311"/>
                <a:gd name="T69" fmla="*/ 196 h 197"/>
                <a:gd name="T70" fmla="*/ 289 w 311"/>
                <a:gd name="T71" fmla="*/ 192 h 197"/>
                <a:gd name="T72" fmla="*/ 169 w 311"/>
                <a:gd name="T73" fmla="*/ 93 h 197"/>
                <a:gd name="T74" fmla="*/ 169 w 311"/>
                <a:gd name="T75" fmla="*/ 184 h 197"/>
                <a:gd name="T76" fmla="*/ 169 w 311"/>
                <a:gd name="T77" fmla="*/ 184 h 197"/>
                <a:gd name="T78" fmla="*/ 168 w 311"/>
                <a:gd name="T79" fmla="*/ 189 h 197"/>
                <a:gd name="T80" fmla="*/ 164 w 311"/>
                <a:gd name="T81" fmla="*/ 194 h 197"/>
                <a:gd name="T82" fmla="*/ 161 w 311"/>
                <a:gd name="T83" fmla="*/ 197 h 197"/>
                <a:gd name="T84" fmla="*/ 156 w 311"/>
                <a:gd name="T85" fmla="*/ 197 h 197"/>
                <a:gd name="T86" fmla="*/ 156 w 311"/>
                <a:gd name="T87" fmla="*/ 197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311" h="197">
                  <a:moveTo>
                    <a:pt x="156" y="197"/>
                  </a:moveTo>
                  <a:lnTo>
                    <a:pt x="156" y="197"/>
                  </a:lnTo>
                  <a:lnTo>
                    <a:pt x="149" y="197"/>
                  </a:lnTo>
                  <a:lnTo>
                    <a:pt x="146" y="194"/>
                  </a:lnTo>
                  <a:lnTo>
                    <a:pt x="142" y="189"/>
                  </a:lnTo>
                  <a:lnTo>
                    <a:pt x="142" y="184"/>
                  </a:lnTo>
                  <a:lnTo>
                    <a:pt x="142" y="94"/>
                  </a:lnTo>
                  <a:lnTo>
                    <a:pt x="22" y="192"/>
                  </a:lnTo>
                  <a:lnTo>
                    <a:pt x="22" y="192"/>
                  </a:lnTo>
                  <a:lnTo>
                    <a:pt x="17" y="196"/>
                  </a:lnTo>
                  <a:lnTo>
                    <a:pt x="14" y="196"/>
                  </a:lnTo>
                  <a:lnTo>
                    <a:pt x="14" y="196"/>
                  </a:lnTo>
                  <a:lnTo>
                    <a:pt x="7" y="196"/>
                  </a:lnTo>
                  <a:lnTo>
                    <a:pt x="4" y="191"/>
                  </a:lnTo>
                  <a:lnTo>
                    <a:pt x="4" y="191"/>
                  </a:lnTo>
                  <a:lnTo>
                    <a:pt x="0" y="187"/>
                  </a:lnTo>
                  <a:lnTo>
                    <a:pt x="0" y="182"/>
                  </a:lnTo>
                  <a:lnTo>
                    <a:pt x="0" y="182"/>
                  </a:lnTo>
                  <a:lnTo>
                    <a:pt x="2" y="177"/>
                  </a:lnTo>
                  <a:lnTo>
                    <a:pt x="5" y="172"/>
                  </a:lnTo>
                  <a:lnTo>
                    <a:pt x="142" y="59"/>
                  </a:lnTo>
                  <a:lnTo>
                    <a:pt x="142" y="0"/>
                  </a:lnTo>
                  <a:lnTo>
                    <a:pt x="169" y="0"/>
                  </a:lnTo>
                  <a:lnTo>
                    <a:pt x="169" y="59"/>
                  </a:lnTo>
                  <a:lnTo>
                    <a:pt x="306" y="172"/>
                  </a:lnTo>
                  <a:lnTo>
                    <a:pt x="306" y="172"/>
                  </a:lnTo>
                  <a:lnTo>
                    <a:pt x="310" y="177"/>
                  </a:lnTo>
                  <a:lnTo>
                    <a:pt x="311" y="182"/>
                  </a:lnTo>
                  <a:lnTo>
                    <a:pt x="311" y="187"/>
                  </a:lnTo>
                  <a:lnTo>
                    <a:pt x="308" y="191"/>
                  </a:lnTo>
                  <a:lnTo>
                    <a:pt x="308" y="191"/>
                  </a:lnTo>
                  <a:lnTo>
                    <a:pt x="303" y="196"/>
                  </a:lnTo>
                  <a:lnTo>
                    <a:pt x="298" y="196"/>
                  </a:lnTo>
                  <a:lnTo>
                    <a:pt x="298" y="196"/>
                  </a:lnTo>
                  <a:lnTo>
                    <a:pt x="294" y="196"/>
                  </a:lnTo>
                  <a:lnTo>
                    <a:pt x="289" y="192"/>
                  </a:lnTo>
                  <a:lnTo>
                    <a:pt x="169" y="93"/>
                  </a:lnTo>
                  <a:lnTo>
                    <a:pt x="169" y="184"/>
                  </a:lnTo>
                  <a:lnTo>
                    <a:pt x="169" y="184"/>
                  </a:lnTo>
                  <a:lnTo>
                    <a:pt x="168" y="189"/>
                  </a:lnTo>
                  <a:lnTo>
                    <a:pt x="164" y="194"/>
                  </a:lnTo>
                  <a:lnTo>
                    <a:pt x="161" y="197"/>
                  </a:lnTo>
                  <a:lnTo>
                    <a:pt x="156" y="197"/>
                  </a:lnTo>
                  <a:lnTo>
                    <a:pt x="156" y="1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50"/>
            <p:cNvSpPr>
              <a:spLocks/>
            </p:cNvSpPr>
            <p:nvPr/>
          </p:nvSpPr>
          <p:spPr bwMode="auto">
            <a:xfrm>
              <a:off x="3841750" y="476250"/>
              <a:ext cx="731838" cy="641350"/>
            </a:xfrm>
            <a:custGeom>
              <a:avLst/>
              <a:gdLst>
                <a:gd name="T0" fmla="*/ 225 w 923"/>
                <a:gd name="T1" fmla="*/ 576 h 808"/>
                <a:gd name="T2" fmla="*/ 252 w 923"/>
                <a:gd name="T3" fmla="*/ 569 h 808"/>
                <a:gd name="T4" fmla="*/ 266 w 923"/>
                <a:gd name="T5" fmla="*/ 559 h 808"/>
                <a:gd name="T6" fmla="*/ 281 w 923"/>
                <a:gd name="T7" fmla="*/ 539 h 808"/>
                <a:gd name="T8" fmla="*/ 288 w 923"/>
                <a:gd name="T9" fmla="*/ 335 h 808"/>
                <a:gd name="T10" fmla="*/ 283 w 923"/>
                <a:gd name="T11" fmla="*/ 311 h 808"/>
                <a:gd name="T12" fmla="*/ 259 w 923"/>
                <a:gd name="T13" fmla="*/ 284 h 808"/>
                <a:gd name="T14" fmla="*/ 225 w 923"/>
                <a:gd name="T15" fmla="*/ 272 h 808"/>
                <a:gd name="T16" fmla="*/ 76 w 923"/>
                <a:gd name="T17" fmla="*/ 274 h 808"/>
                <a:gd name="T18" fmla="*/ 44 w 923"/>
                <a:gd name="T19" fmla="*/ 291 h 808"/>
                <a:gd name="T20" fmla="*/ 27 w 923"/>
                <a:gd name="T21" fmla="*/ 323 h 808"/>
                <a:gd name="T22" fmla="*/ 27 w 923"/>
                <a:gd name="T23" fmla="*/ 514 h 808"/>
                <a:gd name="T24" fmla="*/ 33 w 923"/>
                <a:gd name="T25" fmla="*/ 539 h 808"/>
                <a:gd name="T26" fmla="*/ 46 w 923"/>
                <a:gd name="T27" fmla="*/ 559 h 808"/>
                <a:gd name="T28" fmla="*/ 61 w 923"/>
                <a:gd name="T29" fmla="*/ 569 h 808"/>
                <a:gd name="T30" fmla="*/ 97 w 923"/>
                <a:gd name="T31" fmla="*/ 576 h 808"/>
                <a:gd name="T32" fmla="*/ 70 w 923"/>
                <a:gd name="T33" fmla="*/ 602 h 808"/>
                <a:gd name="T34" fmla="*/ 49 w 923"/>
                <a:gd name="T35" fmla="*/ 593 h 808"/>
                <a:gd name="T36" fmla="*/ 26 w 923"/>
                <a:gd name="T37" fmla="*/ 576 h 808"/>
                <a:gd name="T38" fmla="*/ 9 w 923"/>
                <a:gd name="T39" fmla="*/ 553 h 808"/>
                <a:gd name="T40" fmla="*/ 0 w 923"/>
                <a:gd name="T41" fmla="*/ 514 h 808"/>
                <a:gd name="T42" fmla="*/ 0 w 923"/>
                <a:gd name="T43" fmla="*/ 321 h 808"/>
                <a:gd name="T44" fmla="*/ 16 w 923"/>
                <a:gd name="T45" fmla="*/ 284 h 808"/>
                <a:gd name="T46" fmla="*/ 39 w 923"/>
                <a:gd name="T47" fmla="*/ 262 h 808"/>
                <a:gd name="T48" fmla="*/ 63 w 923"/>
                <a:gd name="T49" fmla="*/ 250 h 808"/>
                <a:gd name="T50" fmla="*/ 225 w 923"/>
                <a:gd name="T51" fmla="*/ 245 h 808"/>
                <a:gd name="T52" fmla="*/ 251 w 923"/>
                <a:gd name="T53" fmla="*/ 250 h 808"/>
                <a:gd name="T54" fmla="*/ 276 w 923"/>
                <a:gd name="T55" fmla="*/ 262 h 808"/>
                <a:gd name="T56" fmla="*/ 298 w 923"/>
                <a:gd name="T57" fmla="*/ 284 h 808"/>
                <a:gd name="T58" fmla="*/ 313 w 923"/>
                <a:gd name="T59" fmla="*/ 321 h 808"/>
                <a:gd name="T60" fmla="*/ 790 w 923"/>
                <a:gd name="T61" fmla="*/ 514 h 808"/>
                <a:gd name="T62" fmla="*/ 813 w 923"/>
                <a:gd name="T63" fmla="*/ 509 h 808"/>
                <a:gd name="T64" fmla="*/ 840 w 923"/>
                <a:gd name="T65" fmla="*/ 487 h 808"/>
                <a:gd name="T66" fmla="*/ 850 w 923"/>
                <a:gd name="T67" fmla="*/ 453 h 808"/>
                <a:gd name="T68" fmla="*/ 316 w 923"/>
                <a:gd name="T69" fmla="*/ 27 h 808"/>
                <a:gd name="T70" fmla="*/ 911 w 923"/>
                <a:gd name="T71" fmla="*/ 0 h 808"/>
                <a:gd name="T72" fmla="*/ 920 w 923"/>
                <a:gd name="T73" fmla="*/ 3 h 808"/>
                <a:gd name="T74" fmla="*/ 923 w 923"/>
                <a:gd name="T75" fmla="*/ 13 h 808"/>
                <a:gd name="T76" fmla="*/ 916 w 923"/>
                <a:gd name="T77" fmla="*/ 25 h 808"/>
                <a:gd name="T78" fmla="*/ 877 w 923"/>
                <a:gd name="T79" fmla="*/ 453 h 808"/>
                <a:gd name="T80" fmla="*/ 871 w 923"/>
                <a:gd name="T81" fmla="*/ 487 h 808"/>
                <a:gd name="T82" fmla="*/ 839 w 923"/>
                <a:gd name="T83" fmla="*/ 525 h 808"/>
                <a:gd name="T84" fmla="*/ 790 w 923"/>
                <a:gd name="T85" fmla="*/ 541 h 808"/>
                <a:gd name="T86" fmla="*/ 308 w 923"/>
                <a:gd name="T87" fmla="*/ 547 h 808"/>
                <a:gd name="T88" fmla="*/ 298 w 923"/>
                <a:gd name="T89" fmla="*/ 564 h 808"/>
                <a:gd name="T90" fmla="*/ 276 w 923"/>
                <a:gd name="T91" fmla="*/ 586 h 808"/>
                <a:gd name="T92" fmla="*/ 244 w 923"/>
                <a:gd name="T93" fmla="*/ 602 h 8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923" h="808">
                  <a:moveTo>
                    <a:pt x="217" y="808"/>
                  </a:moveTo>
                  <a:lnTo>
                    <a:pt x="217" y="576"/>
                  </a:lnTo>
                  <a:lnTo>
                    <a:pt x="225" y="576"/>
                  </a:lnTo>
                  <a:lnTo>
                    <a:pt x="225" y="576"/>
                  </a:lnTo>
                  <a:lnTo>
                    <a:pt x="239" y="574"/>
                  </a:lnTo>
                  <a:lnTo>
                    <a:pt x="252" y="569"/>
                  </a:lnTo>
                  <a:lnTo>
                    <a:pt x="252" y="569"/>
                  </a:lnTo>
                  <a:lnTo>
                    <a:pt x="261" y="564"/>
                  </a:lnTo>
                  <a:lnTo>
                    <a:pt x="266" y="559"/>
                  </a:lnTo>
                  <a:lnTo>
                    <a:pt x="266" y="559"/>
                  </a:lnTo>
                  <a:lnTo>
                    <a:pt x="276" y="549"/>
                  </a:lnTo>
                  <a:lnTo>
                    <a:pt x="281" y="539"/>
                  </a:lnTo>
                  <a:lnTo>
                    <a:pt x="286" y="527"/>
                  </a:lnTo>
                  <a:lnTo>
                    <a:pt x="288" y="514"/>
                  </a:lnTo>
                  <a:lnTo>
                    <a:pt x="288" y="335"/>
                  </a:lnTo>
                  <a:lnTo>
                    <a:pt x="288" y="335"/>
                  </a:lnTo>
                  <a:lnTo>
                    <a:pt x="286" y="323"/>
                  </a:lnTo>
                  <a:lnTo>
                    <a:pt x="283" y="311"/>
                  </a:lnTo>
                  <a:lnTo>
                    <a:pt x="276" y="299"/>
                  </a:lnTo>
                  <a:lnTo>
                    <a:pt x="269" y="291"/>
                  </a:lnTo>
                  <a:lnTo>
                    <a:pt x="259" y="284"/>
                  </a:lnTo>
                  <a:lnTo>
                    <a:pt x="249" y="277"/>
                  </a:lnTo>
                  <a:lnTo>
                    <a:pt x="237" y="274"/>
                  </a:lnTo>
                  <a:lnTo>
                    <a:pt x="225" y="272"/>
                  </a:lnTo>
                  <a:lnTo>
                    <a:pt x="88" y="272"/>
                  </a:lnTo>
                  <a:lnTo>
                    <a:pt x="88" y="272"/>
                  </a:lnTo>
                  <a:lnTo>
                    <a:pt x="76" y="274"/>
                  </a:lnTo>
                  <a:lnTo>
                    <a:pt x="65" y="277"/>
                  </a:lnTo>
                  <a:lnTo>
                    <a:pt x="55" y="284"/>
                  </a:lnTo>
                  <a:lnTo>
                    <a:pt x="44" y="291"/>
                  </a:lnTo>
                  <a:lnTo>
                    <a:pt x="38" y="299"/>
                  </a:lnTo>
                  <a:lnTo>
                    <a:pt x="33" y="311"/>
                  </a:lnTo>
                  <a:lnTo>
                    <a:pt x="27" y="323"/>
                  </a:lnTo>
                  <a:lnTo>
                    <a:pt x="27" y="335"/>
                  </a:lnTo>
                  <a:lnTo>
                    <a:pt x="27" y="514"/>
                  </a:lnTo>
                  <a:lnTo>
                    <a:pt x="27" y="514"/>
                  </a:lnTo>
                  <a:lnTo>
                    <a:pt x="27" y="522"/>
                  </a:lnTo>
                  <a:lnTo>
                    <a:pt x="29" y="531"/>
                  </a:lnTo>
                  <a:lnTo>
                    <a:pt x="33" y="539"/>
                  </a:lnTo>
                  <a:lnTo>
                    <a:pt x="36" y="546"/>
                  </a:lnTo>
                  <a:lnTo>
                    <a:pt x="41" y="553"/>
                  </a:lnTo>
                  <a:lnTo>
                    <a:pt x="46" y="559"/>
                  </a:lnTo>
                  <a:lnTo>
                    <a:pt x="53" y="564"/>
                  </a:lnTo>
                  <a:lnTo>
                    <a:pt x="61" y="569"/>
                  </a:lnTo>
                  <a:lnTo>
                    <a:pt x="61" y="569"/>
                  </a:lnTo>
                  <a:lnTo>
                    <a:pt x="75" y="574"/>
                  </a:lnTo>
                  <a:lnTo>
                    <a:pt x="88" y="576"/>
                  </a:lnTo>
                  <a:lnTo>
                    <a:pt x="97" y="576"/>
                  </a:lnTo>
                  <a:lnTo>
                    <a:pt x="97" y="808"/>
                  </a:lnTo>
                  <a:lnTo>
                    <a:pt x="70" y="808"/>
                  </a:lnTo>
                  <a:lnTo>
                    <a:pt x="70" y="602"/>
                  </a:lnTo>
                  <a:lnTo>
                    <a:pt x="63" y="598"/>
                  </a:lnTo>
                  <a:lnTo>
                    <a:pt x="63" y="598"/>
                  </a:lnTo>
                  <a:lnTo>
                    <a:pt x="49" y="593"/>
                  </a:lnTo>
                  <a:lnTo>
                    <a:pt x="39" y="586"/>
                  </a:lnTo>
                  <a:lnTo>
                    <a:pt x="39" y="586"/>
                  </a:lnTo>
                  <a:lnTo>
                    <a:pt x="26" y="576"/>
                  </a:lnTo>
                  <a:lnTo>
                    <a:pt x="16" y="564"/>
                  </a:lnTo>
                  <a:lnTo>
                    <a:pt x="16" y="564"/>
                  </a:lnTo>
                  <a:lnTo>
                    <a:pt x="9" y="553"/>
                  </a:lnTo>
                  <a:lnTo>
                    <a:pt x="4" y="541"/>
                  </a:lnTo>
                  <a:lnTo>
                    <a:pt x="0" y="527"/>
                  </a:lnTo>
                  <a:lnTo>
                    <a:pt x="0" y="514"/>
                  </a:lnTo>
                  <a:lnTo>
                    <a:pt x="0" y="335"/>
                  </a:lnTo>
                  <a:lnTo>
                    <a:pt x="0" y="335"/>
                  </a:lnTo>
                  <a:lnTo>
                    <a:pt x="0" y="321"/>
                  </a:lnTo>
                  <a:lnTo>
                    <a:pt x="4" y="307"/>
                  </a:lnTo>
                  <a:lnTo>
                    <a:pt x="9" y="296"/>
                  </a:lnTo>
                  <a:lnTo>
                    <a:pt x="16" y="284"/>
                  </a:lnTo>
                  <a:lnTo>
                    <a:pt x="16" y="284"/>
                  </a:lnTo>
                  <a:lnTo>
                    <a:pt x="26" y="272"/>
                  </a:lnTo>
                  <a:lnTo>
                    <a:pt x="39" y="262"/>
                  </a:lnTo>
                  <a:lnTo>
                    <a:pt x="39" y="262"/>
                  </a:lnTo>
                  <a:lnTo>
                    <a:pt x="49" y="255"/>
                  </a:lnTo>
                  <a:lnTo>
                    <a:pt x="63" y="250"/>
                  </a:lnTo>
                  <a:lnTo>
                    <a:pt x="75" y="247"/>
                  </a:lnTo>
                  <a:lnTo>
                    <a:pt x="88" y="245"/>
                  </a:lnTo>
                  <a:lnTo>
                    <a:pt x="225" y="245"/>
                  </a:lnTo>
                  <a:lnTo>
                    <a:pt x="225" y="245"/>
                  </a:lnTo>
                  <a:lnTo>
                    <a:pt x="239" y="247"/>
                  </a:lnTo>
                  <a:lnTo>
                    <a:pt x="251" y="250"/>
                  </a:lnTo>
                  <a:lnTo>
                    <a:pt x="264" y="255"/>
                  </a:lnTo>
                  <a:lnTo>
                    <a:pt x="276" y="262"/>
                  </a:lnTo>
                  <a:lnTo>
                    <a:pt x="276" y="262"/>
                  </a:lnTo>
                  <a:lnTo>
                    <a:pt x="288" y="272"/>
                  </a:lnTo>
                  <a:lnTo>
                    <a:pt x="298" y="284"/>
                  </a:lnTo>
                  <a:lnTo>
                    <a:pt x="298" y="284"/>
                  </a:lnTo>
                  <a:lnTo>
                    <a:pt x="305" y="296"/>
                  </a:lnTo>
                  <a:lnTo>
                    <a:pt x="310" y="307"/>
                  </a:lnTo>
                  <a:lnTo>
                    <a:pt x="313" y="321"/>
                  </a:lnTo>
                  <a:lnTo>
                    <a:pt x="313" y="335"/>
                  </a:lnTo>
                  <a:lnTo>
                    <a:pt x="313" y="514"/>
                  </a:lnTo>
                  <a:lnTo>
                    <a:pt x="790" y="514"/>
                  </a:lnTo>
                  <a:lnTo>
                    <a:pt x="790" y="514"/>
                  </a:lnTo>
                  <a:lnTo>
                    <a:pt x="803" y="512"/>
                  </a:lnTo>
                  <a:lnTo>
                    <a:pt x="813" y="509"/>
                  </a:lnTo>
                  <a:lnTo>
                    <a:pt x="823" y="502"/>
                  </a:lnTo>
                  <a:lnTo>
                    <a:pt x="833" y="495"/>
                  </a:lnTo>
                  <a:lnTo>
                    <a:pt x="840" y="487"/>
                  </a:lnTo>
                  <a:lnTo>
                    <a:pt x="845" y="476"/>
                  </a:lnTo>
                  <a:lnTo>
                    <a:pt x="850" y="465"/>
                  </a:lnTo>
                  <a:lnTo>
                    <a:pt x="850" y="453"/>
                  </a:lnTo>
                  <a:lnTo>
                    <a:pt x="850" y="27"/>
                  </a:lnTo>
                  <a:lnTo>
                    <a:pt x="316" y="27"/>
                  </a:lnTo>
                  <a:lnTo>
                    <a:pt x="316" y="27"/>
                  </a:lnTo>
                  <a:lnTo>
                    <a:pt x="311" y="13"/>
                  </a:lnTo>
                  <a:lnTo>
                    <a:pt x="305" y="0"/>
                  </a:lnTo>
                  <a:lnTo>
                    <a:pt x="911" y="0"/>
                  </a:lnTo>
                  <a:lnTo>
                    <a:pt x="911" y="0"/>
                  </a:lnTo>
                  <a:lnTo>
                    <a:pt x="916" y="2"/>
                  </a:lnTo>
                  <a:lnTo>
                    <a:pt x="920" y="3"/>
                  </a:lnTo>
                  <a:lnTo>
                    <a:pt x="923" y="8"/>
                  </a:lnTo>
                  <a:lnTo>
                    <a:pt x="923" y="13"/>
                  </a:lnTo>
                  <a:lnTo>
                    <a:pt x="923" y="13"/>
                  </a:lnTo>
                  <a:lnTo>
                    <a:pt x="923" y="18"/>
                  </a:lnTo>
                  <a:lnTo>
                    <a:pt x="920" y="24"/>
                  </a:lnTo>
                  <a:lnTo>
                    <a:pt x="916" y="25"/>
                  </a:lnTo>
                  <a:lnTo>
                    <a:pt x="911" y="27"/>
                  </a:lnTo>
                  <a:lnTo>
                    <a:pt x="877" y="27"/>
                  </a:lnTo>
                  <a:lnTo>
                    <a:pt x="877" y="453"/>
                  </a:lnTo>
                  <a:lnTo>
                    <a:pt x="877" y="453"/>
                  </a:lnTo>
                  <a:lnTo>
                    <a:pt x="876" y="470"/>
                  </a:lnTo>
                  <a:lnTo>
                    <a:pt x="871" y="487"/>
                  </a:lnTo>
                  <a:lnTo>
                    <a:pt x="862" y="502"/>
                  </a:lnTo>
                  <a:lnTo>
                    <a:pt x="852" y="514"/>
                  </a:lnTo>
                  <a:lnTo>
                    <a:pt x="839" y="525"/>
                  </a:lnTo>
                  <a:lnTo>
                    <a:pt x="823" y="532"/>
                  </a:lnTo>
                  <a:lnTo>
                    <a:pt x="808" y="537"/>
                  </a:lnTo>
                  <a:lnTo>
                    <a:pt x="790" y="541"/>
                  </a:lnTo>
                  <a:lnTo>
                    <a:pt x="310" y="541"/>
                  </a:lnTo>
                  <a:lnTo>
                    <a:pt x="308" y="547"/>
                  </a:lnTo>
                  <a:lnTo>
                    <a:pt x="308" y="547"/>
                  </a:lnTo>
                  <a:lnTo>
                    <a:pt x="303" y="556"/>
                  </a:lnTo>
                  <a:lnTo>
                    <a:pt x="298" y="564"/>
                  </a:lnTo>
                  <a:lnTo>
                    <a:pt x="298" y="564"/>
                  </a:lnTo>
                  <a:lnTo>
                    <a:pt x="288" y="576"/>
                  </a:lnTo>
                  <a:lnTo>
                    <a:pt x="276" y="586"/>
                  </a:lnTo>
                  <a:lnTo>
                    <a:pt x="276" y="586"/>
                  </a:lnTo>
                  <a:lnTo>
                    <a:pt x="264" y="593"/>
                  </a:lnTo>
                  <a:lnTo>
                    <a:pt x="252" y="598"/>
                  </a:lnTo>
                  <a:lnTo>
                    <a:pt x="244" y="602"/>
                  </a:lnTo>
                  <a:lnTo>
                    <a:pt x="244" y="808"/>
                  </a:lnTo>
                  <a:lnTo>
                    <a:pt x="217" y="80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51"/>
            <p:cNvSpPr>
              <a:spLocks noEditPoints="1"/>
            </p:cNvSpPr>
            <p:nvPr/>
          </p:nvSpPr>
          <p:spPr bwMode="auto">
            <a:xfrm>
              <a:off x="3884613" y="458788"/>
              <a:ext cx="161925" cy="161925"/>
            </a:xfrm>
            <a:custGeom>
              <a:avLst/>
              <a:gdLst>
                <a:gd name="T0" fmla="*/ 103 w 204"/>
                <a:gd name="T1" fmla="*/ 204 h 204"/>
                <a:gd name="T2" fmla="*/ 81 w 204"/>
                <a:gd name="T3" fmla="*/ 201 h 204"/>
                <a:gd name="T4" fmla="*/ 45 w 204"/>
                <a:gd name="T5" fmla="*/ 186 h 204"/>
                <a:gd name="T6" fmla="*/ 18 w 204"/>
                <a:gd name="T7" fmla="*/ 159 h 204"/>
                <a:gd name="T8" fmla="*/ 3 w 204"/>
                <a:gd name="T9" fmla="*/ 123 h 204"/>
                <a:gd name="T10" fmla="*/ 0 w 204"/>
                <a:gd name="T11" fmla="*/ 101 h 204"/>
                <a:gd name="T12" fmla="*/ 1 w 204"/>
                <a:gd name="T13" fmla="*/ 91 h 204"/>
                <a:gd name="T14" fmla="*/ 8 w 204"/>
                <a:gd name="T15" fmla="*/ 62 h 204"/>
                <a:gd name="T16" fmla="*/ 30 w 204"/>
                <a:gd name="T17" fmla="*/ 30 h 204"/>
                <a:gd name="T18" fmla="*/ 62 w 204"/>
                <a:gd name="T19" fmla="*/ 8 h 204"/>
                <a:gd name="T20" fmla="*/ 91 w 204"/>
                <a:gd name="T21" fmla="*/ 2 h 204"/>
                <a:gd name="T22" fmla="*/ 103 w 204"/>
                <a:gd name="T23" fmla="*/ 0 h 204"/>
                <a:gd name="T24" fmla="*/ 123 w 204"/>
                <a:gd name="T25" fmla="*/ 2 h 204"/>
                <a:gd name="T26" fmla="*/ 158 w 204"/>
                <a:gd name="T27" fmla="*/ 19 h 204"/>
                <a:gd name="T28" fmla="*/ 185 w 204"/>
                <a:gd name="T29" fmla="*/ 46 h 204"/>
                <a:gd name="T30" fmla="*/ 202 w 204"/>
                <a:gd name="T31" fmla="*/ 81 h 204"/>
                <a:gd name="T32" fmla="*/ 204 w 204"/>
                <a:gd name="T33" fmla="*/ 101 h 204"/>
                <a:gd name="T34" fmla="*/ 202 w 204"/>
                <a:gd name="T35" fmla="*/ 113 h 204"/>
                <a:gd name="T36" fmla="*/ 196 w 204"/>
                <a:gd name="T37" fmla="*/ 142 h 204"/>
                <a:gd name="T38" fmla="*/ 174 w 204"/>
                <a:gd name="T39" fmla="*/ 174 h 204"/>
                <a:gd name="T40" fmla="*/ 141 w 204"/>
                <a:gd name="T41" fmla="*/ 196 h 204"/>
                <a:gd name="T42" fmla="*/ 113 w 204"/>
                <a:gd name="T43" fmla="*/ 203 h 204"/>
                <a:gd name="T44" fmla="*/ 103 w 204"/>
                <a:gd name="T45" fmla="*/ 204 h 204"/>
                <a:gd name="T46" fmla="*/ 103 w 204"/>
                <a:gd name="T47" fmla="*/ 27 h 204"/>
                <a:gd name="T48" fmla="*/ 72 w 204"/>
                <a:gd name="T49" fmla="*/ 34 h 204"/>
                <a:gd name="T50" fmla="*/ 49 w 204"/>
                <a:gd name="T51" fmla="*/ 49 h 204"/>
                <a:gd name="T52" fmla="*/ 33 w 204"/>
                <a:gd name="T53" fmla="*/ 73 h 204"/>
                <a:gd name="T54" fmla="*/ 27 w 204"/>
                <a:gd name="T55" fmla="*/ 101 h 204"/>
                <a:gd name="T56" fmla="*/ 28 w 204"/>
                <a:gd name="T57" fmla="*/ 117 h 204"/>
                <a:gd name="T58" fmla="*/ 40 w 204"/>
                <a:gd name="T59" fmla="*/ 144 h 204"/>
                <a:gd name="T60" fmla="*/ 60 w 204"/>
                <a:gd name="T61" fmla="*/ 164 h 204"/>
                <a:gd name="T62" fmla="*/ 87 w 204"/>
                <a:gd name="T63" fmla="*/ 176 h 204"/>
                <a:gd name="T64" fmla="*/ 103 w 204"/>
                <a:gd name="T65" fmla="*/ 177 h 204"/>
                <a:gd name="T66" fmla="*/ 131 w 204"/>
                <a:gd name="T67" fmla="*/ 171 h 204"/>
                <a:gd name="T68" fmla="*/ 155 w 204"/>
                <a:gd name="T69" fmla="*/ 155 h 204"/>
                <a:gd name="T70" fmla="*/ 170 w 204"/>
                <a:gd name="T71" fmla="*/ 132 h 204"/>
                <a:gd name="T72" fmla="*/ 177 w 204"/>
                <a:gd name="T73" fmla="*/ 101 h 204"/>
                <a:gd name="T74" fmla="*/ 175 w 204"/>
                <a:gd name="T75" fmla="*/ 88 h 204"/>
                <a:gd name="T76" fmla="*/ 163 w 204"/>
                <a:gd name="T77" fmla="*/ 61 h 204"/>
                <a:gd name="T78" fmla="*/ 143 w 204"/>
                <a:gd name="T79" fmla="*/ 40 h 204"/>
                <a:gd name="T80" fmla="*/ 118 w 204"/>
                <a:gd name="T81" fmla="*/ 29 h 204"/>
                <a:gd name="T82" fmla="*/ 103 w 204"/>
                <a:gd name="T83" fmla="*/ 27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04" h="204">
                  <a:moveTo>
                    <a:pt x="103" y="204"/>
                  </a:moveTo>
                  <a:lnTo>
                    <a:pt x="103" y="204"/>
                  </a:lnTo>
                  <a:lnTo>
                    <a:pt x="91" y="203"/>
                  </a:lnTo>
                  <a:lnTo>
                    <a:pt x="81" y="201"/>
                  </a:lnTo>
                  <a:lnTo>
                    <a:pt x="62" y="196"/>
                  </a:lnTo>
                  <a:lnTo>
                    <a:pt x="45" y="186"/>
                  </a:lnTo>
                  <a:lnTo>
                    <a:pt x="30" y="174"/>
                  </a:lnTo>
                  <a:lnTo>
                    <a:pt x="18" y="159"/>
                  </a:lnTo>
                  <a:lnTo>
                    <a:pt x="8" y="142"/>
                  </a:lnTo>
                  <a:lnTo>
                    <a:pt x="3" y="123"/>
                  </a:lnTo>
                  <a:lnTo>
                    <a:pt x="1" y="113"/>
                  </a:lnTo>
                  <a:lnTo>
                    <a:pt x="0" y="101"/>
                  </a:lnTo>
                  <a:lnTo>
                    <a:pt x="0" y="101"/>
                  </a:lnTo>
                  <a:lnTo>
                    <a:pt x="1" y="91"/>
                  </a:lnTo>
                  <a:lnTo>
                    <a:pt x="3" y="81"/>
                  </a:lnTo>
                  <a:lnTo>
                    <a:pt x="8" y="62"/>
                  </a:lnTo>
                  <a:lnTo>
                    <a:pt x="18" y="46"/>
                  </a:lnTo>
                  <a:lnTo>
                    <a:pt x="30" y="30"/>
                  </a:lnTo>
                  <a:lnTo>
                    <a:pt x="45" y="19"/>
                  </a:lnTo>
                  <a:lnTo>
                    <a:pt x="62" y="8"/>
                  </a:lnTo>
                  <a:lnTo>
                    <a:pt x="81" y="2"/>
                  </a:lnTo>
                  <a:lnTo>
                    <a:pt x="91" y="2"/>
                  </a:lnTo>
                  <a:lnTo>
                    <a:pt x="103" y="0"/>
                  </a:lnTo>
                  <a:lnTo>
                    <a:pt x="103" y="0"/>
                  </a:lnTo>
                  <a:lnTo>
                    <a:pt x="113" y="2"/>
                  </a:lnTo>
                  <a:lnTo>
                    <a:pt x="123" y="2"/>
                  </a:lnTo>
                  <a:lnTo>
                    <a:pt x="141" y="8"/>
                  </a:lnTo>
                  <a:lnTo>
                    <a:pt x="158" y="19"/>
                  </a:lnTo>
                  <a:lnTo>
                    <a:pt x="174" y="30"/>
                  </a:lnTo>
                  <a:lnTo>
                    <a:pt x="185" y="46"/>
                  </a:lnTo>
                  <a:lnTo>
                    <a:pt x="196" y="62"/>
                  </a:lnTo>
                  <a:lnTo>
                    <a:pt x="202" y="81"/>
                  </a:lnTo>
                  <a:lnTo>
                    <a:pt x="202" y="91"/>
                  </a:lnTo>
                  <a:lnTo>
                    <a:pt x="204" y="101"/>
                  </a:lnTo>
                  <a:lnTo>
                    <a:pt x="204" y="101"/>
                  </a:lnTo>
                  <a:lnTo>
                    <a:pt x="202" y="113"/>
                  </a:lnTo>
                  <a:lnTo>
                    <a:pt x="202" y="123"/>
                  </a:lnTo>
                  <a:lnTo>
                    <a:pt x="196" y="142"/>
                  </a:lnTo>
                  <a:lnTo>
                    <a:pt x="185" y="159"/>
                  </a:lnTo>
                  <a:lnTo>
                    <a:pt x="174" y="174"/>
                  </a:lnTo>
                  <a:lnTo>
                    <a:pt x="158" y="186"/>
                  </a:lnTo>
                  <a:lnTo>
                    <a:pt x="141" y="196"/>
                  </a:lnTo>
                  <a:lnTo>
                    <a:pt x="123" y="201"/>
                  </a:lnTo>
                  <a:lnTo>
                    <a:pt x="113" y="203"/>
                  </a:lnTo>
                  <a:lnTo>
                    <a:pt x="103" y="204"/>
                  </a:lnTo>
                  <a:lnTo>
                    <a:pt x="103" y="204"/>
                  </a:lnTo>
                  <a:close/>
                  <a:moveTo>
                    <a:pt x="103" y="27"/>
                  </a:moveTo>
                  <a:lnTo>
                    <a:pt x="103" y="27"/>
                  </a:lnTo>
                  <a:lnTo>
                    <a:pt x="87" y="29"/>
                  </a:lnTo>
                  <a:lnTo>
                    <a:pt x="72" y="34"/>
                  </a:lnTo>
                  <a:lnTo>
                    <a:pt x="60" y="40"/>
                  </a:lnTo>
                  <a:lnTo>
                    <a:pt x="49" y="49"/>
                  </a:lnTo>
                  <a:lnTo>
                    <a:pt x="40" y="61"/>
                  </a:lnTo>
                  <a:lnTo>
                    <a:pt x="33" y="73"/>
                  </a:lnTo>
                  <a:lnTo>
                    <a:pt x="28" y="88"/>
                  </a:lnTo>
                  <a:lnTo>
                    <a:pt x="27" y="101"/>
                  </a:lnTo>
                  <a:lnTo>
                    <a:pt x="27" y="101"/>
                  </a:lnTo>
                  <a:lnTo>
                    <a:pt x="28" y="117"/>
                  </a:lnTo>
                  <a:lnTo>
                    <a:pt x="33" y="132"/>
                  </a:lnTo>
                  <a:lnTo>
                    <a:pt x="40" y="144"/>
                  </a:lnTo>
                  <a:lnTo>
                    <a:pt x="49" y="155"/>
                  </a:lnTo>
                  <a:lnTo>
                    <a:pt x="60" y="164"/>
                  </a:lnTo>
                  <a:lnTo>
                    <a:pt x="72" y="171"/>
                  </a:lnTo>
                  <a:lnTo>
                    <a:pt x="87" y="176"/>
                  </a:lnTo>
                  <a:lnTo>
                    <a:pt x="103" y="177"/>
                  </a:lnTo>
                  <a:lnTo>
                    <a:pt x="103" y="177"/>
                  </a:lnTo>
                  <a:lnTo>
                    <a:pt x="118" y="176"/>
                  </a:lnTo>
                  <a:lnTo>
                    <a:pt x="131" y="171"/>
                  </a:lnTo>
                  <a:lnTo>
                    <a:pt x="143" y="164"/>
                  </a:lnTo>
                  <a:lnTo>
                    <a:pt x="155" y="155"/>
                  </a:lnTo>
                  <a:lnTo>
                    <a:pt x="163" y="144"/>
                  </a:lnTo>
                  <a:lnTo>
                    <a:pt x="170" y="132"/>
                  </a:lnTo>
                  <a:lnTo>
                    <a:pt x="175" y="117"/>
                  </a:lnTo>
                  <a:lnTo>
                    <a:pt x="177" y="101"/>
                  </a:lnTo>
                  <a:lnTo>
                    <a:pt x="177" y="101"/>
                  </a:lnTo>
                  <a:lnTo>
                    <a:pt x="175" y="88"/>
                  </a:lnTo>
                  <a:lnTo>
                    <a:pt x="170" y="73"/>
                  </a:lnTo>
                  <a:lnTo>
                    <a:pt x="163" y="61"/>
                  </a:lnTo>
                  <a:lnTo>
                    <a:pt x="155" y="49"/>
                  </a:lnTo>
                  <a:lnTo>
                    <a:pt x="143" y="40"/>
                  </a:lnTo>
                  <a:lnTo>
                    <a:pt x="131" y="34"/>
                  </a:lnTo>
                  <a:lnTo>
                    <a:pt x="118" y="29"/>
                  </a:lnTo>
                  <a:lnTo>
                    <a:pt x="103" y="27"/>
                  </a:lnTo>
                  <a:lnTo>
                    <a:pt x="103" y="2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cxnSp>
        <p:nvCxnSpPr>
          <p:cNvPr id="3" name="Straight Connector 2"/>
          <p:cNvCxnSpPr/>
          <p:nvPr/>
        </p:nvCxnSpPr>
        <p:spPr>
          <a:xfrm>
            <a:off x="5175473" y="4704530"/>
            <a:ext cx="3078581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ectangle 5"/>
          <p:cNvSpPr/>
          <p:nvPr/>
        </p:nvSpPr>
        <p:spPr>
          <a:xfrm>
            <a:off x="5919218" y="4704529"/>
            <a:ext cx="1540761" cy="48013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</a:pPr>
            <a:r>
              <a:rPr lang="en-US" sz="1400" dirty="0" smtClean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@SIMRS 2019</a:t>
            </a:r>
            <a:endParaRPr lang="en-US" sz="1400" dirty="0">
              <a:solidFill>
                <a:schemeClr val="bg1"/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450357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000"/>
                            </p:stCondLst>
                            <p:childTnLst>
                              <p:par>
                                <p:cTn id="15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  <p:bldP spid="6" grpId="0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2168" y="121285"/>
            <a:ext cx="10515600" cy="1325563"/>
          </a:xfrm>
        </p:spPr>
        <p:txBody>
          <a:bodyPr>
            <a:normAutofit/>
          </a:bodyPr>
          <a:lstStyle/>
          <a:p>
            <a:pPr algn="ctr"/>
            <a:r>
              <a:rPr lang="en-US" sz="3600" b="1" dirty="0">
                <a:solidFill>
                  <a:srgbClr val="FFCC00"/>
                </a:solidFill>
              </a:rPr>
              <a:t>STANDARD MINIMAL SIMRS </a:t>
            </a:r>
            <a:br>
              <a:rPr lang="en-US" sz="3600" b="1" dirty="0">
                <a:solidFill>
                  <a:srgbClr val="FFCC00"/>
                </a:solidFill>
              </a:rPr>
            </a:br>
            <a:r>
              <a:rPr lang="en-US" sz="2400" b="1" dirty="0">
                <a:solidFill>
                  <a:srgbClr val="FFCC00"/>
                </a:solidFill>
              </a:rPr>
              <a:t>DITJEN PELAYANAN MEDIK</a:t>
            </a:r>
            <a:endParaRPr lang="en-AU" sz="240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501139"/>
            <a:ext cx="5157787" cy="600075"/>
          </a:xfrm>
        </p:spPr>
        <p:txBody>
          <a:bodyPr/>
          <a:lstStyle/>
          <a:p>
            <a:r>
              <a:rPr lang="en-AU" dirty="0"/>
              <a:t>FRONT </a:t>
            </a:r>
            <a:r>
              <a:rPr lang="en-AU" dirty="0" smtClean="0"/>
              <a:t>OFFICE</a:t>
            </a:r>
            <a:endParaRPr lang="en-AU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148840"/>
            <a:ext cx="5157787" cy="4114800"/>
          </a:xfrm>
          <a:ln>
            <a:gradFill>
              <a:gsLst>
                <a:gs pos="0">
                  <a:srgbClr val="FFC000"/>
                </a:gs>
                <a:gs pos="50000">
                  <a:schemeClr val="accent1">
                    <a:tint val="44500"/>
                    <a:satMod val="160000"/>
                  </a:schemeClr>
                </a:gs>
                <a:gs pos="100000">
                  <a:schemeClr val="accent1">
                    <a:tint val="23500"/>
                    <a:satMod val="160000"/>
                  </a:schemeClr>
                </a:gs>
              </a:gsLst>
              <a:lin ang="5400000" scaled="0"/>
            </a:gradFill>
          </a:ln>
        </p:spPr>
        <p:txBody>
          <a:bodyPr>
            <a:normAutofit fontScale="85000" lnSpcReduction="20000"/>
          </a:bodyPr>
          <a:lstStyle/>
          <a:p>
            <a:pPr marL="0" indent="0">
              <a:lnSpc>
                <a:spcPct val="80000"/>
              </a:lnSpc>
              <a:buNone/>
            </a:pPr>
            <a:endParaRPr lang="en-US" sz="2400" b="1" dirty="0" smtClean="0"/>
          </a:p>
          <a:p>
            <a:pPr marL="0" indent="0">
              <a:lnSpc>
                <a:spcPct val="80000"/>
              </a:lnSpc>
              <a:buNone/>
            </a:pPr>
            <a:r>
              <a:rPr lang="en-US" sz="2400" b="1" dirty="0" smtClean="0"/>
              <a:t>1. KAMAR </a:t>
            </a:r>
            <a:r>
              <a:rPr lang="en-US" sz="2400" b="1" dirty="0"/>
              <a:t>OPERASI</a:t>
            </a:r>
          </a:p>
          <a:p>
            <a:pPr marL="1257300" lvl="1" indent="-533400">
              <a:lnSpc>
                <a:spcPct val="80000"/>
              </a:lnSpc>
            </a:pPr>
            <a:r>
              <a:rPr lang="en-US" sz="2000" dirty="0"/>
              <a:t>Form </a:t>
            </a:r>
            <a:r>
              <a:rPr lang="en-US" sz="2000" dirty="0" err="1" smtClean="0"/>
              <a:t>Laporan</a:t>
            </a:r>
            <a:r>
              <a:rPr lang="en-US" sz="2000" dirty="0" smtClean="0"/>
              <a:t> </a:t>
            </a:r>
            <a:r>
              <a:rPr lang="en-US" sz="2000" dirty="0" err="1"/>
              <a:t>Operasi</a:t>
            </a:r>
            <a:endParaRPr lang="en-US" sz="2000" dirty="0"/>
          </a:p>
          <a:p>
            <a:pPr marL="1257300" lvl="1" indent="-533400">
              <a:lnSpc>
                <a:spcPct val="80000"/>
              </a:lnSpc>
              <a:buNone/>
            </a:pPr>
            <a:endParaRPr lang="en-US" sz="2000" dirty="0"/>
          </a:p>
          <a:p>
            <a:pPr marL="0" indent="0">
              <a:lnSpc>
                <a:spcPct val="80000"/>
              </a:lnSpc>
              <a:buNone/>
            </a:pPr>
            <a:r>
              <a:rPr lang="en-US" sz="2400" b="1" dirty="0" smtClean="0"/>
              <a:t>2. MASTER </a:t>
            </a:r>
            <a:r>
              <a:rPr lang="en-US" sz="2400" b="1" dirty="0"/>
              <a:t>DATABASE</a:t>
            </a:r>
          </a:p>
          <a:p>
            <a:pPr marL="1257300" lvl="1" indent="-533400">
              <a:lnSpc>
                <a:spcPct val="80000"/>
              </a:lnSpc>
            </a:pPr>
            <a:r>
              <a:rPr lang="en-US" sz="2000" dirty="0"/>
              <a:t>Form Master Wilayah</a:t>
            </a:r>
          </a:p>
          <a:p>
            <a:pPr marL="1257300" lvl="1" indent="-533400">
              <a:lnSpc>
                <a:spcPct val="80000"/>
              </a:lnSpc>
            </a:pPr>
            <a:r>
              <a:rPr lang="en-US" sz="2000" dirty="0"/>
              <a:t>Form Master </a:t>
            </a:r>
            <a:r>
              <a:rPr lang="en-US" sz="2000" dirty="0" err="1"/>
              <a:t>Klinik</a:t>
            </a:r>
            <a:endParaRPr lang="en-US" sz="2000" dirty="0"/>
          </a:p>
          <a:p>
            <a:pPr marL="1257300" lvl="1" indent="-533400">
              <a:lnSpc>
                <a:spcPct val="80000"/>
              </a:lnSpc>
            </a:pPr>
            <a:r>
              <a:rPr lang="en-US" sz="2000" dirty="0"/>
              <a:t>Form Master </a:t>
            </a:r>
            <a:r>
              <a:rPr lang="en-US" sz="2000" dirty="0" err="1"/>
              <a:t>Tarif</a:t>
            </a:r>
            <a:r>
              <a:rPr lang="en-US" sz="2000" dirty="0"/>
              <a:t> </a:t>
            </a:r>
            <a:r>
              <a:rPr lang="en-US" sz="2000" dirty="0" err="1"/>
              <a:t>Kunj</a:t>
            </a:r>
            <a:endParaRPr lang="en-US" sz="2000" dirty="0"/>
          </a:p>
          <a:p>
            <a:pPr marL="1257300" lvl="1" indent="-533400">
              <a:lnSpc>
                <a:spcPct val="80000"/>
              </a:lnSpc>
            </a:pPr>
            <a:r>
              <a:rPr lang="en-US" sz="2000" dirty="0"/>
              <a:t>Form Master </a:t>
            </a:r>
            <a:r>
              <a:rPr lang="en-US" sz="2000" dirty="0" err="1"/>
              <a:t>Tarif</a:t>
            </a:r>
            <a:r>
              <a:rPr lang="en-US" sz="2000" dirty="0"/>
              <a:t> </a:t>
            </a:r>
            <a:r>
              <a:rPr lang="en-US" sz="2000" dirty="0" err="1"/>
              <a:t>Tindakan</a:t>
            </a:r>
            <a:endParaRPr lang="en-US" sz="2000" dirty="0"/>
          </a:p>
          <a:p>
            <a:pPr marL="1257300" lvl="1" indent="-533400">
              <a:lnSpc>
                <a:spcPct val="80000"/>
              </a:lnSpc>
            </a:pPr>
            <a:r>
              <a:rPr lang="en-US" sz="2000" dirty="0"/>
              <a:t>Form Master </a:t>
            </a:r>
            <a:r>
              <a:rPr lang="en-US" sz="2000" dirty="0" err="1"/>
              <a:t>Kelas</a:t>
            </a:r>
            <a:endParaRPr lang="en-US" sz="2000" dirty="0"/>
          </a:p>
          <a:p>
            <a:pPr marL="1257300" lvl="1" indent="-533400">
              <a:lnSpc>
                <a:spcPct val="80000"/>
              </a:lnSpc>
            </a:pPr>
            <a:r>
              <a:rPr lang="en-US" sz="2000" dirty="0"/>
              <a:t>Form Master </a:t>
            </a:r>
            <a:r>
              <a:rPr lang="en-US" sz="2000" dirty="0" err="1"/>
              <a:t>Golongan</a:t>
            </a:r>
            <a:r>
              <a:rPr lang="en-US" sz="2000" dirty="0"/>
              <a:t> </a:t>
            </a:r>
            <a:r>
              <a:rPr lang="en-US" sz="2000" dirty="0" err="1"/>
              <a:t>Obat</a:t>
            </a:r>
            <a:endParaRPr lang="en-US" sz="2000" dirty="0"/>
          </a:p>
          <a:p>
            <a:pPr marL="1257300" lvl="1" indent="-533400">
              <a:lnSpc>
                <a:spcPct val="80000"/>
              </a:lnSpc>
            </a:pPr>
            <a:r>
              <a:rPr lang="en-US" sz="2000" dirty="0"/>
              <a:t>Form Master </a:t>
            </a:r>
            <a:r>
              <a:rPr lang="en-US" sz="2000" dirty="0" err="1"/>
              <a:t>Nama</a:t>
            </a:r>
            <a:r>
              <a:rPr lang="en-US" sz="2000" dirty="0"/>
              <a:t> </a:t>
            </a:r>
            <a:r>
              <a:rPr lang="en-US" sz="2000" dirty="0" err="1"/>
              <a:t>Obat</a:t>
            </a:r>
            <a:endParaRPr lang="en-US" sz="2000" dirty="0"/>
          </a:p>
          <a:p>
            <a:pPr marL="1257300" lvl="1" indent="-533400">
              <a:lnSpc>
                <a:spcPct val="80000"/>
              </a:lnSpc>
            </a:pPr>
            <a:r>
              <a:rPr lang="en-US" sz="2000" dirty="0"/>
              <a:t>Form Master </a:t>
            </a:r>
            <a:r>
              <a:rPr lang="en-US" sz="2000" dirty="0" err="1"/>
              <a:t>Kode</a:t>
            </a:r>
            <a:r>
              <a:rPr lang="en-US" sz="2000" dirty="0"/>
              <a:t> </a:t>
            </a:r>
            <a:r>
              <a:rPr lang="en-US" sz="2000" dirty="0" err="1"/>
              <a:t>Tindakan</a:t>
            </a:r>
            <a:endParaRPr lang="en-US" sz="2000" dirty="0"/>
          </a:p>
          <a:p>
            <a:pPr marL="1257300" lvl="1" indent="-533400">
              <a:lnSpc>
                <a:spcPct val="80000"/>
              </a:lnSpc>
            </a:pPr>
            <a:r>
              <a:rPr lang="en-US" sz="2000" dirty="0"/>
              <a:t>Form Master </a:t>
            </a:r>
            <a:r>
              <a:rPr lang="en-US" sz="2000" dirty="0" err="1"/>
              <a:t>Tindakan</a:t>
            </a:r>
            <a:endParaRPr lang="en-US" sz="2000" dirty="0"/>
          </a:p>
          <a:p>
            <a:pPr marL="1257300" lvl="1" indent="-533400">
              <a:lnSpc>
                <a:spcPct val="80000"/>
              </a:lnSpc>
            </a:pPr>
            <a:r>
              <a:rPr lang="en-US" sz="2000" dirty="0"/>
              <a:t>Form Master </a:t>
            </a:r>
            <a:r>
              <a:rPr lang="en-US" sz="2000" dirty="0" err="1"/>
              <a:t>Kode</a:t>
            </a:r>
            <a:r>
              <a:rPr lang="en-US" sz="2000" dirty="0"/>
              <a:t> ICD</a:t>
            </a:r>
          </a:p>
          <a:p>
            <a:pPr marL="1257300" lvl="1" indent="-533400">
              <a:lnSpc>
                <a:spcPct val="80000"/>
              </a:lnSpc>
            </a:pPr>
            <a:r>
              <a:rPr lang="en-US" sz="2000" dirty="0"/>
              <a:t>Form Master </a:t>
            </a:r>
            <a:r>
              <a:rPr lang="en-US" sz="2000" dirty="0" err="1"/>
              <a:t>Penindak</a:t>
            </a:r>
            <a:endParaRPr lang="en-US" sz="2000" dirty="0"/>
          </a:p>
          <a:p>
            <a:pPr marL="1257300" lvl="1" indent="-533400">
              <a:lnSpc>
                <a:spcPct val="80000"/>
              </a:lnSpc>
            </a:pPr>
            <a:r>
              <a:rPr lang="en-US" sz="2000" dirty="0"/>
              <a:t>Form Master </a:t>
            </a:r>
            <a:r>
              <a:rPr lang="en-US" sz="2000" dirty="0" err="1"/>
              <a:t>Tarif</a:t>
            </a:r>
            <a:r>
              <a:rPr lang="en-US" sz="2000" dirty="0"/>
              <a:t> Visit</a:t>
            </a:r>
          </a:p>
          <a:p>
            <a:endParaRPr lang="en-AU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49340" y="1546859"/>
            <a:ext cx="5183188" cy="554355"/>
          </a:xfrm>
        </p:spPr>
        <p:txBody>
          <a:bodyPr/>
          <a:lstStyle/>
          <a:p>
            <a:r>
              <a:rPr lang="en-AU" dirty="0" smtClean="0"/>
              <a:t>BACK  OFFICE</a:t>
            </a:r>
            <a:endParaRPr lang="en-AU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125980"/>
            <a:ext cx="5183188" cy="4145280"/>
          </a:xfrm>
          <a:ln>
            <a:gradFill>
              <a:gsLst>
                <a:gs pos="0">
                  <a:srgbClr val="FFFF00"/>
                </a:gs>
                <a:gs pos="50000">
                  <a:schemeClr val="accent1">
                    <a:tint val="44500"/>
                    <a:satMod val="160000"/>
                  </a:schemeClr>
                </a:gs>
                <a:gs pos="100000">
                  <a:schemeClr val="accent1">
                    <a:tint val="23500"/>
                    <a:satMod val="160000"/>
                  </a:schemeClr>
                </a:gs>
              </a:gsLst>
              <a:lin ang="5400000" scaled="0"/>
            </a:gradFill>
          </a:ln>
        </p:spPr>
        <p:txBody>
          <a:bodyPr>
            <a:normAutofit fontScale="92500" lnSpcReduction="20000"/>
          </a:bodyPr>
          <a:lstStyle/>
          <a:p>
            <a:pPr marL="1257300" lvl="1" indent="-533400">
              <a:lnSpc>
                <a:spcPct val="80000"/>
              </a:lnSpc>
            </a:pPr>
            <a:endParaRPr lang="sv-SE" sz="1800" dirty="0" smtClean="0"/>
          </a:p>
          <a:p>
            <a:pPr marL="1257300" lvl="1" indent="-533400">
              <a:lnSpc>
                <a:spcPct val="80000"/>
              </a:lnSpc>
            </a:pPr>
            <a:r>
              <a:rPr lang="sv-SE" sz="1800" dirty="0" smtClean="0"/>
              <a:t>Data </a:t>
            </a:r>
            <a:r>
              <a:rPr lang="sv-SE" sz="1800" dirty="0"/>
              <a:t>Rekapitulasi Laporan 1 (RL1) </a:t>
            </a:r>
          </a:p>
          <a:p>
            <a:pPr marL="1257300" lvl="1" indent="-533400">
              <a:lnSpc>
                <a:spcPct val="80000"/>
              </a:lnSpc>
            </a:pPr>
            <a:r>
              <a:rPr lang="sv-SE" sz="1800" dirty="0"/>
              <a:t>Data Rekapitulasi Laporan 2 (RL2)</a:t>
            </a:r>
          </a:p>
          <a:p>
            <a:pPr marL="1257300" lvl="1" indent="-533400">
              <a:lnSpc>
                <a:spcPct val="80000"/>
              </a:lnSpc>
            </a:pPr>
            <a:r>
              <a:rPr lang="sv-SE" sz="1800" dirty="0"/>
              <a:t>Laporan Kunjungan Rawat Jalan</a:t>
            </a:r>
          </a:p>
          <a:p>
            <a:pPr marL="1257300" lvl="1" indent="-533400">
              <a:lnSpc>
                <a:spcPct val="80000"/>
              </a:lnSpc>
            </a:pPr>
            <a:r>
              <a:rPr lang="sv-SE" sz="1800" dirty="0"/>
              <a:t>Laporan Kunjungan Rawat Inap</a:t>
            </a:r>
          </a:p>
          <a:p>
            <a:pPr marL="1257300" lvl="1" indent="-533400">
              <a:lnSpc>
                <a:spcPct val="80000"/>
              </a:lnSpc>
            </a:pPr>
            <a:r>
              <a:rPr lang="sv-SE" sz="1800" dirty="0"/>
              <a:t>Laporan Kunjungan Rawat Darurat</a:t>
            </a:r>
          </a:p>
          <a:p>
            <a:pPr marL="1257300" lvl="1" indent="-533400">
              <a:lnSpc>
                <a:spcPct val="80000"/>
              </a:lnSpc>
            </a:pPr>
            <a:r>
              <a:rPr lang="sv-SE" sz="1800" dirty="0"/>
              <a:t>Laporan Kunjungan Penunjang</a:t>
            </a:r>
          </a:p>
          <a:p>
            <a:pPr marL="1257300" lvl="1" indent="-533400">
              <a:lnSpc>
                <a:spcPct val="80000"/>
              </a:lnSpc>
            </a:pPr>
            <a:r>
              <a:rPr lang="sv-SE" sz="1800" dirty="0"/>
              <a:t>Laporan Kunjungan Kamar Operasi</a:t>
            </a:r>
          </a:p>
          <a:p>
            <a:pPr marL="1257300" lvl="1" indent="-533400">
              <a:lnSpc>
                <a:spcPct val="80000"/>
              </a:lnSpc>
            </a:pPr>
            <a:r>
              <a:rPr lang="sv-SE" sz="1800" dirty="0"/>
              <a:t>Laporan Kunjungan Farmasi</a:t>
            </a:r>
          </a:p>
          <a:p>
            <a:pPr marL="1257300" lvl="1" indent="-533400">
              <a:lnSpc>
                <a:spcPct val="80000"/>
              </a:lnSpc>
            </a:pPr>
            <a:r>
              <a:rPr lang="sv-SE" sz="1800" dirty="0"/>
              <a:t>Laporan Pendapatan Rawat Jalan</a:t>
            </a:r>
          </a:p>
          <a:p>
            <a:pPr marL="1257300" lvl="1" indent="-533400">
              <a:lnSpc>
                <a:spcPct val="80000"/>
              </a:lnSpc>
            </a:pPr>
            <a:r>
              <a:rPr lang="sv-SE" sz="1800" dirty="0"/>
              <a:t>Laporan Pendapatan Rawat Inap</a:t>
            </a:r>
          </a:p>
          <a:p>
            <a:pPr marL="1257300" lvl="1" indent="-533400">
              <a:lnSpc>
                <a:spcPct val="80000"/>
              </a:lnSpc>
            </a:pPr>
            <a:r>
              <a:rPr lang="sv-SE" sz="1800" dirty="0"/>
              <a:t>Laporan Pendapatan Rawat Darurat</a:t>
            </a:r>
          </a:p>
          <a:p>
            <a:pPr marL="1257300" lvl="1" indent="-533400">
              <a:lnSpc>
                <a:spcPct val="80000"/>
              </a:lnSpc>
            </a:pPr>
            <a:r>
              <a:rPr lang="sv-SE" sz="1800" dirty="0"/>
              <a:t>Laporan Pendapatan Penunjang</a:t>
            </a:r>
          </a:p>
          <a:p>
            <a:pPr marL="1257300" lvl="1" indent="-533400">
              <a:lnSpc>
                <a:spcPct val="80000"/>
              </a:lnSpc>
            </a:pPr>
            <a:r>
              <a:rPr lang="sv-SE" sz="1800" dirty="0"/>
              <a:t>Laporan Pendapatan Kamar Operasi</a:t>
            </a:r>
          </a:p>
          <a:p>
            <a:pPr marL="1257300" lvl="1" indent="-533400">
              <a:lnSpc>
                <a:spcPct val="80000"/>
              </a:lnSpc>
            </a:pPr>
            <a:r>
              <a:rPr lang="sv-SE" sz="1800" dirty="0"/>
              <a:t>Laporan Pendapatan Farmasi</a:t>
            </a:r>
          </a:p>
          <a:p>
            <a:pPr marL="1257300" lvl="1" indent="-533400">
              <a:lnSpc>
                <a:spcPct val="80000"/>
              </a:lnSpc>
            </a:pPr>
            <a:r>
              <a:rPr lang="sv-SE" sz="1800" b="1" i="1" dirty="0"/>
              <a:t>(Back Office dapat dikembangkan lagi berdasarkan</a:t>
            </a:r>
            <a:r>
              <a:rPr lang="sv-SE" b="1" i="1" dirty="0"/>
              <a:t> </a:t>
            </a:r>
            <a:r>
              <a:rPr lang="sv-SE" sz="1600" b="1" i="1" dirty="0"/>
              <a:t>kebutuhan Rumah Sakit)</a:t>
            </a:r>
            <a:endParaRPr lang="en-US" sz="1600" b="1" i="1" dirty="0"/>
          </a:p>
          <a:p>
            <a:endParaRPr lang="en-AU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127D4A-83D3-4DC7-98F9-90950AAF487A}" type="slidenum">
              <a:rPr lang="id-ID" smtClean="0"/>
              <a:t>10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320659551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4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4">
                                            <p:bg/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4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500" fill="hold"/>
                                        <p:tgtEl>
                                          <p:spTgt spid="4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1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4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4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7" dur="500" fill="hold"/>
                                        <p:tgtEl>
                                          <p:spTgt spid="4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8" dur="500" fill="hold"/>
                                        <p:tgtEl>
                                          <p:spTgt spid="4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1" dur="500" fill="hold"/>
                                        <p:tgtEl>
                                          <p:spTgt spid="4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2" dur="500" fill="hold"/>
                                        <p:tgtEl>
                                          <p:spTgt spid="4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5" dur="500" fill="hold"/>
                                        <p:tgtEl>
                                          <p:spTgt spid="4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6" dur="500" fill="hold"/>
                                        <p:tgtEl>
                                          <p:spTgt spid="4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7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9" dur="500" fill="hold"/>
                                        <p:tgtEl>
                                          <p:spTgt spid="4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0" dur="500" fill="hold"/>
                                        <p:tgtEl>
                                          <p:spTgt spid="4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1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3" dur="500" fill="hold"/>
                                        <p:tgtEl>
                                          <p:spTgt spid="4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4" dur="500" fill="hold"/>
                                        <p:tgtEl>
                                          <p:spTgt spid="4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7" dur="500" fill="hold"/>
                                        <p:tgtEl>
                                          <p:spTgt spid="4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8" dur="500" fill="hold"/>
                                        <p:tgtEl>
                                          <p:spTgt spid="4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1" dur="500" fill="hold"/>
                                        <p:tgtEl>
                                          <p:spTgt spid="4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2" dur="500" fill="hold"/>
                                        <p:tgtEl>
                                          <p:spTgt spid="4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6" end="1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5" dur="500" fill="hold"/>
                                        <p:tgtEl>
                                          <p:spTgt spid="4">
                                            <p:txEl>
                                              <p:pRg st="16" end="1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6" dur="500" fill="hold"/>
                                        <p:tgtEl>
                                          <p:spTgt spid="4">
                                            <p:txEl>
                                              <p:pRg st="16" end="1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7" fill="hold">
                      <p:stCondLst>
                        <p:cond delay="indefinite"/>
                      </p:stCondLst>
                      <p:childTnLst>
                        <p:par>
                          <p:cTn id="78" fill="hold">
                            <p:stCondLst>
                              <p:cond delay="0"/>
                            </p:stCondLst>
                            <p:childTnLst>
                              <p:par>
                                <p:cTn id="79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1" dur="500" fill="hold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2" dur="500" fill="hold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5" dur="500" fill="hold"/>
                                        <p:tgtEl>
                                          <p:spTgt spid="6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6" dur="500" fill="hold"/>
                                        <p:tgtEl>
                                          <p:spTgt spid="6">
                                            <p:bg/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7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9" dur="500" fill="hold"/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0" dur="500" fill="hold"/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1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3" dur="500" fill="hold"/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4" dur="500" fill="hold"/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7" dur="500" fill="hold"/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8" dur="500" fill="hold"/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1" dur="500" fill="hold"/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2" dur="500" fill="hold"/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5" dur="500" fill="hold"/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6" dur="500" fill="hold"/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7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9" dur="500" fill="hold"/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0" dur="500" fill="hold"/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1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3" dur="500" fill="hold"/>
                                        <p:tgtEl>
                                          <p:spTgt spid="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4" dur="500" fill="hold"/>
                                        <p:tgtEl>
                                          <p:spTgt spid="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7" dur="500" fill="hold"/>
                                        <p:tgtEl>
                                          <p:spTgt spid="6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8" dur="500" fill="hold"/>
                                        <p:tgtEl>
                                          <p:spTgt spid="6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1" dur="500" fill="hold"/>
                                        <p:tgtEl>
                                          <p:spTgt spid="6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2" dur="500" fill="hold"/>
                                        <p:tgtEl>
                                          <p:spTgt spid="6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5" dur="500" fill="hold"/>
                                        <p:tgtEl>
                                          <p:spTgt spid="6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6" dur="500" fill="hold"/>
                                        <p:tgtEl>
                                          <p:spTgt spid="6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7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9" dur="500" fill="hold"/>
                                        <p:tgtEl>
                                          <p:spTgt spid="6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0" dur="500" fill="hold"/>
                                        <p:tgtEl>
                                          <p:spTgt spid="6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1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3" dur="500" fill="hold"/>
                                        <p:tgtEl>
                                          <p:spTgt spid="6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4" dur="500" fill="hold"/>
                                        <p:tgtEl>
                                          <p:spTgt spid="6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7" dur="500" fill="hold"/>
                                        <p:tgtEl>
                                          <p:spTgt spid="6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8" dur="500" fill="hold"/>
                                        <p:tgtEl>
                                          <p:spTgt spid="6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41" dur="500" fill="hold"/>
                                        <p:tgtEl>
                                          <p:spTgt spid="6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2" dur="500" fill="hold"/>
                                        <p:tgtEl>
                                          <p:spTgt spid="6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45" dur="500" fill="hold"/>
                                        <p:tgtEl>
                                          <p:spTgt spid="6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6" dur="500" fill="hold"/>
                                        <p:tgtEl>
                                          <p:spTgt spid="6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  <p:bldP spid="4" grpId="0" build="p" animBg="1"/>
      <p:bldP spid="5" grpId="0" build="p"/>
      <p:bldP spid="6" grpId="0" build="p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C:\Users\OKVA\Downloads\logo-kemenkes-baru-2016-1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62212" y="503222"/>
            <a:ext cx="1714480" cy="711200"/>
          </a:xfrm>
          <a:prstGeom prst="rect">
            <a:avLst/>
          </a:prstGeom>
          <a:noFill/>
        </p:spPr>
      </p:pic>
      <p:sp>
        <p:nvSpPr>
          <p:cNvPr id="10" name="Content Placeholder 4"/>
          <p:cNvSpPr txBox="1">
            <a:spLocks/>
          </p:cNvSpPr>
          <p:nvPr/>
        </p:nvSpPr>
        <p:spPr>
          <a:xfrm>
            <a:off x="4585252" y="1607820"/>
            <a:ext cx="3232868" cy="4503420"/>
          </a:xfrm>
          <a:prstGeom prst="rect">
            <a:avLst/>
          </a:prstGeom>
          <a:solidFill>
            <a:schemeClr val="tx2">
              <a:lumMod val="75000"/>
            </a:schemeClr>
          </a:solidFill>
        </p:spPr>
        <p:txBody>
          <a:bodyPr vert="horz" lIns="91440" tIns="45720" rIns="91440" bIns="45720" rtlCol="0">
            <a:no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id-ID" sz="2000" dirty="0">
                <a:solidFill>
                  <a:schemeClr val="bg1"/>
                </a:solidFill>
              </a:rPr>
              <a:t>e-Klaim </a:t>
            </a:r>
          </a:p>
          <a:p>
            <a:pPr marL="342900" indent="-342900">
              <a:buFont typeface="+mj-lt"/>
              <a:buAutoNum type="arabicPeriod"/>
            </a:pPr>
            <a:r>
              <a:rPr lang="id-ID" sz="2000" dirty="0">
                <a:solidFill>
                  <a:schemeClr val="bg1"/>
                </a:solidFill>
              </a:rPr>
              <a:t>SEP BPJS</a:t>
            </a:r>
          </a:p>
          <a:p>
            <a:pPr marL="342900" indent="-342900">
              <a:buFont typeface="+mj-lt"/>
              <a:buAutoNum type="arabicPeriod"/>
            </a:pPr>
            <a:r>
              <a:rPr lang="id-ID" sz="2000" dirty="0">
                <a:solidFill>
                  <a:schemeClr val="bg1"/>
                </a:solidFill>
              </a:rPr>
              <a:t>SIRS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2000" dirty="0">
                <a:solidFill>
                  <a:schemeClr val="bg1"/>
                </a:solidFill>
              </a:rPr>
              <a:t>Dashboard RS yang </a:t>
            </a:r>
            <a:r>
              <a:rPr lang="en-US" sz="2000" dirty="0" err="1">
                <a:solidFill>
                  <a:schemeClr val="bg1"/>
                </a:solidFill>
              </a:rPr>
              <a:t>terintegrasi</a:t>
            </a:r>
            <a:r>
              <a:rPr lang="en-US" sz="2000" dirty="0">
                <a:solidFill>
                  <a:schemeClr val="bg1"/>
                </a:solidFill>
              </a:rPr>
              <a:t> </a:t>
            </a:r>
            <a:r>
              <a:rPr lang="en-US" sz="2000" dirty="0" err="1">
                <a:solidFill>
                  <a:schemeClr val="bg1"/>
                </a:solidFill>
              </a:rPr>
              <a:t>dengan</a:t>
            </a:r>
            <a:r>
              <a:rPr lang="en-US" sz="2000" dirty="0">
                <a:solidFill>
                  <a:schemeClr val="bg1"/>
                </a:solidFill>
              </a:rPr>
              <a:t> </a:t>
            </a:r>
            <a:r>
              <a:rPr lang="id-ID" sz="2000" dirty="0">
                <a:solidFill>
                  <a:schemeClr val="bg1"/>
                </a:solidFill>
              </a:rPr>
              <a:t>Dashboard Kemkes</a:t>
            </a:r>
          </a:p>
          <a:p>
            <a:pPr marL="342900" indent="-342900">
              <a:buFont typeface="+mj-lt"/>
              <a:buAutoNum type="arabicPeriod"/>
            </a:pPr>
            <a:r>
              <a:rPr lang="id-ID" sz="2000" dirty="0">
                <a:solidFill>
                  <a:schemeClr val="bg1"/>
                </a:solidFill>
              </a:rPr>
              <a:t>SIRANAP</a:t>
            </a:r>
          </a:p>
          <a:p>
            <a:pPr marL="342900" indent="-342900">
              <a:buFont typeface="+mj-lt"/>
              <a:buAutoNum type="arabicPeriod"/>
            </a:pPr>
            <a:r>
              <a:rPr lang="id-ID" sz="2000" dirty="0">
                <a:solidFill>
                  <a:schemeClr val="bg1"/>
                </a:solidFill>
              </a:rPr>
              <a:t>SISRUTE</a:t>
            </a:r>
            <a:r>
              <a:rPr lang="en-US" sz="2000" dirty="0">
                <a:solidFill>
                  <a:schemeClr val="bg1"/>
                </a:solidFill>
              </a:rPr>
              <a:t> (Plus Telemedicine)</a:t>
            </a:r>
            <a:endParaRPr lang="id-ID" sz="2000" dirty="0">
              <a:solidFill>
                <a:schemeClr val="bg1"/>
              </a:solidFill>
            </a:endParaRPr>
          </a:p>
          <a:p>
            <a:pPr marL="342900" indent="-342900">
              <a:buFont typeface="+mj-lt"/>
              <a:buAutoNum type="arabicPeriod"/>
            </a:pPr>
            <a:r>
              <a:rPr lang="id-ID" sz="2000" dirty="0">
                <a:solidFill>
                  <a:schemeClr val="bg1"/>
                </a:solidFill>
              </a:rPr>
              <a:t>Pendaftaran Online</a:t>
            </a:r>
          </a:p>
          <a:p>
            <a:pPr marL="342900" indent="-342900">
              <a:buFont typeface="+mj-lt"/>
              <a:buAutoNum type="arabicPeriod"/>
            </a:pPr>
            <a:r>
              <a:rPr lang="id-ID" sz="2000" dirty="0">
                <a:solidFill>
                  <a:schemeClr val="bg1"/>
                </a:solidFill>
              </a:rPr>
              <a:t>SMS Gateway</a:t>
            </a:r>
          </a:p>
          <a:p>
            <a:pPr marL="342900" indent="-342900">
              <a:buFont typeface="+mj-lt"/>
              <a:buAutoNum type="arabicPeriod"/>
            </a:pPr>
            <a:r>
              <a:rPr lang="id-ID" sz="2000" dirty="0">
                <a:solidFill>
                  <a:schemeClr val="bg1"/>
                </a:solidFill>
              </a:rPr>
              <a:t>Dashboard Farmasi</a:t>
            </a:r>
          </a:p>
        </p:txBody>
      </p:sp>
      <p:sp>
        <p:nvSpPr>
          <p:cNvPr id="15" name="Title 1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AU" dirty="0" smtClean="0"/>
              <a:t>INTEGRASI - BRIDGING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13746701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127D4A-83D3-4DC7-98F9-90950AAF487A}" type="slidenum">
              <a:rPr lang="id-ID" smtClean="0"/>
              <a:t>12</a:t>
            </a:fld>
            <a:endParaRPr lang="id-ID"/>
          </a:p>
        </p:txBody>
      </p:sp>
      <p:sp>
        <p:nvSpPr>
          <p:cNvPr id="40" name="Title 1"/>
          <p:cNvSpPr txBox="1">
            <a:spLocks/>
          </p:cNvSpPr>
          <p:nvPr/>
        </p:nvSpPr>
        <p:spPr>
          <a:xfrm>
            <a:off x="2329408" y="202630"/>
            <a:ext cx="7279412" cy="77809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r>
              <a:rPr lang="id-ID" dirty="0"/>
              <a:t>Arus </a:t>
            </a:r>
            <a:r>
              <a:rPr lang="en-AU" dirty="0" smtClean="0"/>
              <a:t>D</a:t>
            </a:r>
            <a:r>
              <a:rPr lang="id-ID" dirty="0" smtClean="0"/>
              <a:t>ata dan </a:t>
            </a:r>
            <a:r>
              <a:rPr lang="en-AU" dirty="0" smtClean="0"/>
              <a:t>I</a:t>
            </a:r>
            <a:r>
              <a:rPr lang="id-ID" dirty="0" smtClean="0"/>
              <a:t>nformasi RS  </a:t>
            </a:r>
            <a:endParaRPr lang="id-ID" dirty="0"/>
          </a:p>
        </p:txBody>
      </p:sp>
      <p:sp>
        <p:nvSpPr>
          <p:cNvPr id="41" name="Content Placeholder 2"/>
          <p:cNvSpPr>
            <a:spLocks noGrp="1"/>
          </p:cNvSpPr>
          <p:nvPr>
            <p:ph idx="1"/>
          </p:nvPr>
        </p:nvSpPr>
        <p:spPr>
          <a:xfrm>
            <a:off x="2329408" y="1052736"/>
            <a:ext cx="8229600" cy="5400600"/>
          </a:xfrm>
        </p:spPr>
        <p:txBody>
          <a:bodyPr/>
          <a:lstStyle/>
          <a:p>
            <a:pPr>
              <a:buNone/>
            </a:pPr>
            <a:r>
              <a:rPr lang="id-ID" dirty="0"/>
              <a:t>	</a:t>
            </a:r>
          </a:p>
        </p:txBody>
      </p:sp>
      <p:sp>
        <p:nvSpPr>
          <p:cNvPr id="42" name="Rectangle 41"/>
          <p:cNvSpPr/>
          <p:nvPr/>
        </p:nvSpPr>
        <p:spPr>
          <a:xfrm>
            <a:off x="5436096" y="1844824"/>
            <a:ext cx="1944216" cy="576064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sz="2400" b="1" dirty="0" smtClean="0">
                <a:solidFill>
                  <a:schemeClr val="tx1"/>
                </a:solidFill>
              </a:rPr>
              <a:t>Direktur RS</a:t>
            </a:r>
            <a:endParaRPr lang="id-ID" sz="2400" b="1" dirty="0">
              <a:solidFill>
                <a:schemeClr val="tx1"/>
              </a:solidFill>
            </a:endParaRPr>
          </a:p>
        </p:txBody>
      </p:sp>
      <p:sp>
        <p:nvSpPr>
          <p:cNvPr id="43" name="Rectangle 42"/>
          <p:cNvSpPr/>
          <p:nvPr/>
        </p:nvSpPr>
        <p:spPr>
          <a:xfrm>
            <a:off x="8028384" y="2780928"/>
            <a:ext cx="1800200" cy="576064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sz="2400" b="1" dirty="0" smtClean="0">
                <a:solidFill>
                  <a:schemeClr val="tx1"/>
                </a:solidFill>
              </a:rPr>
              <a:t>Keputusan</a:t>
            </a:r>
            <a:endParaRPr lang="id-ID" sz="2400" b="1" dirty="0">
              <a:solidFill>
                <a:schemeClr val="tx1"/>
              </a:solidFill>
            </a:endParaRPr>
          </a:p>
        </p:txBody>
      </p:sp>
      <p:sp>
        <p:nvSpPr>
          <p:cNvPr id="44" name="Rectangle 43"/>
          <p:cNvSpPr/>
          <p:nvPr/>
        </p:nvSpPr>
        <p:spPr>
          <a:xfrm>
            <a:off x="7668344" y="3861048"/>
            <a:ext cx="2520280" cy="576064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sz="2400" b="1" dirty="0" smtClean="0">
                <a:solidFill>
                  <a:schemeClr val="tx1"/>
                </a:solidFill>
              </a:rPr>
              <a:t>Satuan pelaksana</a:t>
            </a:r>
            <a:endParaRPr lang="id-ID" sz="2400" b="1" dirty="0">
              <a:solidFill>
                <a:schemeClr val="tx1"/>
              </a:solidFill>
            </a:endParaRPr>
          </a:p>
        </p:txBody>
      </p:sp>
      <p:sp>
        <p:nvSpPr>
          <p:cNvPr id="45" name="Rectangle 44"/>
          <p:cNvSpPr/>
          <p:nvPr/>
        </p:nvSpPr>
        <p:spPr>
          <a:xfrm>
            <a:off x="5436096" y="4725144"/>
            <a:ext cx="1440160" cy="576064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sz="2400" b="1" dirty="0" smtClean="0">
                <a:solidFill>
                  <a:schemeClr val="tx1"/>
                </a:solidFill>
              </a:rPr>
              <a:t>Data RS</a:t>
            </a:r>
            <a:endParaRPr lang="id-ID" sz="2400" b="1" dirty="0">
              <a:solidFill>
                <a:schemeClr val="tx1"/>
              </a:solidFill>
            </a:endParaRPr>
          </a:p>
        </p:txBody>
      </p:sp>
      <p:sp>
        <p:nvSpPr>
          <p:cNvPr id="46" name="Rectangle 45"/>
          <p:cNvSpPr/>
          <p:nvPr/>
        </p:nvSpPr>
        <p:spPr>
          <a:xfrm>
            <a:off x="8316416" y="5517232"/>
            <a:ext cx="1440160" cy="576064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sz="2400" b="1" dirty="0" smtClean="0">
                <a:solidFill>
                  <a:schemeClr val="tx1"/>
                </a:solidFill>
              </a:rPr>
              <a:t>Kegiatan</a:t>
            </a:r>
            <a:endParaRPr lang="id-ID" sz="2400" b="1" dirty="0">
              <a:solidFill>
                <a:schemeClr val="tx1"/>
              </a:solidFill>
            </a:endParaRPr>
          </a:p>
        </p:txBody>
      </p:sp>
      <p:sp>
        <p:nvSpPr>
          <p:cNvPr id="48" name="Rectangle 47"/>
          <p:cNvSpPr/>
          <p:nvPr/>
        </p:nvSpPr>
        <p:spPr>
          <a:xfrm>
            <a:off x="2627784" y="2636912"/>
            <a:ext cx="1944216" cy="576064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sz="2400" b="1" dirty="0" smtClean="0">
                <a:solidFill>
                  <a:schemeClr val="tx1"/>
                </a:solidFill>
              </a:rPr>
              <a:t>Informasi</a:t>
            </a:r>
            <a:endParaRPr lang="id-ID" sz="2400" b="1" dirty="0">
              <a:solidFill>
                <a:schemeClr val="tx1"/>
              </a:solidFill>
            </a:endParaRPr>
          </a:p>
        </p:txBody>
      </p:sp>
      <p:cxnSp>
        <p:nvCxnSpPr>
          <p:cNvPr id="50" name="Straight Arrow Connector 49"/>
          <p:cNvCxnSpPr/>
          <p:nvPr/>
        </p:nvCxnSpPr>
        <p:spPr>
          <a:xfrm>
            <a:off x="8943724" y="3356992"/>
            <a:ext cx="0" cy="504056"/>
          </a:xfrm>
          <a:prstGeom prst="straightConnector1">
            <a:avLst/>
          </a:prstGeom>
          <a:ln w="2540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Rectangle 50"/>
          <p:cNvSpPr/>
          <p:nvPr/>
        </p:nvSpPr>
        <p:spPr>
          <a:xfrm>
            <a:off x="2843808" y="3789040"/>
            <a:ext cx="1440160" cy="576064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sz="2400" b="1" dirty="0" smtClean="0">
                <a:solidFill>
                  <a:schemeClr val="tx1"/>
                </a:solidFill>
              </a:rPr>
              <a:t>SIRS</a:t>
            </a:r>
            <a:endParaRPr lang="id-ID" sz="2400" b="1" dirty="0">
              <a:solidFill>
                <a:schemeClr val="tx1"/>
              </a:solidFill>
            </a:endParaRPr>
          </a:p>
        </p:txBody>
      </p:sp>
      <p:cxnSp>
        <p:nvCxnSpPr>
          <p:cNvPr id="52" name="Straight Arrow Connector 51"/>
          <p:cNvCxnSpPr/>
          <p:nvPr/>
        </p:nvCxnSpPr>
        <p:spPr>
          <a:xfrm>
            <a:off x="8964488" y="4437112"/>
            <a:ext cx="0" cy="1080120"/>
          </a:xfrm>
          <a:prstGeom prst="straightConnector1">
            <a:avLst/>
          </a:prstGeom>
          <a:ln w="2540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Straight Arrow Connector 52"/>
          <p:cNvCxnSpPr/>
          <p:nvPr/>
        </p:nvCxnSpPr>
        <p:spPr>
          <a:xfrm flipH="1">
            <a:off x="6876256" y="4983460"/>
            <a:ext cx="2088232" cy="0"/>
          </a:xfrm>
          <a:prstGeom prst="straightConnector1">
            <a:avLst/>
          </a:prstGeom>
          <a:ln w="2540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Arrow Connector 53"/>
          <p:cNvCxnSpPr/>
          <p:nvPr/>
        </p:nvCxnSpPr>
        <p:spPr>
          <a:xfrm flipV="1">
            <a:off x="3575700" y="3140968"/>
            <a:ext cx="0" cy="648072"/>
          </a:xfrm>
          <a:prstGeom prst="straightConnector1">
            <a:avLst/>
          </a:prstGeom>
          <a:ln w="2540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hape 65"/>
          <p:cNvCxnSpPr>
            <a:stCxn id="45" idx="1"/>
            <a:endCxn id="51" idx="2"/>
          </p:cNvCxnSpPr>
          <p:nvPr/>
        </p:nvCxnSpPr>
        <p:spPr>
          <a:xfrm rot="10800000">
            <a:off x="3563888" y="4365104"/>
            <a:ext cx="1872208" cy="648072"/>
          </a:xfrm>
          <a:prstGeom prst="bentConnector2">
            <a:avLst/>
          </a:prstGeom>
          <a:ln w="2540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Straight Arrow Connector 57"/>
          <p:cNvCxnSpPr>
            <a:stCxn id="48" idx="0"/>
          </p:cNvCxnSpPr>
          <p:nvPr/>
        </p:nvCxnSpPr>
        <p:spPr>
          <a:xfrm flipV="1">
            <a:off x="3599892" y="2132856"/>
            <a:ext cx="1772208" cy="504056"/>
          </a:xfrm>
          <a:prstGeom prst="straightConnector1">
            <a:avLst/>
          </a:prstGeom>
          <a:ln w="2540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Straight Arrow Connector 60"/>
          <p:cNvCxnSpPr/>
          <p:nvPr/>
        </p:nvCxnSpPr>
        <p:spPr>
          <a:xfrm>
            <a:off x="7452360" y="2132856"/>
            <a:ext cx="1512128" cy="587484"/>
          </a:xfrm>
          <a:prstGeom prst="straightConnector1">
            <a:avLst/>
          </a:prstGeom>
          <a:ln w="2540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019519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ECD629-4DA5-4EAE-B174-69948CAAE2CE}" type="slidenum">
              <a:rPr lang="en-US" smtClean="0"/>
              <a:pPr/>
              <a:t>13</a:t>
            </a:fld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="" xmlns:a16="http://schemas.microsoft.com/office/drawing/2014/main" id="{9FC54CCE-0993-439B-B82C-96DF6B3C06E0}"/>
              </a:ext>
            </a:extLst>
          </p:cNvPr>
          <p:cNvSpPr/>
          <p:nvPr/>
        </p:nvSpPr>
        <p:spPr>
          <a:xfrm>
            <a:off x="0" y="-1"/>
            <a:ext cx="12192001" cy="6858001"/>
          </a:xfrm>
          <a:prstGeom prst="rect">
            <a:avLst/>
          </a:prstGeom>
          <a:solidFill>
            <a:sysClr val="windowText" lastClr="000000">
              <a:alpha val="66000"/>
            </a:sys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id-ID" kern="0" dirty="0">
              <a:solidFill>
                <a:sysClr val="window" lastClr="FFFFFF"/>
              </a:solidFill>
            </a:endParaRPr>
          </a:p>
        </p:txBody>
      </p:sp>
      <p:pic>
        <p:nvPicPr>
          <p:cNvPr id="7" name="Picture 2" descr="C:\Users\OKVA\Downloads\LOGO KEMENKES TULISAN PUTIH.png">
            <a:extLst>
              <a:ext uri="{FF2B5EF4-FFF2-40B4-BE49-F238E27FC236}">
                <a16:creationId xmlns="" xmlns:a16="http://schemas.microsoft.com/office/drawing/2014/main" id="{3597076E-62B3-47FE-983E-57B5AAF893D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6842" y="256563"/>
            <a:ext cx="1777138" cy="6036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Rectangle 7">
            <a:extLst>
              <a:ext uri="{FF2B5EF4-FFF2-40B4-BE49-F238E27FC236}">
                <a16:creationId xmlns="" xmlns:a16="http://schemas.microsoft.com/office/drawing/2014/main" id="{A295A3C0-0D55-472B-93D4-145BD99DA1B5}"/>
              </a:ext>
            </a:extLst>
          </p:cNvPr>
          <p:cNvSpPr/>
          <p:nvPr/>
        </p:nvSpPr>
        <p:spPr>
          <a:xfrm>
            <a:off x="822960" y="1134408"/>
            <a:ext cx="10416540" cy="280076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id-ID" sz="28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anose="020B0A04020102020204" pitchFamily="34" charset="0"/>
              </a:rPr>
              <a:t/>
            </a:r>
            <a:br>
              <a:rPr lang="id-ID" sz="28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anose="020B0A04020102020204" pitchFamily="34" charset="0"/>
              </a:rPr>
            </a:br>
            <a:r>
              <a:rPr lang="en-AU" sz="4000" dirty="0" smtClean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anose="020B0A04020102020204" pitchFamily="34" charset="0"/>
              </a:rPr>
              <a:t>IMPLEMENTASI </a:t>
            </a:r>
            <a:r>
              <a:rPr lang="id-ID" sz="4000" dirty="0" smtClean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anose="020B0A04020102020204" pitchFamily="34" charset="0"/>
              </a:rPr>
              <a:t>APLIKASI </a:t>
            </a:r>
            <a:endParaRPr lang="en-US" sz="4000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 Black" panose="020B0A04020102020204" pitchFamily="34" charset="0"/>
            </a:endParaRPr>
          </a:p>
          <a:p>
            <a:pPr algn="ctr"/>
            <a:r>
              <a:rPr lang="en-US" sz="4000" dirty="0" smtClean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anose="020B0A04020102020204" pitchFamily="34" charset="0"/>
              </a:rPr>
              <a:t>SIMRS RUMAH SAKIT KANKER DHARMAIS</a:t>
            </a:r>
            <a:r>
              <a:rPr lang="id-ID" sz="28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anose="020B0A04020102020204" pitchFamily="34" charset="0"/>
              </a:rPr>
              <a:t/>
            </a:r>
            <a:br>
              <a:rPr lang="id-ID" sz="28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anose="020B0A04020102020204" pitchFamily="34" charset="0"/>
              </a:rPr>
            </a:br>
            <a:endParaRPr lang="id-ID" sz="2800" dirty="0">
              <a:solidFill>
                <a:srgbClr val="D6DF2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 Black" panose="020B0A04020102020204" pitchFamily="34" charset="0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="" xmlns:a16="http://schemas.microsoft.com/office/drawing/2014/main" id="{57FDDC6D-D554-4A98-9E5F-E8D7E3AA53F8}"/>
              </a:ext>
            </a:extLst>
          </p:cNvPr>
          <p:cNvSpPr txBox="1">
            <a:spLocks/>
          </p:cNvSpPr>
          <p:nvPr/>
        </p:nvSpPr>
        <p:spPr>
          <a:xfrm>
            <a:off x="3347834" y="3986838"/>
            <a:ext cx="6085489" cy="867104"/>
          </a:xfrm>
          <a:prstGeom prst="rect">
            <a:avLst/>
          </a:prstGeom>
        </p:spPr>
        <p:txBody>
          <a:bodyPr vert="horz" lIns="0" tIns="45712" rIns="0" bIns="45712" rtlCol="0" anchor="ctr">
            <a:noAutofit/>
          </a:bodyPr>
          <a:lstStyle>
            <a:lvl1pPr algn="l" defTabSz="1218987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pPr algn="ctr"/>
            <a:r>
              <a:rPr lang="en-US" sz="2400" dirty="0" err="1">
                <a:solidFill>
                  <a:srgbClr val="D2DC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Segoe UI" panose="020B0502040204020203" pitchFamily="34" charset="0"/>
              </a:rPr>
              <a:t>Upaya</a:t>
            </a:r>
            <a:r>
              <a:rPr lang="en-US" sz="2400" dirty="0">
                <a:solidFill>
                  <a:srgbClr val="D2DC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Segoe UI" panose="020B0502040204020203" pitchFamily="34" charset="0"/>
              </a:rPr>
              <a:t> </a:t>
            </a:r>
            <a:r>
              <a:rPr lang="id-ID" sz="2400" dirty="0">
                <a:solidFill>
                  <a:srgbClr val="D2DC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Segoe UI" panose="020B0502040204020203" pitchFamily="34" charset="0"/>
              </a:rPr>
              <a:t>Peningkatan</a:t>
            </a:r>
            <a:r>
              <a:rPr lang="en-US" sz="2400" dirty="0">
                <a:solidFill>
                  <a:srgbClr val="D2DC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Segoe UI" panose="020B0502040204020203" pitchFamily="34" charset="0"/>
              </a:rPr>
              <a:t> </a:t>
            </a:r>
            <a:r>
              <a:rPr lang="id-ID" sz="2400" dirty="0">
                <a:solidFill>
                  <a:srgbClr val="D2DC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Segoe UI" panose="020B0502040204020203" pitchFamily="34" charset="0"/>
              </a:rPr>
              <a:t>Akses Pelayanan Kesehatan</a:t>
            </a:r>
          </a:p>
          <a:p>
            <a:pPr algn="ctr"/>
            <a:r>
              <a:rPr lang="id-ID" sz="2400" dirty="0">
                <a:solidFill>
                  <a:srgbClr val="D2DC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Segoe UI" panose="020B0502040204020203" pitchFamily="34" charset="0"/>
              </a:rPr>
              <a:t>di Era Digital </a:t>
            </a:r>
          </a:p>
        </p:txBody>
      </p:sp>
    </p:spTree>
    <p:extLst>
      <p:ext uri="{BB962C8B-B14F-4D97-AF65-F5344CB8AC3E}">
        <p14:creationId xmlns:p14="http://schemas.microsoft.com/office/powerpoint/2010/main" val="22910807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4" name="Picture 183">
            <a:extLst>
              <a:ext uri="{FF2B5EF4-FFF2-40B4-BE49-F238E27FC236}">
                <a16:creationId xmlns="" xmlns:a16="http://schemas.microsoft.com/office/drawing/2014/main" id="{C290A0E9-898B-4386-A6B7-0F84BDB5753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6827"/>
            <a:ext cx="12192000" cy="6886362"/>
          </a:xfrm>
          <a:prstGeom prst="rect">
            <a:avLst/>
          </a:prstGeom>
        </p:spPr>
      </p:pic>
      <p:graphicFrame>
        <p:nvGraphicFramePr>
          <p:cNvPr id="3" name="Chart 19">
            <a:extLst>
              <a:ext uri="{FF2B5EF4-FFF2-40B4-BE49-F238E27FC236}">
                <a16:creationId xmlns="" xmlns:a16="http://schemas.microsoft.com/office/drawing/2014/main" id="{0CDBE868-63AE-4D4F-94AC-9197C5B4646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833360312"/>
              </p:ext>
            </p:extLst>
          </p:nvPr>
        </p:nvGraphicFramePr>
        <p:xfrm>
          <a:off x="5547663" y="1344958"/>
          <a:ext cx="7456254" cy="486105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76" name="Chart 175">
            <a:extLst>
              <a:ext uri="{FF2B5EF4-FFF2-40B4-BE49-F238E27FC236}">
                <a16:creationId xmlns="" xmlns:a16="http://schemas.microsoft.com/office/drawing/2014/main" id="{CAA23549-F663-488F-87E0-46B4373EF9A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8078824"/>
              </p:ext>
            </p:extLst>
          </p:nvPr>
        </p:nvGraphicFramePr>
        <p:xfrm>
          <a:off x="169922" y="1354066"/>
          <a:ext cx="7157665" cy="263634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pSp>
        <p:nvGrpSpPr>
          <p:cNvPr id="473" name="Group 472">
            <a:extLst>
              <a:ext uri="{FF2B5EF4-FFF2-40B4-BE49-F238E27FC236}">
                <a16:creationId xmlns="" xmlns:a16="http://schemas.microsoft.com/office/drawing/2014/main" id="{49C2683F-83E5-4F10-97CD-DD771CA3542E}"/>
              </a:ext>
            </a:extLst>
          </p:cNvPr>
          <p:cNvGrpSpPr/>
          <p:nvPr/>
        </p:nvGrpSpPr>
        <p:grpSpPr>
          <a:xfrm>
            <a:off x="2205" y="0"/>
            <a:ext cx="12187592" cy="686432"/>
            <a:chOff x="0" y="0"/>
            <a:chExt cx="12190413" cy="686594"/>
          </a:xfrm>
          <a:solidFill>
            <a:srgbClr val="0072B5"/>
          </a:solidFill>
        </p:grpSpPr>
        <p:sp>
          <p:nvSpPr>
            <p:cNvPr id="474" name="Rectangle 473">
              <a:extLst>
                <a:ext uri="{FF2B5EF4-FFF2-40B4-BE49-F238E27FC236}">
                  <a16:creationId xmlns="" xmlns:a16="http://schemas.microsoft.com/office/drawing/2014/main" id="{CB1D8718-61EC-4360-A16B-F0CFF3989F2A}"/>
                </a:ext>
              </a:extLst>
            </p:cNvPr>
            <p:cNvSpPr/>
            <p:nvPr/>
          </p:nvSpPr>
          <p:spPr>
            <a:xfrm>
              <a:off x="0" y="0"/>
              <a:ext cx="12190413" cy="686594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217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9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pic>
          <p:nvPicPr>
            <p:cNvPr id="475" name="Picture 2" descr="C:\Users\DELL\Downloads\LOGO KEMENKES TULISAN PUTIH copy.png">
              <a:extLst>
                <a:ext uri="{FF2B5EF4-FFF2-40B4-BE49-F238E27FC236}">
                  <a16:creationId xmlns="" xmlns:a16="http://schemas.microsoft.com/office/drawing/2014/main" id="{8049E062-0E1D-4620-922A-79B24AFCF0E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98202" y="32457"/>
              <a:ext cx="1354942" cy="613739"/>
            </a:xfrm>
            <a:prstGeom prst="rect">
              <a:avLst/>
            </a:prstGeom>
            <a:grpFill/>
          </p:spPr>
        </p:pic>
        <p:sp>
          <p:nvSpPr>
            <p:cNvPr id="476" name="TextBox 475">
              <a:extLst>
                <a:ext uri="{FF2B5EF4-FFF2-40B4-BE49-F238E27FC236}">
                  <a16:creationId xmlns="" xmlns:a16="http://schemas.microsoft.com/office/drawing/2014/main" id="{C02C8C3C-E415-4FB8-A02E-3294F499C0EA}"/>
                </a:ext>
              </a:extLst>
            </p:cNvPr>
            <p:cNvSpPr txBox="1"/>
            <p:nvPr/>
          </p:nvSpPr>
          <p:spPr>
            <a:xfrm>
              <a:off x="1523205" y="56396"/>
              <a:ext cx="10667207" cy="553998"/>
            </a:xfrm>
            <a:prstGeom prst="rect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marL="0" marR="0" lvl="0" indent="0" algn="ctr" defTabSz="914217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d-ID" sz="2999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+mn-cs"/>
                </a:rPr>
                <a:t>RUMAH SAKIT DI INDONESIA S/D TAHUN </a:t>
              </a:r>
              <a:r>
                <a:rPr kumimoji="0" lang="id-ID" sz="2999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+mn-cs"/>
                </a:rPr>
                <a:t>201</a:t>
              </a:r>
              <a:r>
                <a:rPr kumimoji="0" lang="en-AU" sz="2999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+mn-cs"/>
                </a:rPr>
                <a:t>9</a:t>
              </a:r>
              <a:endParaRPr kumimoji="0" lang="fi-FI" sz="2999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endParaRPr>
            </a:p>
          </p:txBody>
        </p:sp>
      </p:grpSp>
      <p:sp>
        <p:nvSpPr>
          <p:cNvPr id="492" name="Rectangle 491">
            <a:extLst>
              <a:ext uri="{FF2B5EF4-FFF2-40B4-BE49-F238E27FC236}">
                <a16:creationId xmlns="" xmlns:a16="http://schemas.microsoft.com/office/drawing/2014/main" id="{55135C75-FE86-420B-91D1-95EC94B24CB0}"/>
              </a:ext>
            </a:extLst>
          </p:cNvPr>
          <p:cNvSpPr/>
          <p:nvPr/>
        </p:nvSpPr>
        <p:spPr>
          <a:xfrm>
            <a:off x="1640782" y="875537"/>
            <a:ext cx="4272003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1" i="0" u="none" strike="noStrike" kern="1200" baseline="0">
                <a:solidFill>
                  <a:srgbClr val="44546A"/>
                </a:solidFill>
                <a:latin typeface="+mn-lt"/>
                <a:ea typeface="+mn-ea"/>
                <a:cs typeface="+mn-cs"/>
              </a:defRPr>
            </a:pPr>
            <a:r>
              <a:rPr kumimoji="0" lang="id-ID" sz="20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ea typeface="+mn-ea"/>
                <a:cs typeface="+mn-cs"/>
              </a:rPr>
              <a:t>Perkembangan Jumlah RS di Indonesia</a:t>
            </a:r>
          </a:p>
        </p:txBody>
      </p:sp>
      <p:sp>
        <p:nvSpPr>
          <p:cNvPr id="376" name="Rectangle 375">
            <a:extLst>
              <a:ext uri="{FF2B5EF4-FFF2-40B4-BE49-F238E27FC236}">
                <a16:creationId xmlns="" xmlns:a16="http://schemas.microsoft.com/office/drawing/2014/main" id="{FA176709-06A3-4DAD-827D-AC796C09A64A}"/>
              </a:ext>
            </a:extLst>
          </p:cNvPr>
          <p:cNvSpPr/>
          <p:nvPr/>
        </p:nvSpPr>
        <p:spPr>
          <a:xfrm>
            <a:off x="7485970" y="1069500"/>
            <a:ext cx="3785621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d-ID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S BERDASARKAN KELAS</a:t>
            </a:r>
          </a:p>
        </p:txBody>
      </p:sp>
      <p:sp>
        <p:nvSpPr>
          <p:cNvPr id="378" name="Rectangle 377">
            <a:extLst>
              <a:ext uri="{FF2B5EF4-FFF2-40B4-BE49-F238E27FC236}">
                <a16:creationId xmlns="" xmlns:a16="http://schemas.microsoft.com/office/drawing/2014/main" id="{2465CE2D-EEDD-4017-A02F-FC4B4991E29A}"/>
              </a:ext>
            </a:extLst>
          </p:cNvPr>
          <p:cNvSpPr/>
          <p:nvPr/>
        </p:nvSpPr>
        <p:spPr>
          <a:xfrm>
            <a:off x="1640782" y="3590331"/>
            <a:ext cx="1651323" cy="53858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79" name="TextBox 378">
            <a:extLst>
              <a:ext uri="{FF2B5EF4-FFF2-40B4-BE49-F238E27FC236}">
                <a16:creationId xmlns="" xmlns:a16="http://schemas.microsoft.com/office/drawing/2014/main" id="{ABAF973D-69C7-412B-B06B-92C12DE48001}"/>
              </a:ext>
            </a:extLst>
          </p:cNvPr>
          <p:cNvSpPr txBox="1"/>
          <p:nvPr/>
        </p:nvSpPr>
        <p:spPr>
          <a:xfrm>
            <a:off x="8450129" y="3697268"/>
            <a:ext cx="1651323" cy="523220"/>
          </a:xfrm>
          <a:prstGeom prst="rect">
            <a:avLst/>
          </a:prstGeom>
          <a:noFill/>
          <a:ln>
            <a:noFill/>
          </a:ln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d-ID" sz="2800" b="1" i="0" u="none" strike="noStrike" kern="1200" cap="none" spc="-30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umah Sakit</a:t>
            </a:r>
            <a:endParaRPr kumimoji="0" lang="en-US" sz="2800" b="1" i="0" u="none" strike="noStrike" kern="1200" cap="none" spc="-30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80" name="TextBox 379">
            <a:extLst>
              <a:ext uri="{FF2B5EF4-FFF2-40B4-BE49-F238E27FC236}">
                <a16:creationId xmlns="" xmlns:a16="http://schemas.microsoft.com/office/drawing/2014/main" id="{0172823C-A37F-4DA5-8AEF-64936D5AEE14}"/>
              </a:ext>
            </a:extLst>
          </p:cNvPr>
          <p:cNvSpPr txBox="1"/>
          <p:nvPr/>
        </p:nvSpPr>
        <p:spPr>
          <a:xfrm>
            <a:off x="8368192" y="2943215"/>
            <a:ext cx="1815199" cy="1015663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d-ID" sz="6000" b="1" i="0" u="none" strike="noStrike" kern="1200" cap="none" spc="-30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.8</a:t>
            </a:r>
            <a:r>
              <a:rPr kumimoji="0" lang="en-US" sz="6000" b="1" i="0" u="none" strike="noStrike" kern="1200" cap="none" spc="-30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05</a:t>
            </a:r>
          </a:p>
        </p:txBody>
      </p:sp>
      <p:sp>
        <p:nvSpPr>
          <p:cNvPr id="389" name="Rectangle 388">
            <a:extLst>
              <a:ext uri="{FF2B5EF4-FFF2-40B4-BE49-F238E27FC236}">
                <a16:creationId xmlns="" xmlns:a16="http://schemas.microsoft.com/office/drawing/2014/main" id="{E088F754-C5BB-436D-AB5B-D9FFC6C7C855}"/>
              </a:ext>
            </a:extLst>
          </p:cNvPr>
          <p:cNvSpPr/>
          <p:nvPr/>
        </p:nvSpPr>
        <p:spPr>
          <a:xfrm>
            <a:off x="6219805" y="6310206"/>
            <a:ext cx="5913687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d-ID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umber: RS Online 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4</a:t>
            </a:r>
            <a:r>
              <a:rPr lang="id-ID" sz="1600" b="1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1600" b="1" dirty="0" err="1">
                <a:solidFill>
                  <a:prstClr val="black"/>
                </a:solidFill>
                <a:latin typeface="Calibri" panose="020F0502020204030204"/>
              </a:rPr>
              <a:t>Januari</a:t>
            </a:r>
            <a:r>
              <a:rPr lang="en-US" sz="1600" b="1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kumimoji="0" lang="id-ID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1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9</a:t>
            </a:r>
            <a:endParaRPr kumimoji="0" lang="id-ID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185" name="Chart 184">
            <a:extLst>
              <a:ext uri="{FF2B5EF4-FFF2-40B4-BE49-F238E27FC236}">
                <a16:creationId xmlns="" xmlns:a16="http://schemas.microsoft.com/office/drawing/2014/main" id="{FB47BAF5-09AB-4FB5-8182-044FC50C22A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28392250"/>
              </p:ext>
            </p:extLst>
          </p:nvPr>
        </p:nvGraphicFramePr>
        <p:xfrm>
          <a:off x="407344" y="4620599"/>
          <a:ext cx="6443832" cy="215963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87" name="Rectangle 186">
            <a:extLst>
              <a:ext uri="{FF2B5EF4-FFF2-40B4-BE49-F238E27FC236}">
                <a16:creationId xmlns="" xmlns:a16="http://schemas.microsoft.com/office/drawing/2014/main" id="{73132598-30AA-4D4B-B45D-A0A271B96F6A}"/>
              </a:ext>
            </a:extLst>
          </p:cNvPr>
          <p:cNvSpPr/>
          <p:nvPr/>
        </p:nvSpPr>
        <p:spPr>
          <a:xfrm>
            <a:off x="2022159" y="4220488"/>
            <a:ext cx="3453189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1" i="0" u="none" strike="noStrike" kern="1200" baseline="0">
                <a:solidFill>
                  <a:srgbClr val="44546A"/>
                </a:solidFill>
                <a:latin typeface="+mn-lt"/>
                <a:ea typeface="+mn-ea"/>
                <a:cs typeface="+mn-cs"/>
              </a:defRPr>
            </a:pPr>
            <a:r>
              <a:rPr kumimoji="0" lang="id-ID" sz="20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ea typeface="+mn-ea"/>
                <a:cs typeface="+mn-cs"/>
              </a:rPr>
              <a:t>Jenis Rumah Sakit di Indonesia</a:t>
            </a:r>
          </a:p>
        </p:txBody>
      </p:sp>
    </p:spTree>
    <p:extLst>
      <p:ext uri="{BB962C8B-B14F-4D97-AF65-F5344CB8AC3E}">
        <p14:creationId xmlns:p14="http://schemas.microsoft.com/office/powerpoint/2010/main" val="4785697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="" xmlns:a16="http://schemas.microsoft.com/office/drawing/2014/main" id="{BF8DBA16-BF7B-4ADD-8C41-E51D3A090656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5" r="7201" b="6837"/>
          <a:stretch/>
        </p:blipFill>
        <p:spPr>
          <a:xfrm>
            <a:off x="-61148" y="-1"/>
            <a:ext cx="12253147" cy="6858001"/>
          </a:xfrm>
          <a:prstGeom prst="rect">
            <a:avLst/>
          </a:prstGeom>
          <a:solidFill>
            <a:schemeClr val="tx1">
              <a:alpha val="74000"/>
            </a:schemeClr>
          </a:solidFill>
          <a:effectLst>
            <a:outerShdw blurRad="50800" dist="50800" dir="5400000" algn="ctr" rotWithShape="0">
              <a:srgbClr val="000000">
                <a:alpha val="0"/>
              </a:srgbClr>
            </a:outerShdw>
          </a:effectLst>
        </p:spPr>
      </p:pic>
      <p:sp>
        <p:nvSpPr>
          <p:cNvPr id="30" name="Rectangle 29">
            <a:extLst>
              <a:ext uri="{FF2B5EF4-FFF2-40B4-BE49-F238E27FC236}">
                <a16:creationId xmlns="" xmlns:a16="http://schemas.microsoft.com/office/drawing/2014/main" id="{3C74BF05-B733-4EA6-9C93-EB4028D0B4F1}"/>
              </a:ext>
            </a:extLst>
          </p:cNvPr>
          <p:cNvSpPr/>
          <p:nvPr/>
        </p:nvSpPr>
        <p:spPr>
          <a:xfrm>
            <a:off x="-61148" y="-9440"/>
            <a:ext cx="12253149" cy="6921437"/>
          </a:xfrm>
          <a:prstGeom prst="rect">
            <a:avLst/>
          </a:prstGeom>
          <a:solidFill>
            <a:schemeClr val="bg1">
              <a:alpha val="5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1600" b="1" i="0" u="none" strike="noStrike" kern="1200" cap="none" spc="0" normalizeH="0" baseline="0" noProof="0" dirty="0" err="1">
              <a:ln>
                <a:noFill/>
              </a:ln>
              <a:solidFill>
                <a:srgbClr val="FFC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="" xmlns:a16="http://schemas.microsoft.com/office/drawing/2014/main" id="{6A1071BD-12E3-494F-84E4-33B8559EB300}"/>
              </a:ext>
            </a:extLst>
          </p:cNvPr>
          <p:cNvSpPr/>
          <p:nvPr/>
        </p:nvSpPr>
        <p:spPr>
          <a:xfrm>
            <a:off x="1588" y="0"/>
            <a:ext cx="12188825" cy="685800"/>
          </a:xfrm>
          <a:prstGeom prst="rect">
            <a:avLst/>
          </a:prstGeom>
          <a:solidFill>
            <a:srgbClr val="222A3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21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id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32" name="Picture 2" descr="C:\Users\DELL\Downloads\LOGO KEMENKES TULISAN PUTIH copy.png">
            <a:extLst>
              <a:ext uri="{FF2B5EF4-FFF2-40B4-BE49-F238E27FC236}">
                <a16:creationId xmlns="" xmlns:a16="http://schemas.microsoft.com/office/drawing/2014/main" id="{D0CA6E3B-4E6D-4B95-83C3-EC1B79EDDD3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3988" y="107950"/>
            <a:ext cx="990600" cy="449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3" name="TextBox 32">
            <a:extLst>
              <a:ext uri="{FF2B5EF4-FFF2-40B4-BE49-F238E27FC236}">
                <a16:creationId xmlns="" xmlns:a16="http://schemas.microsoft.com/office/drawing/2014/main" id="{EC93BA17-AF9A-438D-8F6F-D87CBF1115A4}"/>
              </a:ext>
            </a:extLst>
          </p:cNvPr>
          <p:cNvSpPr txBox="1"/>
          <p:nvPr/>
        </p:nvSpPr>
        <p:spPr>
          <a:xfrm>
            <a:off x="1525589" y="57150"/>
            <a:ext cx="9534298" cy="55245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21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999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itchFamily="34" charset="0"/>
                <a:ea typeface="+mn-ea"/>
                <a:cs typeface="Arial" panose="020B0604020202020204" pitchFamily="34" charset="0"/>
              </a:rPr>
              <a:t>PENGUATAN PELAYANAN KESEHATAN</a:t>
            </a:r>
            <a:endParaRPr kumimoji="0" lang="id-ID" sz="2999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85" name="Isosceles Triangle 84">
            <a:extLst>
              <a:ext uri="{FF2B5EF4-FFF2-40B4-BE49-F238E27FC236}">
                <a16:creationId xmlns="" xmlns:a16="http://schemas.microsoft.com/office/drawing/2014/main" id="{40D00EE8-2E99-491E-AA09-568E66E2C5EE}"/>
              </a:ext>
            </a:extLst>
          </p:cNvPr>
          <p:cNvSpPr/>
          <p:nvPr/>
        </p:nvSpPr>
        <p:spPr>
          <a:xfrm rot="5400000">
            <a:off x="2494926" y="-1353437"/>
            <a:ext cx="5733946" cy="9812421"/>
          </a:xfrm>
          <a:prstGeom prst="triangle">
            <a:avLst>
              <a:gd name="adj" fmla="val 48090"/>
            </a:avLst>
          </a:prstGeom>
          <a:noFill/>
          <a:ln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87" name="Group 86">
            <a:extLst>
              <a:ext uri="{FF2B5EF4-FFF2-40B4-BE49-F238E27FC236}">
                <a16:creationId xmlns="" xmlns:a16="http://schemas.microsoft.com/office/drawing/2014/main" id="{87955AE9-C857-4271-8AEC-06DD44AE1E35}"/>
              </a:ext>
            </a:extLst>
          </p:cNvPr>
          <p:cNvGrpSpPr/>
          <p:nvPr/>
        </p:nvGrpSpPr>
        <p:grpSpPr>
          <a:xfrm>
            <a:off x="734872" y="1287050"/>
            <a:ext cx="8303897" cy="4529436"/>
            <a:chOff x="2667000" y="2010643"/>
            <a:chExt cx="5893698" cy="3210234"/>
          </a:xfrm>
        </p:grpSpPr>
        <p:grpSp>
          <p:nvGrpSpPr>
            <p:cNvPr id="88" name="Group 45">
              <a:extLst>
                <a:ext uri="{FF2B5EF4-FFF2-40B4-BE49-F238E27FC236}">
                  <a16:creationId xmlns="" xmlns:a16="http://schemas.microsoft.com/office/drawing/2014/main" id="{9DFF7E0E-F26D-4A54-8E6D-4D5E4FC38A01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2667000" y="2209800"/>
              <a:ext cx="5245764" cy="2803202"/>
              <a:chOff x="476556" y="1356631"/>
              <a:chExt cx="6991907" cy="4367662"/>
            </a:xfrm>
          </p:grpSpPr>
          <p:sp>
            <p:nvSpPr>
              <p:cNvPr id="93" name="Oval 92">
                <a:extLst>
                  <a:ext uri="{FF2B5EF4-FFF2-40B4-BE49-F238E27FC236}">
                    <a16:creationId xmlns="" xmlns:a16="http://schemas.microsoft.com/office/drawing/2014/main" id="{F605A3EB-E54E-4B27-B4EA-0C8EFCEF812D}"/>
                  </a:ext>
                </a:extLst>
              </p:cNvPr>
              <p:cNvSpPr/>
              <p:nvPr/>
            </p:nvSpPr>
            <p:spPr>
              <a:xfrm>
                <a:off x="476556" y="5265931"/>
                <a:ext cx="4879424" cy="418346"/>
              </a:xfrm>
              <a:prstGeom prst="ellipse">
                <a:avLst/>
              </a:prstGeom>
              <a:gradFill flip="none" rotWithShape="1">
                <a:gsLst>
                  <a:gs pos="0">
                    <a:schemeClr val="tx1">
                      <a:lumMod val="95000"/>
                      <a:lumOff val="5000"/>
                      <a:alpha val="38000"/>
                    </a:schemeClr>
                  </a:gs>
                  <a:gs pos="100000">
                    <a:sysClr val="window" lastClr="FFFFFF">
                      <a:alpha val="0"/>
                      <a:lumMod val="100000"/>
                    </a:sysClr>
                  </a:gs>
                </a:gsLst>
                <a:path path="shape">
                  <a:fillToRect l="50000" t="50000" r="50000" b="50000"/>
                </a:path>
                <a:tileRect/>
              </a:gradFill>
              <a:ln w="25400" cap="flat" cmpd="sng" algn="ctr">
                <a:noFill/>
                <a:prstDash val="solid"/>
              </a:ln>
              <a:effectLst/>
            </p:spPr>
            <p:txBody>
              <a:bodyPr anchor="ctr"/>
              <a:lstStyle/>
              <a:p>
                <a:pPr marL="0" marR="0" lvl="0" indent="0" algn="ctr" defTabSz="162511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225" b="0" i="0" u="none" strike="noStrike" kern="0" cap="none" spc="0" normalizeH="0" baseline="0" noProof="0" dirty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grpSp>
            <p:nvGrpSpPr>
              <p:cNvPr id="94" name="Group 25">
                <a:extLst>
                  <a:ext uri="{FF2B5EF4-FFF2-40B4-BE49-F238E27FC236}">
                    <a16:creationId xmlns="" xmlns:a16="http://schemas.microsoft.com/office/drawing/2014/main" id="{29AD0FDC-255A-4365-B095-19923F046A60}"/>
                  </a:ext>
                </a:extLst>
              </p:cNvPr>
              <p:cNvGrpSpPr/>
              <p:nvPr/>
            </p:nvGrpSpPr>
            <p:grpSpPr>
              <a:xfrm flipH="1">
                <a:off x="765101" y="1356631"/>
                <a:ext cx="6703362" cy="4367662"/>
                <a:chOff x="3279487" y="1169470"/>
                <a:chExt cx="5028835" cy="3276600"/>
              </a:xfrm>
              <a:effectLst>
                <a:outerShdw blurRad="342900" dir="7560000" sy="23000" kx="1200000" algn="br" rotWithShape="0">
                  <a:prstClr val="black">
                    <a:alpha val="34000"/>
                  </a:prstClr>
                </a:outerShdw>
              </a:effectLst>
            </p:grpSpPr>
            <p:sp>
              <p:nvSpPr>
                <p:cNvPr id="97" name="Freeform 13">
                  <a:extLst>
                    <a:ext uri="{FF2B5EF4-FFF2-40B4-BE49-F238E27FC236}">
                      <a16:creationId xmlns="" xmlns:a16="http://schemas.microsoft.com/office/drawing/2014/main" id="{A5E9BE10-24F3-48C0-BC4A-EEF85878906B}"/>
                    </a:ext>
                  </a:extLst>
                </p:cNvPr>
                <p:cNvSpPr/>
                <p:nvPr/>
              </p:nvSpPr>
              <p:spPr>
                <a:xfrm>
                  <a:off x="6439228" y="1169470"/>
                  <a:ext cx="1869094" cy="3276600"/>
                </a:xfrm>
                <a:custGeom>
                  <a:avLst/>
                  <a:gdLst>
                    <a:gd name="connsiteX0" fmla="*/ 0 w 1649506"/>
                    <a:gd name="connsiteY0" fmla="*/ 0 h 3276600"/>
                    <a:gd name="connsiteX1" fmla="*/ 1649506 w 1649506"/>
                    <a:gd name="connsiteY1" fmla="*/ 0 h 3276600"/>
                    <a:gd name="connsiteX2" fmla="*/ 1649506 w 1649506"/>
                    <a:gd name="connsiteY2" fmla="*/ 3276600 h 3276600"/>
                    <a:gd name="connsiteX3" fmla="*/ 0 w 1649506"/>
                    <a:gd name="connsiteY3" fmla="*/ 3276600 h 3276600"/>
                    <a:gd name="connsiteX4" fmla="*/ 0 w 1649506"/>
                    <a:gd name="connsiteY4" fmla="*/ 0 h 3276600"/>
                    <a:gd name="connsiteX0" fmla="*/ 0 w 1649506"/>
                    <a:gd name="connsiteY0" fmla="*/ 590550 h 3276600"/>
                    <a:gd name="connsiteX1" fmla="*/ 1649506 w 1649506"/>
                    <a:gd name="connsiteY1" fmla="*/ 0 h 3276600"/>
                    <a:gd name="connsiteX2" fmla="*/ 1649506 w 1649506"/>
                    <a:gd name="connsiteY2" fmla="*/ 3276600 h 3276600"/>
                    <a:gd name="connsiteX3" fmla="*/ 0 w 1649506"/>
                    <a:gd name="connsiteY3" fmla="*/ 3276600 h 3276600"/>
                    <a:gd name="connsiteX4" fmla="*/ 0 w 1649506"/>
                    <a:gd name="connsiteY4" fmla="*/ 590550 h 3276600"/>
                    <a:gd name="connsiteX0" fmla="*/ 0 w 1649506"/>
                    <a:gd name="connsiteY0" fmla="*/ 590550 h 3276600"/>
                    <a:gd name="connsiteX1" fmla="*/ 1649506 w 1649506"/>
                    <a:gd name="connsiteY1" fmla="*/ 0 h 3276600"/>
                    <a:gd name="connsiteX2" fmla="*/ 1649506 w 1649506"/>
                    <a:gd name="connsiteY2" fmla="*/ 3276600 h 3276600"/>
                    <a:gd name="connsiteX3" fmla="*/ 0 w 1649506"/>
                    <a:gd name="connsiteY3" fmla="*/ 2681568 h 3276600"/>
                    <a:gd name="connsiteX4" fmla="*/ 0 w 1649506"/>
                    <a:gd name="connsiteY4" fmla="*/ 590550 h 32766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649506" h="3276600">
                      <a:moveTo>
                        <a:pt x="0" y="590550"/>
                      </a:moveTo>
                      <a:lnTo>
                        <a:pt x="1649506" y="0"/>
                      </a:lnTo>
                      <a:lnTo>
                        <a:pt x="1649506" y="3276600"/>
                      </a:lnTo>
                      <a:lnTo>
                        <a:pt x="0" y="2681568"/>
                      </a:lnTo>
                      <a:lnTo>
                        <a:pt x="0" y="590550"/>
                      </a:lnTo>
                      <a:close/>
                    </a:path>
                  </a:pathLst>
                </a:custGeom>
                <a:solidFill>
                  <a:srgbClr val="0070C0"/>
                </a:solidFill>
                <a:ln/>
              </p:spPr>
              <p:style>
                <a:lnRef idx="0">
                  <a:schemeClr val="accent1"/>
                </a:lnRef>
                <a:fillRef idx="3">
                  <a:schemeClr val="accent1"/>
                </a:fillRef>
                <a:effectRef idx="3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marL="0" marR="0" lvl="0" indent="0" algn="ctr" defTabSz="1625112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3225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98" name="Freeform 14">
                  <a:extLst>
                    <a:ext uri="{FF2B5EF4-FFF2-40B4-BE49-F238E27FC236}">
                      <a16:creationId xmlns="" xmlns:a16="http://schemas.microsoft.com/office/drawing/2014/main" id="{D82568C8-7BA4-43A9-9476-8E43E39B5AD1}"/>
                    </a:ext>
                  </a:extLst>
                </p:cNvPr>
                <p:cNvSpPr/>
                <p:nvPr/>
              </p:nvSpPr>
              <p:spPr>
                <a:xfrm>
                  <a:off x="4651085" y="1785509"/>
                  <a:ext cx="1788850" cy="2049556"/>
                </a:xfrm>
                <a:custGeom>
                  <a:avLst/>
                  <a:gdLst>
                    <a:gd name="connsiteX0" fmla="*/ 0 w 1506071"/>
                    <a:gd name="connsiteY0" fmla="*/ 0 h 2049556"/>
                    <a:gd name="connsiteX1" fmla="*/ 1506071 w 1506071"/>
                    <a:gd name="connsiteY1" fmla="*/ 0 h 2049556"/>
                    <a:gd name="connsiteX2" fmla="*/ 1506071 w 1506071"/>
                    <a:gd name="connsiteY2" fmla="*/ 2049556 h 2049556"/>
                    <a:gd name="connsiteX3" fmla="*/ 0 w 1506071"/>
                    <a:gd name="connsiteY3" fmla="*/ 2049556 h 2049556"/>
                    <a:gd name="connsiteX4" fmla="*/ 0 w 1506071"/>
                    <a:gd name="connsiteY4" fmla="*/ 0 h 2049556"/>
                    <a:gd name="connsiteX0" fmla="*/ 0 w 1506071"/>
                    <a:gd name="connsiteY0" fmla="*/ 514350 h 2049556"/>
                    <a:gd name="connsiteX1" fmla="*/ 1506071 w 1506071"/>
                    <a:gd name="connsiteY1" fmla="*/ 0 h 2049556"/>
                    <a:gd name="connsiteX2" fmla="*/ 1506071 w 1506071"/>
                    <a:gd name="connsiteY2" fmla="*/ 2049556 h 2049556"/>
                    <a:gd name="connsiteX3" fmla="*/ 0 w 1506071"/>
                    <a:gd name="connsiteY3" fmla="*/ 2049556 h 2049556"/>
                    <a:gd name="connsiteX4" fmla="*/ 0 w 1506071"/>
                    <a:gd name="connsiteY4" fmla="*/ 514350 h 2049556"/>
                    <a:gd name="connsiteX0" fmla="*/ 0 w 1506071"/>
                    <a:gd name="connsiteY0" fmla="*/ 514350 h 2049556"/>
                    <a:gd name="connsiteX1" fmla="*/ 1506071 w 1506071"/>
                    <a:gd name="connsiteY1" fmla="*/ 0 h 2049556"/>
                    <a:gd name="connsiteX2" fmla="*/ 1506071 w 1506071"/>
                    <a:gd name="connsiteY2" fmla="*/ 2049556 h 2049556"/>
                    <a:gd name="connsiteX3" fmla="*/ 10732 w 1506071"/>
                    <a:gd name="connsiteY3" fmla="*/ 1519107 h 2049556"/>
                    <a:gd name="connsiteX4" fmla="*/ 0 w 1506071"/>
                    <a:gd name="connsiteY4" fmla="*/ 514350 h 2049556"/>
                    <a:gd name="connsiteX0" fmla="*/ 2146 w 1495339"/>
                    <a:gd name="connsiteY0" fmla="*/ 527229 h 2049556"/>
                    <a:gd name="connsiteX1" fmla="*/ 1495339 w 1495339"/>
                    <a:gd name="connsiteY1" fmla="*/ 0 h 2049556"/>
                    <a:gd name="connsiteX2" fmla="*/ 1495339 w 1495339"/>
                    <a:gd name="connsiteY2" fmla="*/ 2049556 h 2049556"/>
                    <a:gd name="connsiteX3" fmla="*/ 0 w 1495339"/>
                    <a:gd name="connsiteY3" fmla="*/ 1519107 h 2049556"/>
                    <a:gd name="connsiteX4" fmla="*/ 2146 w 1495339"/>
                    <a:gd name="connsiteY4" fmla="*/ 527229 h 20495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495339" h="2049556">
                      <a:moveTo>
                        <a:pt x="2146" y="527229"/>
                      </a:moveTo>
                      <a:lnTo>
                        <a:pt x="1495339" y="0"/>
                      </a:lnTo>
                      <a:lnTo>
                        <a:pt x="1495339" y="2049556"/>
                      </a:lnTo>
                      <a:lnTo>
                        <a:pt x="0" y="1519107"/>
                      </a:lnTo>
                      <a:cubicBezTo>
                        <a:pt x="715" y="1188481"/>
                        <a:pt x="1431" y="857855"/>
                        <a:pt x="2146" y="527229"/>
                      </a:cubicBez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marL="0" marR="0" lvl="0" indent="0" algn="ctr" defTabSz="1625112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3225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99" name="Isosceles Triangle 98">
                  <a:extLst>
                    <a:ext uri="{FF2B5EF4-FFF2-40B4-BE49-F238E27FC236}">
                      <a16:creationId xmlns="" xmlns:a16="http://schemas.microsoft.com/office/drawing/2014/main" id="{D5C96229-DC80-4D82-A0A0-B5D0E460E1E8}"/>
                    </a:ext>
                  </a:extLst>
                </p:cNvPr>
                <p:cNvSpPr/>
                <p:nvPr/>
              </p:nvSpPr>
              <p:spPr>
                <a:xfrm rot="16200000">
                  <a:off x="3471049" y="2122892"/>
                  <a:ext cx="988476" cy="1371599"/>
                </a:xfrm>
                <a:prstGeom prst="triangle">
                  <a:avLst/>
                </a:prstGeom>
                <a:solidFill>
                  <a:schemeClr val="accent6"/>
                </a:solidFill>
                <a:ln>
                  <a:noFill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marL="0" marR="0" lvl="0" indent="0" algn="ctr" defTabSz="1625112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3225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95" name="Rectangle 27">
                <a:extLst>
                  <a:ext uri="{FF2B5EF4-FFF2-40B4-BE49-F238E27FC236}">
                    <a16:creationId xmlns="" xmlns:a16="http://schemas.microsoft.com/office/drawing/2014/main" id="{B05D12B4-71C2-4B01-97B6-45AB9ACF8F7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246522" y="3096381"/>
                <a:ext cx="2594243" cy="78171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 anchor="ctr">
                <a:spAutoFit/>
              </a:bodyPr>
              <a:lstStyle/>
              <a:p>
                <a:pPr marL="0" marR="0" lvl="0" indent="0" algn="l" defTabSz="162238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id-ID" altLang="id-ID" sz="20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PENINGKATAN </a:t>
                </a:r>
                <a:r>
                  <a:rPr kumimoji="0" lang="en-GB" altLang="id-ID" sz="20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MUTU</a:t>
                </a:r>
              </a:p>
              <a:p>
                <a:pPr marL="0" marR="0" lvl="0" indent="0" algn="l" defTabSz="162238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itchFamily="34" charset="0"/>
                  <a:buChar char="•"/>
                  <a:tabLst/>
                  <a:defRPr/>
                </a:pPr>
                <a:r>
                  <a:rPr kumimoji="0" lang="en-GB" altLang="id-ID" sz="2000" b="1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AKREDITASI </a:t>
                </a:r>
                <a:r>
                  <a:rPr kumimoji="0" lang="en-GB" altLang="id-ID" sz="20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RS</a:t>
                </a:r>
                <a:endParaRPr kumimoji="0" lang="en-US" altLang="id-ID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96" name="Rectangle 28">
                <a:extLst>
                  <a:ext uri="{FF2B5EF4-FFF2-40B4-BE49-F238E27FC236}">
                    <a16:creationId xmlns="" xmlns:a16="http://schemas.microsoft.com/office/drawing/2014/main" id="{4238CBDE-7F40-4D3E-A917-314CAF080B4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91182" y="2009762"/>
                <a:ext cx="2402077" cy="3160863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 anchor="ctr">
                <a:spAutoFit/>
              </a:bodyPr>
              <a:lstStyle/>
              <a:p>
                <a:pPr marL="0" marR="0" lvl="0" indent="0" algn="l" defTabSz="162238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id-ID" altLang="id-ID" sz="20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PENINGKATAN AKSES</a:t>
                </a:r>
                <a:endParaRPr kumimoji="0" lang="en-GB" altLang="id-ID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  <a:p>
                <a:pPr marL="266700" marR="0" lvl="0" indent="-266700" algn="l" defTabSz="162238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itchFamily="34" charset="0"/>
                  <a:buChar char="•"/>
                  <a:tabLst/>
                  <a:defRPr/>
                </a:pPr>
                <a:r>
                  <a:rPr kumimoji="0" lang="en-GB" altLang="id-ID" sz="20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SARANA</a:t>
                </a:r>
              </a:p>
              <a:p>
                <a:pPr marL="266700" marR="0" lvl="0" indent="-266700" algn="l" defTabSz="162238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itchFamily="34" charset="0"/>
                  <a:buChar char="•"/>
                  <a:tabLst/>
                  <a:defRPr/>
                </a:pPr>
                <a:r>
                  <a:rPr kumimoji="0" lang="en-GB" altLang="id-ID" sz="20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PRASARANA</a:t>
                </a:r>
              </a:p>
              <a:p>
                <a:pPr marL="266700" marR="0" lvl="0" indent="-266700" algn="l" defTabSz="162238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itchFamily="34" charset="0"/>
                  <a:buChar char="•"/>
                  <a:tabLst/>
                  <a:defRPr/>
                </a:pPr>
                <a:r>
                  <a:rPr kumimoji="0" lang="en-GB" altLang="id-ID" sz="20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ALAT KESEHATAN FARMASI</a:t>
                </a:r>
              </a:p>
              <a:p>
                <a:pPr marL="266700" marR="0" lvl="0" indent="-266700" algn="l" defTabSz="162238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itchFamily="34" charset="0"/>
                  <a:buChar char="•"/>
                  <a:tabLst/>
                  <a:defRPr/>
                </a:pPr>
                <a:r>
                  <a:rPr kumimoji="0" lang="en-GB" altLang="id-ID" sz="20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SISTEM RUJUKAN</a:t>
                </a:r>
              </a:p>
              <a:p>
                <a:pPr marL="266700" marR="0" lvl="0" indent="-266700" algn="l" defTabSz="162238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itchFamily="34" charset="0"/>
                  <a:buChar char="•"/>
                  <a:tabLst/>
                  <a:defRPr/>
                </a:pPr>
                <a:r>
                  <a:rPr kumimoji="0" lang="en-GB" altLang="id-ID" sz="20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PEMANFAATAN TEKNOLOGI INFORMASI</a:t>
                </a:r>
              </a:p>
            </p:txBody>
          </p:sp>
        </p:grpSp>
        <p:cxnSp>
          <p:nvCxnSpPr>
            <p:cNvPr id="90" name="Straight Connector 89">
              <a:extLst>
                <a:ext uri="{FF2B5EF4-FFF2-40B4-BE49-F238E27FC236}">
                  <a16:creationId xmlns="" xmlns:a16="http://schemas.microsoft.com/office/drawing/2014/main" id="{DE948B2E-01B5-4311-BD19-9CB4F612D277}"/>
                </a:ext>
              </a:extLst>
            </p:cNvPr>
            <p:cNvCxnSpPr/>
            <p:nvPr/>
          </p:nvCxnSpPr>
          <p:spPr>
            <a:xfrm rot="5400000">
              <a:off x="1133323" y="3615165"/>
              <a:ext cx="3210232" cy="1191"/>
            </a:xfrm>
            <a:prstGeom prst="line">
              <a:avLst/>
            </a:prstGeom>
            <a:ln>
              <a:prstDash val="dash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91" name="Straight Connector 90">
              <a:extLst>
                <a:ext uri="{FF2B5EF4-FFF2-40B4-BE49-F238E27FC236}">
                  <a16:creationId xmlns="" xmlns:a16="http://schemas.microsoft.com/office/drawing/2014/main" id="{825BB7D7-FBD3-4EBC-A323-C164612BF877}"/>
                </a:ext>
              </a:extLst>
            </p:cNvPr>
            <p:cNvCxnSpPr/>
            <p:nvPr/>
          </p:nvCxnSpPr>
          <p:spPr>
            <a:xfrm flipV="1">
              <a:off x="2739035" y="3580852"/>
              <a:ext cx="5766620" cy="1640024"/>
            </a:xfrm>
            <a:prstGeom prst="line">
              <a:avLst/>
            </a:prstGeom>
            <a:ln>
              <a:prstDash val="dash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92" name="Straight Connector 91">
              <a:extLst>
                <a:ext uri="{FF2B5EF4-FFF2-40B4-BE49-F238E27FC236}">
                  <a16:creationId xmlns="" xmlns:a16="http://schemas.microsoft.com/office/drawing/2014/main" id="{3D9812B1-F67F-4699-9C44-090BA2D3D342}"/>
                </a:ext>
              </a:extLst>
            </p:cNvPr>
            <p:cNvCxnSpPr/>
            <p:nvPr/>
          </p:nvCxnSpPr>
          <p:spPr>
            <a:xfrm rot="10800000">
              <a:off x="2739037" y="2010643"/>
              <a:ext cx="5821661" cy="1570208"/>
            </a:xfrm>
            <a:prstGeom prst="line">
              <a:avLst/>
            </a:prstGeom>
            <a:ln>
              <a:prstDash val="dash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</p:grpSp>
      <p:sp>
        <p:nvSpPr>
          <p:cNvPr id="100" name="Rectangle: Rounded Corners 4">
            <a:extLst>
              <a:ext uri="{FF2B5EF4-FFF2-40B4-BE49-F238E27FC236}">
                <a16:creationId xmlns="" xmlns:a16="http://schemas.microsoft.com/office/drawing/2014/main" id="{BC1879A0-8976-436A-B8F6-F233E62DD3F5}"/>
              </a:ext>
            </a:extLst>
          </p:cNvPr>
          <p:cNvSpPr txBox="1"/>
          <p:nvPr/>
        </p:nvSpPr>
        <p:spPr>
          <a:xfrm>
            <a:off x="6144407" y="3025578"/>
            <a:ext cx="1423851" cy="1079774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60960" tIns="60960" rIns="60960" bIns="60960" numCol="1" spcCol="1270" anchor="ctr" anchorCtr="0"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id-ID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UMBER DAYA KESEHATAN</a:t>
            </a:r>
          </a:p>
        </p:txBody>
      </p:sp>
      <p:cxnSp>
        <p:nvCxnSpPr>
          <p:cNvPr id="101" name="Straight Arrow Connector 100">
            <a:extLst>
              <a:ext uri="{FF2B5EF4-FFF2-40B4-BE49-F238E27FC236}">
                <a16:creationId xmlns="" xmlns:a16="http://schemas.microsoft.com/office/drawing/2014/main" id="{078A2F72-644D-4E9B-BC14-8C9402C3A5E4}"/>
              </a:ext>
            </a:extLst>
          </p:cNvPr>
          <p:cNvCxnSpPr>
            <a:cxnSpLocks/>
          </p:cNvCxnSpPr>
          <p:nvPr/>
        </p:nvCxnSpPr>
        <p:spPr>
          <a:xfrm>
            <a:off x="1111215" y="758929"/>
            <a:ext cx="8437880" cy="2327302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8" name="Oval 107">
            <a:extLst>
              <a:ext uri="{FF2B5EF4-FFF2-40B4-BE49-F238E27FC236}">
                <a16:creationId xmlns="" xmlns:a16="http://schemas.microsoft.com/office/drawing/2014/main" id="{A807EB9D-66B9-4117-B7D5-9012C3685A62}"/>
              </a:ext>
            </a:extLst>
          </p:cNvPr>
          <p:cNvSpPr/>
          <p:nvPr/>
        </p:nvSpPr>
        <p:spPr>
          <a:xfrm>
            <a:off x="9015036" y="2009235"/>
            <a:ext cx="3118276" cy="3099233"/>
          </a:xfrm>
          <a:prstGeom prst="ellipse">
            <a:avLst/>
          </a:prstGeom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9" name="Rectangle 108">
            <a:extLst>
              <a:ext uri="{FF2B5EF4-FFF2-40B4-BE49-F238E27FC236}">
                <a16:creationId xmlns="" xmlns:a16="http://schemas.microsoft.com/office/drawing/2014/main" id="{6ABE19BF-1E6E-48E8-B217-E03E4CB657B3}"/>
              </a:ext>
            </a:extLst>
          </p:cNvPr>
          <p:cNvSpPr/>
          <p:nvPr/>
        </p:nvSpPr>
        <p:spPr>
          <a:xfrm>
            <a:off x="9383254" y="2411303"/>
            <a:ext cx="2446900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erwujudnya</a:t>
            </a:r>
            <a:r>
              <a:rPr kumimoji="0" lang="en-US" alt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en-US" alt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kses</a:t>
            </a:r>
            <a:r>
              <a:rPr kumimoji="0" lang="en-US" alt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en-US" alt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elayanan</a:t>
            </a:r>
            <a:r>
              <a:rPr kumimoji="0" lang="en-US" alt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en-US" alt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Kesehatan</a:t>
            </a:r>
            <a:r>
              <a:rPr kumimoji="0" lang="en-US" alt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Dasar dan </a:t>
            </a:r>
            <a:r>
              <a:rPr kumimoji="0" lang="en-US" alt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ujukan</a:t>
            </a:r>
            <a:r>
              <a:rPr kumimoji="0" lang="en-US" alt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yang </a:t>
            </a:r>
            <a:r>
              <a:rPr kumimoji="0" lang="en-US" alt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berkualitas</a:t>
            </a:r>
            <a:r>
              <a:rPr kumimoji="0" lang="en-US" alt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en-US" alt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Bagi</a:t>
            </a:r>
            <a:r>
              <a:rPr kumimoji="0" lang="en-US" alt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Masyarakat</a:t>
            </a:r>
          </a:p>
        </p:txBody>
      </p:sp>
      <p:sp>
        <p:nvSpPr>
          <p:cNvPr id="29" name="Rectangle 10">
            <a:extLst>
              <a:ext uri="{FF2B5EF4-FFF2-40B4-BE49-F238E27FC236}">
                <a16:creationId xmlns="" xmlns:a16="http://schemas.microsoft.com/office/drawing/2014/main" id="{ECA52F8A-4AE4-41BB-B411-181D5BBF9464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47264" y="5623318"/>
            <a:ext cx="6916922" cy="12003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d-ID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Optimalisasi penggunaan Teknologi Informasi untuk memperluas dan mempermudah akses</a:t>
            </a:r>
            <a:r>
              <a:rPr kumimoji="0" lang="en-US" altLang="en-US" sz="2400" b="1" i="0" u="none" strike="noStrike" kern="1200" cap="none" spc="0" normalizeH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 </a:t>
            </a:r>
            <a:r>
              <a:rPr kumimoji="0" lang="en-US" altLang="en-US" sz="2400" b="1" i="0" u="none" strike="noStrike" kern="1200" cap="none" spc="0" normalizeH="0" noProof="0" dirty="0" err="1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masyarakat</a:t>
            </a:r>
            <a:r>
              <a:rPr kumimoji="0" lang="en-US" altLang="en-US" sz="2400" b="1" i="0" u="none" strike="noStrike" kern="1200" cap="none" spc="0" normalizeH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 </a:t>
            </a:r>
            <a:r>
              <a:rPr kumimoji="0" lang="en-US" altLang="en-US" sz="2400" b="1" i="0" u="none" strike="noStrike" kern="1200" cap="none" spc="0" normalizeH="0" noProof="0" dirty="0" err="1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erhadap</a:t>
            </a:r>
            <a:r>
              <a:rPr kumimoji="0" lang="en-US" altLang="en-US" sz="2400" b="1" i="0" u="none" strike="noStrike" kern="1200" cap="none" spc="0" normalizeH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 </a:t>
            </a:r>
            <a:r>
              <a:rPr kumimoji="0" lang="en-US" altLang="en-US" sz="2400" b="1" i="0" u="none" strike="noStrike" kern="1200" cap="none" spc="0" normalizeH="0" noProof="0" dirty="0" err="1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pelayanan</a:t>
            </a:r>
            <a:r>
              <a:rPr kumimoji="0" lang="en-US" altLang="en-US" sz="2400" b="1" i="0" u="none" strike="noStrike" kern="1200" cap="none" spc="0" normalizeH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 </a:t>
            </a:r>
            <a:r>
              <a:rPr kumimoji="0" lang="en-US" altLang="en-US" sz="2400" b="1" i="0" u="none" strike="noStrike" kern="1200" cap="none" spc="0" normalizeH="0" noProof="0" dirty="0" err="1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Kesehatan</a:t>
            </a:r>
            <a:endParaRPr kumimoji="0" lang="id-ID" altLang="en-US" sz="2400" b="1" i="0" u="none" strike="noStrike" kern="1200" cap="none" spc="0" normalizeH="0" baseline="0" noProof="0" dirty="0">
              <a:ln>
                <a:noFill/>
              </a:ln>
              <a:solidFill>
                <a:srgbClr val="4472C4">
                  <a:lumMod val="50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3" name="Elbow Connector 2"/>
          <p:cNvCxnSpPr/>
          <p:nvPr/>
        </p:nvCxnSpPr>
        <p:spPr>
          <a:xfrm>
            <a:off x="2100899" y="5108118"/>
            <a:ext cx="3179073" cy="1174457"/>
          </a:xfrm>
          <a:prstGeom prst="bentConnector3">
            <a:avLst>
              <a:gd name="adj1" fmla="val -2504"/>
            </a:avLst>
          </a:prstGeom>
          <a:ln w="571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939844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ontent Placeholder 16"/>
          <p:cNvSpPr>
            <a:spLocks noGrp="1"/>
          </p:cNvSpPr>
          <p:nvPr>
            <p:ph idx="1"/>
          </p:nvPr>
        </p:nvSpPr>
        <p:spPr>
          <a:xfrm>
            <a:off x="674914" y="427945"/>
            <a:ext cx="10515600" cy="939346"/>
          </a:xfrm>
        </p:spPr>
        <p:txBody>
          <a:bodyPr>
            <a:normAutofit/>
          </a:bodyPr>
          <a:lstStyle/>
          <a:p>
            <a:pPr marL="0" indent="0" algn="ctr">
              <a:buNone/>
            </a:pPr>
            <a:r>
              <a:rPr lang="en-US" sz="2600" b="1" dirty="0" err="1"/>
              <a:t>Surat</a:t>
            </a:r>
            <a:r>
              <a:rPr lang="en-US" sz="2600" b="1" dirty="0"/>
              <a:t> </a:t>
            </a:r>
            <a:r>
              <a:rPr lang="en-US" sz="2600" b="1" dirty="0" err="1"/>
              <a:t>Keputusan</a:t>
            </a:r>
            <a:r>
              <a:rPr lang="en-US" sz="2600" b="1" dirty="0"/>
              <a:t> </a:t>
            </a:r>
            <a:r>
              <a:rPr lang="en-US" sz="2600" b="1" dirty="0" err="1"/>
              <a:t>Direktur</a:t>
            </a:r>
            <a:r>
              <a:rPr lang="en-US" sz="2600" b="1" dirty="0"/>
              <a:t> </a:t>
            </a:r>
            <a:r>
              <a:rPr lang="en-US" sz="2600" b="1" dirty="0" err="1"/>
              <a:t>Utama</a:t>
            </a:r>
            <a:r>
              <a:rPr lang="en-US" sz="2600" b="1" dirty="0"/>
              <a:t> </a:t>
            </a:r>
            <a:r>
              <a:rPr lang="en-US" sz="2600" b="1" dirty="0" err="1"/>
              <a:t>Rumah</a:t>
            </a:r>
            <a:r>
              <a:rPr lang="en-US" sz="2600" b="1" dirty="0"/>
              <a:t> </a:t>
            </a:r>
            <a:r>
              <a:rPr lang="en-US" sz="2600" b="1" dirty="0" err="1"/>
              <a:t>Sakit</a:t>
            </a:r>
            <a:r>
              <a:rPr lang="en-US" sz="2600" b="1" dirty="0"/>
              <a:t> </a:t>
            </a:r>
            <a:r>
              <a:rPr lang="en-US" sz="2600" b="1" dirty="0" err="1"/>
              <a:t>Kanker</a:t>
            </a:r>
            <a:r>
              <a:rPr lang="en-US" sz="2600" b="1" dirty="0"/>
              <a:t> “</a:t>
            </a:r>
            <a:r>
              <a:rPr lang="en-US" sz="2600" b="1" dirty="0" err="1"/>
              <a:t>Dharmais</a:t>
            </a:r>
            <a:r>
              <a:rPr lang="en-US" sz="2600" b="1" dirty="0" smtClean="0"/>
              <a:t>”</a:t>
            </a:r>
          </a:p>
          <a:p>
            <a:pPr marL="0" indent="0" algn="ctr">
              <a:buNone/>
            </a:pPr>
            <a:r>
              <a:rPr lang="en-US" sz="2600" b="1" dirty="0" err="1" smtClean="0"/>
              <a:t>Nomor</a:t>
            </a:r>
            <a:r>
              <a:rPr lang="en-US" sz="2600" b="1" dirty="0" smtClean="0"/>
              <a:t> </a:t>
            </a:r>
            <a:r>
              <a:rPr lang="en-US" sz="2600" b="1" dirty="0"/>
              <a:t>: HK.02.04/I/293/2016, </a:t>
            </a:r>
            <a:r>
              <a:rPr lang="en-US" sz="2600" b="1" dirty="0" err="1"/>
              <a:t>Tanggal</a:t>
            </a:r>
            <a:r>
              <a:rPr lang="en-US" sz="2600" b="1" dirty="0"/>
              <a:t> : 18 </a:t>
            </a:r>
            <a:r>
              <a:rPr lang="en-US" sz="2600" b="1" dirty="0" err="1"/>
              <a:t>Januari</a:t>
            </a:r>
            <a:r>
              <a:rPr lang="en-US" sz="2600" b="1" dirty="0"/>
              <a:t> 2016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ECD629-4DA5-4EAE-B174-69948CAAE2CE}" type="slidenum">
              <a:rPr lang="en-US" smtClean="0"/>
              <a:pPr/>
              <a:t>16</a:t>
            </a:fld>
            <a:endParaRPr lang="en-US"/>
          </a:p>
        </p:txBody>
      </p:sp>
      <p:graphicFrame>
        <p:nvGraphicFramePr>
          <p:cNvPr id="19" name="Diagram 18"/>
          <p:cNvGraphicFramePr/>
          <p:nvPr>
            <p:extLst>
              <p:ext uri="{D42A27DB-BD31-4B8C-83A1-F6EECF244321}">
                <p14:modId xmlns:p14="http://schemas.microsoft.com/office/powerpoint/2010/main" val="822026700"/>
              </p:ext>
            </p:extLst>
          </p:nvPr>
        </p:nvGraphicFramePr>
        <p:xfrm>
          <a:off x="1052286" y="1514323"/>
          <a:ext cx="9539514" cy="426599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1703497259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00" name="Straight Connector 299"/>
          <p:cNvCxnSpPr/>
          <p:nvPr/>
        </p:nvCxnSpPr>
        <p:spPr bwMode="auto">
          <a:xfrm>
            <a:off x="9781169" y="2597149"/>
            <a:ext cx="0" cy="279318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  <a:prstDash val="solid"/>
          </a:ln>
          <a:effectLst>
            <a:outerShdw blurRad="50800" dist="12700" dir="5400000" algn="t" rotWithShape="0">
              <a:prstClr val="black">
                <a:alpha val="30000"/>
              </a:prst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9" name="Straight Connector 308"/>
          <p:cNvCxnSpPr/>
          <p:nvPr/>
        </p:nvCxnSpPr>
        <p:spPr bwMode="auto">
          <a:xfrm flipH="1">
            <a:off x="11703893" y="3394637"/>
            <a:ext cx="288000" cy="0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  <a:prstDash val="solid"/>
          </a:ln>
          <a:effectLst>
            <a:outerShdw blurRad="50800" dist="12700" dir="5400000" algn="t" rotWithShape="0">
              <a:prstClr val="black">
                <a:alpha val="30000"/>
              </a:prst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10" name="Straight Connector 309"/>
          <p:cNvCxnSpPr/>
          <p:nvPr/>
        </p:nvCxnSpPr>
        <p:spPr bwMode="auto">
          <a:xfrm flipH="1">
            <a:off x="11703893" y="3986643"/>
            <a:ext cx="288000" cy="0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  <a:prstDash val="solid"/>
          </a:ln>
          <a:effectLst>
            <a:outerShdw blurRad="50800" dist="12700" dir="5400000" algn="t" rotWithShape="0">
              <a:prstClr val="black">
                <a:alpha val="30000"/>
              </a:prst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11" name="Straight Connector 310"/>
          <p:cNvCxnSpPr/>
          <p:nvPr/>
        </p:nvCxnSpPr>
        <p:spPr bwMode="auto">
          <a:xfrm flipH="1">
            <a:off x="11703893" y="4634231"/>
            <a:ext cx="288000" cy="0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  <a:prstDash val="solid"/>
          </a:ln>
          <a:effectLst>
            <a:outerShdw blurRad="50800" dist="12700" dir="5400000" algn="t" rotWithShape="0">
              <a:prstClr val="black">
                <a:alpha val="30000"/>
              </a:prst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8" name="Straight Connector 177"/>
          <p:cNvCxnSpPr/>
          <p:nvPr/>
        </p:nvCxnSpPr>
        <p:spPr bwMode="auto">
          <a:xfrm flipH="1">
            <a:off x="7728896" y="3382347"/>
            <a:ext cx="288000" cy="0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  <a:prstDash val="solid"/>
          </a:ln>
          <a:effectLst>
            <a:outerShdw blurRad="50800" dist="12700" dir="5400000" algn="t" rotWithShape="0">
              <a:prstClr val="black">
                <a:alpha val="30000"/>
              </a:prst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4" name="Straight Connector 303"/>
          <p:cNvCxnSpPr/>
          <p:nvPr/>
        </p:nvCxnSpPr>
        <p:spPr bwMode="auto">
          <a:xfrm flipH="1">
            <a:off x="7728896" y="3973159"/>
            <a:ext cx="288000" cy="0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  <a:prstDash val="solid"/>
          </a:ln>
          <a:effectLst>
            <a:outerShdw blurRad="50800" dist="12700" dir="5400000" algn="t" rotWithShape="0">
              <a:prstClr val="black">
                <a:alpha val="30000"/>
              </a:prst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5" name="Straight Connector 304"/>
          <p:cNvCxnSpPr/>
          <p:nvPr/>
        </p:nvCxnSpPr>
        <p:spPr bwMode="auto">
          <a:xfrm flipH="1">
            <a:off x="7728896" y="4567966"/>
            <a:ext cx="288000" cy="0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  <a:prstDash val="solid"/>
          </a:ln>
          <a:effectLst>
            <a:outerShdw blurRad="50800" dist="12700" dir="5400000" algn="t" rotWithShape="0">
              <a:prstClr val="black">
                <a:alpha val="30000"/>
              </a:prst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6" name="Straight Connector 305"/>
          <p:cNvCxnSpPr/>
          <p:nvPr/>
        </p:nvCxnSpPr>
        <p:spPr bwMode="auto">
          <a:xfrm flipH="1">
            <a:off x="7728896" y="5116457"/>
            <a:ext cx="288000" cy="0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  <a:prstDash val="solid"/>
          </a:ln>
          <a:effectLst>
            <a:outerShdw blurRad="50800" dist="12700" dir="5400000" algn="t" rotWithShape="0">
              <a:prstClr val="black">
                <a:alpha val="30000"/>
              </a:prst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7" name="Straight Connector 306"/>
          <p:cNvCxnSpPr/>
          <p:nvPr/>
        </p:nvCxnSpPr>
        <p:spPr bwMode="auto">
          <a:xfrm flipH="1">
            <a:off x="7728896" y="5696890"/>
            <a:ext cx="288000" cy="0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  <a:prstDash val="solid"/>
          </a:ln>
          <a:effectLst>
            <a:outerShdw blurRad="50800" dist="12700" dir="5400000" algn="t" rotWithShape="0">
              <a:prstClr val="black">
                <a:alpha val="30000"/>
              </a:prst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8" name="Straight Connector 307"/>
          <p:cNvCxnSpPr/>
          <p:nvPr/>
        </p:nvCxnSpPr>
        <p:spPr bwMode="auto">
          <a:xfrm flipH="1">
            <a:off x="7728896" y="6276200"/>
            <a:ext cx="288000" cy="0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  <a:prstDash val="solid"/>
          </a:ln>
          <a:effectLst>
            <a:outerShdw blurRad="50800" dist="12700" dir="5400000" algn="t" rotWithShape="0">
              <a:prstClr val="black">
                <a:alpha val="30000"/>
              </a:prst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99" name="Straight Connector 298"/>
          <p:cNvCxnSpPr/>
          <p:nvPr/>
        </p:nvCxnSpPr>
        <p:spPr>
          <a:xfrm>
            <a:off x="2047731" y="1741274"/>
            <a:ext cx="0" cy="288000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  <a:prstDash val="solid"/>
            <a:headEnd type="none" w="med" len="med"/>
            <a:tailEnd type="none" w="med" len="med"/>
          </a:ln>
          <a:effectLst>
            <a:outerShdw blurRad="38100" dist="127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57" name="Straight Connector 256"/>
          <p:cNvCxnSpPr/>
          <p:nvPr/>
        </p:nvCxnSpPr>
        <p:spPr bwMode="auto">
          <a:xfrm>
            <a:off x="2047731" y="2597149"/>
            <a:ext cx="0" cy="279318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  <a:prstDash val="solid"/>
          </a:ln>
          <a:effectLst>
            <a:outerShdw blurRad="50800" dist="12700" dir="5400000" algn="t" rotWithShape="0">
              <a:prstClr val="black">
                <a:alpha val="30000"/>
              </a:prst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120" name="Group 119"/>
          <p:cNvGrpSpPr/>
          <p:nvPr/>
        </p:nvGrpSpPr>
        <p:grpSpPr>
          <a:xfrm>
            <a:off x="243628" y="3775937"/>
            <a:ext cx="1820038" cy="503225"/>
            <a:chOff x="3541489" y="1832866"/>
            <a:chExt cx="2061022" cy="585143"/>
          </a:xfrm>
        </p:grpSpPr>
        <p:sp>
          <p:nvSpPr>
            <p:cNvPr id="121" name="Rounded Rectangle 120"/>
            <p:cNvSpPr/>
            <p:nvPr/>
          </p:nvSpPr>
          <p:spPr bwMode="auto">
            <a:xfrm>
              <a:off x="3541489" y="1832866"/>
              <a:ext cx="2061022" cy="585143"/>
            </a:xfrm>
            <a:prstGeom prst="roundRect">
              <a:avLst>
                <a:gd name="adj" fmla="val 0"/>
              </a:avLst>
            </a:prstGeom>
            <a:solidFill>
              <a:schemeClr val="accent2">
                <a:lumMod val="75000"/>
              </a:schemeClr>
            </a:solidFill>
            <a:ln>
              <a:noFill/>
            </a:ln>
            <a:effectLst/>
          </p:spPr>
          <p:txBody>
            <a:bodyPr anchor="ctr"/>
            <a:lstStyle/>
            <a:p>
              <a:pPr>
                <a:defRPr/>
              </a:pPr>
              <a:endParaRPr lang="id-ID" sz="1100" b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endParaRPr>
            </a:p>
          </p:txBody>
        </p:sp>
        <p:sp>
          <p:nvSpPr>
            <p:cNvPr id="122" name="Rectangle 121"/>
            <p:cNvSpPr/>
            <p:nvPr/>
          </p:nvSpPr>
          <p:spPr>
            <a:xfrm>
              <a:off x="3543300" y="2133600"/>
              <a:ext cx="2057400" cy="284409"/>
            </a:xfrm>
            <a:prstGeom prst="rect">
              <a:avLst/>
            </a:pr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600">
                <a:solidFill>
                  <a:schemeClr val="bg1"/>
                </a:solidFill>
              </a:endParaRPr>
            </a:p>
          </p:txBody>
        </p:sp>
      </p:grpSp>
      <p:cxnSp>
        <p:nvCxnSpPr>
          <p:cNvPr id="149" name="Straight Connector 148"/>
          <p:cNvCxnSpPr/>
          <p:nvPr/>
        </p:nvCxnSpPr>
        <p:spPr>
          <a:xfrm>
            <a:off x="6095163" y="1730641"/>
            <a:ext cx="0" cy="282743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  <a:prstDash val="solid"/>
            <a:headEnd type="none" w="med" len="med"/>
            <a:tailEnd type="none" w="med" len="med"/>
          </a:ln>
          <a:effectLst>
            <a:outerShdw blurRad="38100" dist="127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/>
          <p:cNvCxnSpPr/>
          <p:nvPr/>
        </p:nvCxnSpPr>
        <p:spPr>
          <a:xfrm>
            <a:off x="6096048" y="1283353"/>
            <a:ext cx="0" cy="456571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  <a:prstDash val="solid"/>
            <a:headEnd type="none" w="med" len="med"/>
            <a:tailEnd type="none" w="med" len="med"/>
          </a:ln>
          <a:effectLst>
            <a:outerShdw blurRad="38100" dist="127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/>
          <p:nvPr/>
        </p:nvCxnSpPr>
        <p:spPr>
          <a:xfrm>
            <a:off x="2051940" y="1739924"/>
            <a:ext cx="7740000" cy="0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  <a:prstDash val="solid"/>
          </a:ln>
          <a:effectLst>
            <a:outerShdw blurRad="50800" dist="12700" dir="5400000" algn="t" rotWithShape="0">
              <a:prstClr val="black">
                <a:alpha val="30000"/>
              </a:prst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0" name="Straight Connector 149"/>
          <p:cNvCxnSpPr/>
          <p:nvPr/>
        </p:nvCxnSpPr>
        <p:spPr>
          <a:xfrm>
            <a:off x="9790397" y="1741274"/>
            <a:ext cx="0" cy="282743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  <a:prstDash val="solid"/>
            <a:headEnd type="none" w="med" len="med"/>
            <a:tailEnd type="none" w="med" len="med"/>
          </a:ln>
          <a:effectLst>
            <a:outerShdw blurRad="38100" dist="127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18" name="Group 17"/>
          <p:cNvGrpSpPr/>
          <p:nvPr/>
        </p:nvGrpSpPr>
        <p:grpSpPr>
          <a:xfrm>
            <a:off x="4811341" y="837296"/>
            <a:ext cx="2569402" cy="669792"/>
            <a:chOff x="3541489" y="1832866"/>
            <a:chExt cx="2061022" cy="585143"/>
          </a:xfrm>
        </p:grpSpPr>
        <p:sp>
          <p:nvSpPr>
            <p:cNvPr id="230" name="Rounded Rectangle 229"/>
            <p:cNvSpPr/>
            <p:nvPr/>
          </p:nvSpPr>
          <p:spPr bwMode="auto">
            <a:xfrm>
              <a:off x="3541489" y="1832866"/>
              <a:ext cx="2061022" cy="585143"/>
            </a:xfrm>
            <a:prstGeom prst="roundRect">
              <a:avLst>
                <a:gd name="adj" fmla="val 0"/>
              </a:avLst>
            </a:prstGeom>
            <a:solidFill>
              <a:schemeClr val="accent1"/>
            </a:solidFill>
            <a:ln>
              <a:noFill/>
            </a:ln>
            <a:effectLst/>
          </p:spPr>
          <p:txBody>
            <a:bodyPr anchor="ctr"/>
            <a:lstStyle/>
            <a:p>
              <a:pPr>
                <a:defRPr/>
              </a:pPr>
              <a:endParaRPr lang="id-ID" sz="1200" b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endParaRPr>
            </a:p>
          </p:txBody>
        </p:sp>
        <p:sp>
          <p:nvSpPr>
            <p:cNvPr id="16" name="Rectangle 15"/>
            <p:cNvSpPr/>
            <p:nvPr/>
          </p:nvSpPr>
          <p:spPr>
            <a:xfrm>
              <a:off x="3543300" y="2133600"/>
              <a:ext cx="2057400" cy="284409"/>
            </a:xfrm>
            <a:prstGeom prst="rect">
              <a:avLst/>
            </a:pr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</p:grpSp>
      <p:sp>
        <p:nvSpPr>
          <p:cNvPr id="231" name="TextBox 230"/>
          <p:cNvSpPr txBox="1"/>
          <p:nvPr/>
        </p:nvSpPr>
        <p:spPr bwMode="auto">
          <a:xfrm>
            <a:off x="5561873" y="911168"/>
            <a:ext cx="1507016" cy="276999"/>
          </a:xfrm>
          <a:prstGeom prst="rect">
            <a:avLst/>
          </a:prstGeom>
          <a:noFill/>
        </p:spPr>
        <p:txBody>
          <a:bodyPr wrap="none" anchor="ctr">
            <a:spAutoFit/>
          </a:bodyPr>
          <a:lstStyle/>
          <a:p>
            <a:pPr>
              <a:defRPr/>
            </a:pPr>
            <a:r>
              <a:rPr lang="en-US" sz="1200" b="1" dirty="0" err="1" smtClean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Kepala</a:t>
            </a:r>
            <a:r>
              <a:rPr lang="en-US" sz="1200" b="1" dirty="0" smtClean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200" b="1" dirty="0" err="1" smtClean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Instalasi</a:t>
            </a:r>
            <a:r>
              <a:rPr lang="en-US" sz="1200" b="1" dirty="0" smtClean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SIMRS</a:t>
            </a:r>
            <a:endParaRPr lang="en-US" sz="1200" b="1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10" name="TextBox 109"/>
          <p:cNvSpPr txBox="1"/>
          <p:nvPr/>
        </p:nvSpPr>
        <p:spPr bwMode="auto">
          <a:xfrm>
            <a:off x="5561873" y="1222649"/>
            <a:ext cx="1527862" cy="252212"/>
          </a:xfrm>
          <a:prstGeom prst="rect">
            <a:avLst/>
          </a:prstGeom>
          <a:noFill/>
        </p:spPr>
        <p:txBody>
          <a:bodyPr wrap="square" anchor="ctr">
            <a:noAutofit/>
          </a:bodyPr>
          <a:lstStyle>
            <a:defPPr>
              <a:defRPr lang="en-US"/>
            </a:defPPr>
            <a:lvl1pPr algn="ctr">
              <a:defRPr sz="100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pPr algn="l"/>
            <a:r>
              <a:rPr lang="en-US" sz="1050" dirty="0" err="1" smtClean="0"/>
              <a:t>Widi</a:t>
            </a:r>
            <a:r>
              <a:rPr lang="en-US" sz="1050" dirty="0" smtClean="0"/>
              <a:t> </a:t>
            </a:r>
            <a:r>
              <a:rPr lang="en-US" sz="1050" dirty="0" err="1" smtClean="0"/>
              <a:t>Budianto,ST</a:t>
            </a:r>
            <a:r>
              <a:rPr lang="en-US" sz="1050" dirty="0" smtClean="0"/>
              <a:t>, </a:t>
            </a:r>
            <a:r>
              <a:rPr lang="en-US" sz="1050" dirty="0" err="1" smtClean="0"/>
              <a:t>M.Kom</a:t>
            </a:r>
            <a:endParaRPr lang="en-US" sz="1050" dirty="0"/>
          </a:p>
        </p:txBody>
      </p:sp>
      <p:grpSp>
        <p:nvGrpSpPr>
          <p:cNvPr id="126" name="Group 125"/>
          <p:cNvGrpSpPr/>
          <p:nvPr/>
        </p:nvGrpSpPr>
        <p:grpSpPr>
          <a:xfrm>
            <a:off x="893790" y="2013386"/>
            <a:ext cx="2335820" cy="608902"/>
            <a:chOff x="3541488" y="1832866"/>
            <a:chExt cx="2061021" cy="585143"/>
          </a:xfrm>
        </p:grpSpPr>
        <p:sp>
          <p:nvSpPr>
            <p:cNvPr id="132" name="Rounded Rectangle 131"/>
            <p:cNvSpPr/>
            <p:nvPr/>
          </p:nvSpPr>
          <p:spPr bwMode="auto">
            <a:xfrm>
              <a:off x="3541488" y="1832866"/>
              <a:ext cx="2061021" cy="585143"/>
            </a:xfrm>
            <a:prstGeom prst="roundRect">
              <a:avLst>
                <a:gd name="adj" fmla="val 0"/>
              </a:avLst>
            </a:prstGeom>
            <a:solidFill>
              <a:schemeClr val="accent2"/>
            </a:solidFill>
            <a:ln>
              <a:noFill/>
            </a:ln>
            <a:effectLst/>
          </p:spPr>
          <p:txBody>
            <a:bodyPr anchor="ctr"/>
            <a:lstStyle/>
            <a:p>
              <a:pPr>
                <a:defRPr/>
              </a:pPr>
              <a:endParaRPr lang="id-ID" sz="1100" b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endParaRPr>
            </a:p>
          </p:txBody>
        </p:sp>
        <p:sp>
          <p:nvSpPr>
            <p:cNvPr id="133" name="Rectangle 132"/>
            <p:cNvSpPr/>
            <p:nvPr/>
          </p:nvSpPr>
          <p:spPr>
            <a:xfrm>
              <a:off x="3543300" y="2133600"/>
              <a:ext cx="2057400" cy="284409"/>
            </a:xfrm>
            <a:prstGeom prst="rect">
              <a:avLst/>
            </a:pr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600">
                <a:solidFill>
                  <a:schemeClr val="bg1"/>
                </a:solidFill>
              </a:endParaRPr>
            </a:p>
          </p:txBody>
        </p:sp>
      </p:grpSp>
      <p:sp>
        <p:nvSpPr>
          <p:cNvPr id="127" name="TextBox 126"/>
          <p:cNvSpPr txBox="1"/>
          <p:nvPr/>
        </p:nvSpPr>
        <p:spPr bwMode="auto">
          <a:xfrm>
            <a:off x="1571428" y="2075645"/>
            <a:ext cx="1641796" cy="261610"/>
          </a:xfrm>
          <a:prstGeom prst="rect">
            <a:avLst/>
          </a:prstGeom>
          <a:noFill/>
        </p:spPr>
        <p:txBody>
          <a:bodyPr wrap="none" anchor="ctr">
            <a:spAutoFit/>
          </a:bodyPr>
          <a:lstStyle/>
          <a:p>
            <a:pPr>
              <a:defRPr/>
            </a:pPr>
            <a:r>
              <a:rPr lang="en-US" sz="1100" b="1" dirty="0" err="1" smtClean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Koordinator</a:t>
            </a:r>
            <a:r>
              <a:rPr lang="en-US" sz="1100" b="1" dirty="0" smtClean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100" b="1" dirty="0" err="1" smtClean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Operasional</a:t>
            </a:r>
            <a:r>
              <a:rPr lang="en-US" sz="1100" b="1" dirty="0" smtClean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TIK</a:t>
            </a:r>
            <a:endParaRPr lang="en-US" sz="1100" b="1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28" name="TextBox 127"/>
          <p:cNvSpPr txBox="1"/>
          <p:nvPr/>
        </p:nvSpPr>
        <p:spPr bwMode="auto">
          <a:xfrm>
            <a:off x="1571428" y="2363707"/>
            <a:ext cx="1388966" cy="229283"/>
          </a:xfrm>
          <a:prstGeom prst="rect">
            <a:avLst/>
          </a:prstGeom>
          <a:noFill/>
        </p:spPr>
        <p:txBody>
          <a:bodyPr wrap="square" anchor="ctr">
            <a:noAutofit/>
          </a:bodyPr>
          <a:lstStyle>
            <a:defPPr>
              <a:defRPr lang="en-US"/>
            </a:defPPr>
            <a:lvl1pPr algn="ctr">
              <a:defRPr sz="100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pPr algn="l"/>
            <a:r>
              <a:rPr lang="en-US" dirty="0" err="1" smtClean="0"/>
              <a:t>Hary</a:t>
            </a:r>
            <a:r>
              <a:rPr lang="en-US" dirty="0" smtClean="0"/>
              <a:t> </a:t>
            </a:r>
            <a:r>
              <a:rPr lang="en-US" dirty="0" err="1" smtClean="0"/>
              <a:t>Murti</a:t>
            </a:r>
            <a:r>
              <a:rPr lang="en-US" dirty="0" smtClean="0"/>
              <a:t> </a:t>
            </a:r>
            <a:r>
              <a:rPr lang="en-US" dirty="0" err="1" smtClean="0"/>
              <a:t>Ady</a:t>
            </a:r>
            <a:r>
              <a:rPr lang="en-US" dirty="0" smtClean="0"/>
              <a:t> K, </a:t>
            </a:r>
            <a:r>
              <a:rPr lang="en-US" dirty="0" err="1" smtClean="0"/>
              <a:t>S.Kom</a:t>
            </a:r>
            <a:endParaRPr lang="en-US" dirty="0"/>
          </a:p>
        </p:txBody>
      </p:sp>
      <p:grpSp>
        <p:nvGrpSpPr>
          <p:cNvPr id="135" name="Group 134"/>
          <p:cNvGrpSpPr/>
          <p:nvPr/>
        </p:nvGrpSpPr>
        <p:grpSpPr>
          <a:xfrm>
            <a:off x="4928134" y="2013386"/>
            <a:ext cx="2335820" cy="608902"/>
            <a:chOff x="3541488" y="1832866"/>
            <a:chExt cx="2061021" cy="585143"/>
          </a:xfrm>
        </p:grpSpPr>
        <p:sp>
          <p:nvSpPr>
            <p:cNvPr id="138" name="Rounded Rectangle 137"/>
            <p:cNvSpPr/>
            <p:nvPr/>
          </p:nvSpPr>
          <p:spPr bwMode="auto">
            <a:xfrm>
              <a:off x="3541488" y="1832866"/>
              <a:ext cx="2061021" cy="585143"/>
            </a:xfrm>
            <a:prstGeom prst="roundRect">
              <a:avLst>
                <a:gd name="adj" fmla="val 0"/>
              </a:avLst>
            </a:prstGeom>
            <a:solidFill>
              <a:schemeClr val="accent3"/>
            </a:solidFill>
            <a:ln>
              <a:noFill/>
            </a:ln>
            <a:effectLst/>
          </p:spPr>
          <p:txBody>
            <a:bodyPr anchor="ctr"/>
            <a:lstStyle/>
            <a:p>
              <a:pPr>
                <a:defRPr/>
              </a:pPr>
              <a:endParaRPr lang="id-ID" sz="1100" b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endParaRPr>
            </a:p>
          </p:txBody>
        </p:sp>
        <p:sp>
          <p:nvSpPr>
            <p:cNvPr id="139" name="Rectangle 138"/>
            <p:cNvSpPr/>
            <p:nvPr/>
          </p:nvSpPr>
          <p:spPr>
            <a:xfrm>
              <a:off x="3543300" y="2133600"/>
              <a:ext cx="2057400" cy="284409"/>
            </a:xfrm>
            <a:prstGeom prst="rect">
              <a:avLst/>
            </a:pr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600">
                <a:solidFill>
                  <a:schemeClr val="bg1"/>
                </a:solidFill>
              </a:endParaRPr>
            </a:p>
          </p:txBody>
        </p:sp>
      </p:grpSp>
      <p:sp>
        <p:nvSpPr>
          <p:cNvPr id="136" name="TextBox 135"/>
          <p:cNvSpPr txBox="1"/>
          <p:nvPr/>
        </p:nvSpPr>
        <p:spPr bwMode="auto">
          <a:xfrm>
            <a:off x="5572093" y="2083339"/>
            <a:ext cx="1768433" cy="246221"/>
          </a:xfrm>
          <a:prstGeom prst="rect">
            <a:avLst/>
          </a:prstGeom>
          <a:noFill/>
        </p:spPr>
        <p:txBody>
          <a:bodyPr wrap="none" anchor="ctr">
            <a:spAutoFit/>
          </a:bodyPr>
          <a:lstStyle/>
          <a:p>
            <a:pPr>
              <a:defRPr/>
            </a:pPr>
            <a:r>
              <a:rPr lang="en-US" sz="1000" b="1" dirty="0" err="1" smtClean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Koordinator</a:t>
            </a:r>
            <a:r>
              <a:rPr lang="en-US" sz="1000" b="1" dirty="0" smtClean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000" b="1" dirty="0" err="1" smtClean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Infrastruktur</a:t>
            </a:r>
            <a:r>
              <a:rPr lang="en-US" sz="1000" b="1" dirty="0" smtClean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000" b="1" dirty="0" err="1" smtClean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Jaringan</a:t>
            </a:r>
            <a:endParaRPr lang="en-US" sz="1000" b="1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37" name="TextBox 136"/>
          <p:cNvSpPr txBox="1"/>
          <p:nvPr/>
        </p:nvSpPr>
        <p:spPr bwMode="auto">
          <a:xfrm>
            <a:off x="5572093" y="2363707"/>
            <a:ext cx="1604318" cy="270386"/>
          </a:xfrm>
          <a:prstGeom prst="rect">
            <a:avLst/>
          </a:prstGeom>
          <a:noFill/>
        </p:spPr>
        <p:txBody>
          <a:bodyPr wrap="square" anchor="ctr">
            <a:noAutofit/>
          </a:bodyPr>
          <a:lstStyle>
            <a:defPPr>
              <a:defRPr lang="en-US"/>
            </a:defPPr>
            <a:lvl1pPr algn="ctr">
              <a:defRPr sz="100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pPr algn="l"/>
            <a:r>
              <a:rPr lang="en-US" dirty="0" err="1" smtClean="0"/>
              <a:t>Bambang</a:t>
            </a:r>
            <a:r>
              <a:rPr lang="en-US" dirty="0" smtClean="0"/>
              <a:t> </a:t>
            </a:r>
            <a:r>
              <a:rPr lang="en-US" dirty="0" err="1" smtClean="0"/>
              <a:t>Syarif</a:t>
            </a:r>
            <a:r>
              <a:rPr lang="en-US" dirty="0" smtClean="0"/>
              <a:t> </a:t>
            </a:r>
            <a:r>
              <a:rPr lang="en-US" dirty="0" err="1" smtClean="0"/>
              <a:t>Hidayat</a:t>
            </a:r>
            <a:r>
              <a:rPr lang="en-US" dirty="0" smtClean="0"/>
              <a:t>, </a:t>
            </a:r>
            <a:r>
              <a:rPr lang="en-US" dirty="0" err="1" smtClean="0"/>
              <a:t>S.Kom</a:t>
            </a:r>
            <a:endParaRPr lang="en-US" dirty="0"/>
          </a:p>
        </p:txBody>
      </p:sp>
      <p:grpSp>
        <p:nvGrpSpPr>
          <p:cNvPr id="141" name="Group 140"/>
          <p:cNvGrpSpPr/>
          <p:nvPr/>
        </p:nvGrpSpPr>
        <p:grpSpPr>
          <a:xfrm>
            <a:off x="8672469" y="2013386"/>
            <a:ext cx="2335821" cy="608902"/>
            <a:chOff x="3541489" y="1832866"/>
            <a:chExt cx="2061022" cy="585143"/>
          </a:xfrm>
        </p:grpSpPr>
        <p:sp>
          <p:nvSpPr>
            <p:cNvPr id="144" name="Rounded Rectangle 143"/>
            <p:cNvSpPr/>
            <p:nvPr/>
          </p:nvSpPr>
          <p:spPr bwMode="auto">
            <a:xfrm>
              <a:off x="3541489" y="1832866"/>
              <a:ext cx="2061022" cy="585143"/>
            </a:xfrm>
            <a:prstGeom prst="roundRect">
              <a:avLst>
                <a:gd name="adj" fmla="val 0"/>
              </a:avLst>
            </a:prstGeom>
            <a:solidFill>
              <a:schemeClr val="accent4"/>
            </a:solidFill>
            <a:ln>
              <a:noFill/>
            </a:ln>
            <a:effectLst/>
          </p:spPr>
          <p:txBody>
            <a:bodyPr anchor="ctr"/>
            <a:lstStyle/>
            <a:p>
              <a:pPr>
                <a:defRPr/>
              </a:pPr>
              <a:endParaRPr lang="id-ID" sz="1100" b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endParaRPr>
            </a:p>
          </p:txBody>
        </p:sp>
        <p:sp>
          <p:nvSpPr>
            <p:cNvPr id="145" name="Rectangle 144"/>
            <p:cNvSpPr/>
            <p:nvPr/>
          </p:nvSpPr>
          <p:spPr>
            <a:xfrm>
              <a:off x="3543300" y="2133600"/>
              <a:ext cx="2057400" cy="284409"/>
            </a:xfrm>
            <a:prstGeom prst="rect">
              <a:avLst/>
            </a:pr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600">
                <a:solidFill>
                  <a:schemeClr val="bg1"/>
                </a:solidFill>
              </a:endParaRPr>
            </a:p>
          </p:txBody>
        </p:sp>
      </p:grpSp>
      <p:sp>
        <p:nvSpPr>
          <p:cNvPr id="142" name="TextBox 141"/>
          <p:cNvSpPr txBox="1"/>
          <p:nvPr/>
        </p:nvSpPr>
        <p:spPr bwMode="auto">
          <a:xfrm>
            <a:off x="9364959" y="2075645"/>
            <a:ext cx="1705916" cy="261610"/>
          </a:xfrm>
          <a:prstGeom prst="rect">
            <a:avLst/>
          </a:prstGeom>
          <a:noFill/>
        </p:spPr>
        <p:txBody>
          <a:bodyPr wrap="none" anchor="ctr">
            <a:spAutoFit/>
          </a:bodyPr>
          <a:lstStyle/>
          <a:p>
            <a:pPr>
              <a:defRPr/>
            </a:pPr>
            <a:r>
              <a:rPr lang="en-US" sz="1100" b="1" dirty="0" err="1" smtClean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Koordinator</a:t>
            </a:r>
            <a:r>
              <a:rPr lang="en-US" sz="1100" b="1" dirty="0" smtClean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IT App &amp; Develop</a:t>
            </a:r>
            <a:endParaRPr lang="en-US" sz="1100" b="1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43" name="TextBox 142"/>
          <p:cNvSpPr txBox="1"/>
          <p:nvPr/>
        </p:nvSpPr>
        <p:spPr bwMode="auto">
          <a:xfrm>
            <a:off x="9364959" y="2363707"/>
            <a:ext cx="1388965" cy="229283"/>
          </a:xfrm>
          <a:prstGeom prst="rect">
            <a:avLst/>
          </a:prstGeom>
          <a:noFill/>
        </p:spPr>
        <p:txBody>
          <a:bodyPr wrap="square" anchor="ctr">
            <a:noAutofit/>
          </a:bodyPr>
          <a:lstStyle>
            <a:defPPr>
              <a:defRPr lang="en-US"/>
            </a:defPPr>
            <a:lvl1pPr algn="ctr">
              <a:defRPr sz="100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pPr algn="l"/>
            <a:r>
              <a:rPr lang="en-US" dirty="0" err="1" smtClean="0"/>
              <a:t>Panca</a:t>
            </a:r>
            <a:r>
              <a:rPr lang="en-US" dirty="0" smtClean="0"/>
              <a:t> </a:t>
            </a:r>
            <a:r>
              <a:rPr lang="en-US" dirty="0" err="1" smtClean="0"/>
              <a:t>Oktavia</a:t>
            </a:r>
            <a:r>
              <a:rPr lang="en-US" dirty="0" smtClean="0"/>
              <a:t> </a:t>
            </a:r>
            <a:r>
              <a:rPr lang="en-US" dirty="0" err="1" smtClean="0"/>
              <a:t>Candra</a:t>
            </a:r>
            <a:r>
              <a:rPr lang="en-US" dirty="0" smtClean="0"/>
              <a:t> S, </a:t>
            </a:r>
            <a:r>
              <a:rPr lang="en-US" dirty="0" err="1" smtClean="0"/>
              <a:t>S.Kom</a:t>
            </a:r>
            <a:endParaRPr lang="en-US" dirty="0"/>
          </a:p>
        </p:txBody>
      </p:sp>
      <p:grpSp>
        <p:nvGrpSpPr>
          <p:cNvPr id="166" name="Group 165"/>
          <p:cNvGrpSpPr/>
          <p:nvPr/>
        </p:nvGrpSpPr>
        <p:grpSpPr>
          <a:xfrm>
            <a:off x="243628" y="3188630"/>
            <a:ext cx="1820038" cy="503225"/>
            <a:chOff x="3541489" y="1832866"/>
            <a:chExt cx="2061022" cy="585143"/>
          </a:xfrm>
        </p:grpSpPr>
        <p:sp>
          <p:nvSpPr>
            <p:cNvPr id="169" name="Rounded Rectangle 168"/>
            <p:cNvSpPr/>
            <p:nvPr/>
          </p:nvSpPr>
          <p:spPr bwMode="auto">
            <a:xfrm>
              <a:off x="3541489" y="1832866"/>
              <a:ext cx="2061022" cy="585143"/>
            </a:xfrm>
            <a:prstGeom prst="roundRect">
              <a:avLst>
                <a:gd name="adj" fmla="val 0"/>
              </a:avLst>
            </a:prstGeom>
            <a:solidFill>
              <a:schemeClr val="accent2">
                <a:lumMod val="75000"/>
              </a:schemeClr>
            </a:solidFill>
            <a:ln>
              <a:noFill/>
            </a:ln>
            <a:effectLst/>
          </p:spPr>
          <p:txBody>
            <a:bodyPr anchor="ctr"/>
            <a:lstStyle/>
            <a:p>
              <a:pPr>
                <a:defRPr/>
              </a:pPr>
              <a:endParaRPr lang="id-ID" sz="1100" b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endParaRPr>
            </a:p>
          </p:txBody>
        </p:sp>
        <p:sp>
          <p:nvSpPr>
            <p:cNvPr id="170" name="Rectangle 169"/>
            <p:cNvSpPr/>
            <p:nvPr/>
          </p:nvSpPr>
          <p:spPr>
            <a:xfrm>
              <a:off x="3543300" y="2133600"/>
              <a:ext cx="2057400" cy="284409"/>
            </a:xfrm>
            <a:prstGeom prst="rect">
              <a:avLst/>
            </a:pr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600">
                <a:solidFill>
                  <a:schemeClr val="bg1"/>
                </a:solidFill>
              </a:endParaRPr>
            </a:p>
          </p:txBody>
        </p:sp>
      </p:grpSp>
      <p:sp>
        <p:nvSpPr>
          <p:cNvPr id="167" name="TextBox 166"/>
          <p:cNvSpPr txBox="1"/>
          <p:nvPr/>
        </p:nvSpPr>
        <p:spPr bwMode="auto">
          <a:xfrm>
            <a:off x="690762" y="3225078"/>
            <a:ext cx="510076" cy="246221"/>
          </a:xfrm>
          <a:prstGeom prst="rect">
            <a:avLst/>
          </a:prstGeom>
          <a:noFill/>
        </p:spPr>
        <p:txBody>
          <a:bodyPr wrap="none" anchor="ctr">
            <a:spAutoFit/>
          </a:bodyPr>
          <a:lstStyle/>
          <a:p>
            <a:pPr>
              <a:defRPr/>
            </a:pPr>
            <a:r>
              <a:rPr lang="en-US" sz="1000" b="1" dirty="0" err="1" smtClean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Teknisi</a:t>
            </a:r>
            <a:endParaRPr lang="en-US" sz="1000" b="1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68" name="TextBox 167"/>
          <p:cNvSpPr txBox="1"/>
          <p:nvPr/>
        </p:nvSpPr>
        <p:spPr bwMode="auto">
          <a:xfrm>
            <a:off x="690762" y="3478151"/>
            <a:ext cx="1358568" cy="200960"/>
          </a:xfrm>
          <a:prstGeom prst="rect">
            <a:avLst/>
          </a:prstGeom>
          <a:noFill/>
        </p:spPr>
        <p:txBody>
          <a:bodyPr wrap="square" anchor="ctr">
            <a:noAutofit/>
          </a:bodyPr>
          <a:lstStyle>
            <a:defPPr>
              <a:defRPr lang="en-US"/>
            </a:defPPr>
            <a:lvl1pPr algn="ctr">
              <a:defRPr sz="100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pPr algn="l"/>
            <a:r>
              <a:rPr lang="en-US" sz="900" dirty="0" err="1" smtClean="0"/>
              <a:t>Febryansyah</a:t>
            </a:r>
            <a:r>
              <a:rPr lang="en-US" sz="900" dirty="0" smtClean="0"/>
              <a:t> </a:t>
            </a:r>
            <a:r>
              <a:rPr lang="en-US" sz="900" dirty="0" err="1" smtClean="0"/>
              <a:t>Hasudungan</a:t>
            </a:r>
            <a:endParaRPr lang="en-US" sz="900" dirty="0"/>
          </a:p>
        </p:txBody>
      </p:sp>
      <p:sp>
        <p:nvSpPr>
          <p:cNvPr id="173" name="TextBox 172"/>
          <p:cNvSpPr txBox="1"/>
          <p:nvPr/>
        </p:nvSpPr>
        <p:spPr bwMode="auto">
          <a:xfrm>
            <a:off x="714311" y="3813426"/>
            <a:ext cx="534121" cy="246221"/>
          </a:xfrm>
          <a:prstGeom prst="rect">
            <a:avLst/>
          </a:prstGeom>
          <a:noFill/>
        </p:spPr>
        <p:txBody>
          <a:bodyPr wrap="none" anchor="ctr">
            <a:spAutoFit/>
          </a:bodyPr>
          <a:lstStyle/>
          <a:p>
            <a:pPr>
              <a:defRPr/>
            </a:pPr>
            <a:r>
              <a:rPr lang="en-GB" sz="1000" b="1" dirty="0" err="1" smtClean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Teknisi</a:t>
            </a:r>
            <a:r>
              <a:rPr lang="en-GB" sz="1000" b="1" dirty="0" smtClean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endParaRPr lang="en-US" sz="1000" b="1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74" name="TextBox 173"/>
          <p:cNvSpPr txBox="1"/>
          <p:nvPr/>
        </p:nvSpPr>
        <p:spPr bwMode="auto">
          <a:xfrm>
            <a:off x="714311" y="4066499"/>
            <a:ext cx="1082262" cy="189490"/>
          </a:xfrm>
          <a:prstGeom prst="rect">
            <a:avLst/>
          </a:prstGeom>
          <a:noFill/>
        </p:spPr>
        <p:txBody>
          <a:bodyPr wrap="square" anchor="ctr">
            <a:noAutofit/>
          </a:bodyPr>
          <a:lstStyle>
            <a:defPPr>
              <a:defRPr lang="en-US"/>
            </a:defPPr>
            <a:lvl1pPr algn="ctr">
              <a:defRPr sz="100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pPr algn="l"/>
            <a:r>
              <a:rPr lang="en-US" sz="900" dirty="0" smtClean="0"/>
              <a:t>Muhammad </a:t>
            </a:r>
            <a:r>
              <a:rPr lang="en-US" sz="900" dirty="0" err="1" smtClean="0"/>
              <a:t>Rifky</a:t>
            </a:r>
            <a:endParaRPr lang="en-US" sz="900" dirty="0"/>
          </a:p>
        </p:txBody>
      </p:sp>
      <p:grpSp>
        <p:nvGrpSpPr>
          <p:cNvPr id="180" name="Group 179"/>
          <p:cNvGrpSpPr/>
          <p:nvPr/>
        </p:nvGrpSpPr>
        <p:grpSpPr>
          <a:xfrm>
            <a:off x="5169233" y="2629807"/>
            <a:ext cx="947994" cy="1992346"/>
            <a:chOff x="1439718" y="3549683"/>
            <a:chExt cx="220662" cy="3369218"/>
          </a:xfrm>
        </p:grpSpPr>
        <p:cxnSp>
          <p:nvCxnSpPr>
            <p:cNvPr id="181" name="Straight Connector 180"/>
            <p:cNvCxnSpPr/>
            <p:nvPr/>
          </p:nvCxnSpPr>
          <p:spPr bwMode="auto">
            <a:xfrm>
              <a:off x="1660380" y="3549683"/>
              <a:ext cx="0" cy="443197"/>
            </a:xfrm>
            <a:prstGeom prst="line">
              <a:avLst/>
            </a:prstGeom>
            <a:ln w="12700">
              <a:solidFill>
                <a:schemeClr val="bg1">
                  <a:lumMod val="65000"/>
                </a:schemeClr>
              </a:solidFill>
              <a:prstDash val="solid"/>
            </a:ln>
            <a:effectLst>
              <a:outerShdw blurRad="50800" dist="12700" dir="5400000" algn="t" rotWithShape="0">
                <a:prstClr val="black">
                  <a:alpha val="30000"/>
                </a:prstClr>
              </a:outerShdw>
            </a:effec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2" name="Straight Connector 181"/>
            <p:cNvCxnSpPr/>
            <p:nvPr/>
          </p:nvCxnSpPr>
          <p:spPr bwMode="auto">
            <a:xfrm flipH="1">
              <a:off x="1439718" y="3992596"/>
              <a:ext cx="220662" cy="0"/>
            </a:xfrm>
            <a:prstGeom prst="line">
              <a:avLst/>
            </a:prstGeom>
            <a:ln w="12700">
              <a:solidFill>
                <a:schemeClr val="bg1">
                  <a:lumMod val="65000"/>
                </a:schemeClr>
              </a:solidFill>
              <a:prstDash val="solid"/>
            </a:ln>
            <a:effectLst>
              <a:outerShdw blurRad="50800" dist="12700" dir="5400000" algn="t" rotWithShape="0">
                <a:prstClr val="black">
                  <a:alpha val="30000"/>
                </a:prstClr>
              </a:outerShdw>
            </a:effec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3" name="Straight Connector 182"/>
            <p:cNvCxnSpPr/>
            <p:nvPr/>
          </p:nvCxnSpPr>
          <p:spPr bwMode="auto">
            <a:xfrm>
              <a:off x="1439718" y="3992597"/>
              <a:ext cx="0" cy="2916795"/>
            </a:xfrm>
            <a:prstGeom prst="line">
              <a:avLst/>
            </a:prstGeom>
            <a:ln w="12700">
              <a:solidFill>
                <a:schemeClr val="bg1">
                  <a:lumMod val="65000"/>
                </a:schemeClr>
              </a:solidFill>
              <a:prstDash val="solid"/>
            </a:ln>
            <a:effectLst>
              <a:outerShdw blurRad="50800" dist="12700" dir="5400000" algn="t" rotWithShape="0">
                <a:prstClr val="black">
                  <a:alpha val="30000"/>
                </a:prstClr>
              </a:outerShdw>
            </a:effec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4" name="Straight Connector 183"/>
            <p:cNvCxnSpPr/>
            <p:nvPr/>
          </p:nvCxnSpPr>
          <p:spPr bwMode="auto">
            <a:xfrm flipH="1">
              <a:off x="1439718" y="4845504"/>
              <a:ext cx="220662" cy="0"/>
            </a:xfrm>
            <a:prstGeom prst="line">
              <a:avLst/>
            </a:prstGeom>
            <a:ln w="12700">
              <a:solidFill>
                <a:schemeClr val="bg1">
                  <a:lumMod val="65000"/>
                </a:schemeClr>
              </a:solidFill>
              <a:prstDash val="solid"/>
            </a:ln>
            <a:effectLst>
              <a:outerShdw blurRad="50800" dist="12700" dir="5400000" algn="t" rotWithShape="0">
                <a:prstClr val="black">
                  <a:alpha val="30000"/>
                </a:prstClr>
              </a:outerShdw>
            </a:effec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5" name="Straight Connector 184"/>
            <p:cNvCxnSpPr/>
            <p:nvPr/>
          </p:nvCxnSpPr>
          <p:spPr bwMode="auto">
            <a:xfrm flipH="1">
              <a:off x="1439718" y="5878158"/>
              <a:ext cx="220662" cy="0"/>
            </a:xfrm>
            <a:prstGeom prst="line">
              <a:avLst/>
            </a:prstGeom>
            <a:ln w="12700">
              <a:solidFill>
                <a:schemeClr val="bg1">
                  <a:lumMod val="65000"/>
                </a:schemeClr>
              </a:solidFill>
              <a:prstDash val="solid"/>
            </a:ln>
            <a:effectLst>
              <a:outerShdw blurRad="50800" dist="12700" dir="5400000" algn="t" rotWithShape="0">
                <a:prstClr val="black">
                  <a:alpha val="30000"/>
                </a:prstClr>
              </a:outerShdw>
            </a:effec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4" name="Straight Connector 203"/>
            <p:cNvCxnSpPr/>
            <p:nvPr/>
          </p:nvCxnSpPr>
          <p:spPr bwMode="auto">
            <a:xfrm flipH="1">
              <a:off x="1439718" y="6918901"/>
              <a:ext cx="220662" cy="0"/>
            </a:xfrm>
            <a:prstGeom prst="line">
              <a:avLst/>
            </a:prstGeom>
            <a:ln w="12700">
              <a:solidFill>
                <a:schemeClr val="bg1">
                  <a:lumMod val="65000"/>
                </a:schemeClr>
              </a:solidFill>
              <a:prstDash val="solid"/>
            </a:ln>
            <a:effectLst>
              <a:outerShdw blurRad="50800" dist="12700" dir="5400000" algn="t" rotWithShape="0">
                <a:prstClr val="black">
                  <a:alpha val="30000"/>
                </a:prstClr>
              </a:outerShdw>
            </a:effec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87" name="Group 186"/>
          <p:cNvGrpSpPr/>
          <p:nvPr/>
        </p:nvGrpSpPr>
        <p:grpSpPr>
          <a:xfrm>
            <a:off x="5512300" y="3144465"/>
            <a:ext cx="1820038" cy="503225"/>
            <a:chOff x="3541489" y="1832866"/>
            <a:chExt cx="2061022" cy="585143"/>
          </a:xfrm>
        </p:grpSpPr>
        <p:sp>
          <p:nvSpPr>
            <p:cNvPr id="190" name="Rounded Rectangle 189"/>
            <p:cNvSpPr/>
            <p:nvPr/>
          </p:nvSpPr>
          <p:spPr bwMode="auto">
            <a:xfrm>
              <a:off x="3541489" y="1832866"/>
              <a:ext cx="2061022" cy="585143"/>
            </a:xfrm>
            <a:prstGeom prst="roundRect">
              <a:avLst>
                <a:gd name="adj" fmla="val 0"/>
              </a:avLst>
            </a:prstGeom>
            <a:solidFill>
              <a:schemeClr val="accent3">
                <a:lumMod val="75000"/>
              </a:schemeClr>
            </a:solidFill>
            <a:ln>
              <a:noFill/>
            </a:ln>
            <a:effectLst/>
          </p:spPr>
          <p:txBody>
            <a:bodyPr anchor="ctr"/>
            <a:lstStyle/>
            <a:p>
              <a:pPr>
                <a:defRPr/>
              </a:pPr>
              <a:endParaRPr lang="id-ID" sz="1100" b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endParaRPr>
            </a:p>
          </p:txBody>
        </p:sp>
        <p:sp>
          <p:nvSpPr>
            <p:cNvPr id="191" name="Rectangle 190"/>
            <p:cNvSpPr/>
            <p:nvPr/>
          </p:nvSpPr>
          <p:spPr>
            <a:xfrm>
              <a:off x="3543300" y="2133600"/>
              <a:ext cx="2057400" cy="284409"/>
            </a:xfrm>
            <a:prstGeom prst="rect">
              <a:avLst/>
            </a:pr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600">
                <a:solidFill>
                  <a:schemeClr val="bg1"/>
                </a:solidFill>
              </a:endParaRPr>
            </a:p>
          </p:txBody>
        </p:sp>
      </p:grpSp>
      <p:sp>
        <p:nvSpPr>
          <p:cNvPr id="188" name="TextBox 187"/>
          <p:cNvSpPr txBox="1"/>
          <p:nvPr/>
        </p:nvSpPr>
        <p:spPr bwMode="auto">
          <a:xfrm>
            <a:off x="6029944" y="3169166"/>
            <a:ext cx="510076" cy="246221"/>
          </a:xfrm>
          <a:prstGeom prst="rect">
            <a:avLst/>
          </a:prstGeom>
          <a:noFill/>
        </p:spPr>
        <p:txBody>
          <a:bodyPr wrap="none" anchor="ctr">
            <a:spAutoFit/>
          </a:bodyPr>
          <a:lstStyle/>
          <a:p>
            <a:pPr>
              <a:defRPr/>
            </a:pPr>
            <a:r>
              <a:rPr lang="en-US" sz="1000" b="1" dirty="0" err="1" smtClean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Teknisi</a:t>
            </a:r>
            <a:endParaRPr lang="en-US" sz="1000" b="1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89" name="TextBox 188"/>
          <p:cNvSpPr txBox="1"/>
          <p:nvPr/>
        </p:nvSpPr>
        <p:spPr bwMode="auto">
          <a:xfrm>
            <a:off x="6029944" y="3422239"/>
            <a:ext cx="1082262" cy="189490"/>
          </a:xfrm>
          <a:prstGeom prst="rect">
            <a:avLst/>
          </a:prstGeom>
          <a:noFill/>
        </p:spPr>
        <p:txBody>
          <a:bodyPr wrap="square" anchor="ctr">
            <a:noAutofit/>
          </a:bodyPr>
          <a:lstStyle>
            <a:defPPr>
              <a:defRPr lang="en-US"/>
            </a:defPPr>
            <a:lvl1pPr algn="ctr">
              <a:defRPr sz="100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pPr algn="l"/>
            <a:r>
              <a:rPr lang="en-US" sz="900" dirty="0" smtClean="0"/>
              <a:t>Bara </a:t>
            </a:r>
            <a:r>
              <a:rPr lang="en-US" sz="900" dirty="0" err="1" smtClean="0"/>
              <a:t>Guntori</a:t>
            </a:r>
            <a:endParaRPr lang="en-US" sz="900" dirty="0"/>
          </a:p>
        </p:txBody>
      </p:sp>
      <p:grpSp>
        <p:nvGrpSpPr>
          <p:cNvPr id="193" name="Group 192"/>
          <p:cNvGrpSpPr/>
          <p:nvPr/>
        </p:nvGrpSpPr>
        <p:grpSpPr>
          <a:xfrm>
            <a:off x="5512300" y="3748091"/>
            <a:ext cx="1820038" cy="503225"/>
            <a:chOff x="3541489" y="1832866"/>
            <a:chExt cx="2061022" cy="585143"/>
          </a:xfrm>
        </p:grpSpPr>
        <p:sp>
          <p:nvSpPr>
            <p:cNvPr id="196" name="Rounded Rectangle 195"/>
            <p:cNvSpPr/>
            <p:nvPr/>
          </p:nvSpPr>
          <p:spPr bwMode="auto">
            <a:xfrm>
              <a:off x="3541489" y="1832866"/>
              <a:ext cx="2061022" cy="585143"/>
            </a:xfrm>
            <a:prstGeom prst="roundRect">
              <a:avLst>
                <a:gd name="adj" fmla="val 0"/>
              </a:avLst>
            </a:prstGeom>
            <a:solidFill>
              <a:schemeClr val="accent3">
                <a:lumMod val="75000"/>
              </a:schemeClr>
            </a:solidFill>
            <a:ln>
              <a:noFill/>
            </a:ln>
            <a:effectLst/>
          </p:spPr>
          <p:txBody>
            <a:bodyPr anchor="ctr"/>
            <a:lstStyle/>
            <a:p>
              <a:pPr>
                <a:defRPr/>
              </a:pPr>
              <a:endParaRPr lang="id-ID" sz="1100" b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endParaRPr>
            </a:p>
          </p:txBody>
        </p:sp>
        <p:sp>
          <p:nvSpPr>
            <p:cNvPr id="197" name="Rectangle 196"/>
            <p:cNvSpPr/>
            <p:nvPr/>
          </p:nvSpPr>
          <p:spPr>
            <a:xfrm>
              <a:off x="3543300" y="2133600"/>
              <a:ext cx="2057400" cy="284409"/>
            </a:xfrm>
            <a:prstGeom prst="rect">
              <a:avLst/>
            </a:pr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600">
                <a:solidFill>
                  <a:schemeClr val="bg1"/>
                </a:solidFill>
              </a:endParaRPr>
            </a:p>
          </p:txBody>
        </p:sp>
      </p:grpSp>
      <p:sp>
        <p:nvSpPr>
          <p:cNvPr id="194" name="TextBox 193"/>
          <p:cNvSpPr txBox="1"/>
          <p:nvPr/>
        </p:nvSpPr>
        <p:spPr bwMode="auto">
          <a:xfrm>
            <a:off x="6029944" y="3772792"/>
            <a:ext cx="510076" cy="246221"/>
          </a:xfrm>
          <a:prstGeom prst="rect">
            <a:avLst/>
          </a:prstGeom>
          <a:noFill/>
        </p:spPr>
        <p:txBody>
          <a:bodyPr wrap="none" anchor="ctr">
            <a:spAutoFit/>
          </a:bodyPr>
          <a:lstStyle/>
          <a:p>
            <a:pPr>
              <a:defRPr/>
            </a:pPr>
            <a:r>
              <a:rPr lang="en-US" sz="1000" b="1" dirty="0" err="1" smtClean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Teknisi</a:t>
            </a:r>
            <a:endParaRPr lang="en-US" sz="1000" b="1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95" name="TextBox 194"/>
          <p:cNvSpPr txBox="1"/>
          <p:nvPr/>
        </p:nvSpPr>
        <p:spPr bwMode="auto">
          <a:xfrm>
            <a:off x="6029944" y="4025865"/>
            <a:ext cx="1082262" cy="189490"/>
          </a:xfrm>
          <a:prstGeom prst="rect">
            <a:avLst/>
          </a:prstGeom>
          <a:noFill/>
        </p:spPr>
        <p:txBody>
          <a:bodyPr wrap="square" anchor="ctr">
            <a:noAutofit/>
          </a:bodyPr>
          <a:lstStyle>
            <a:defPPr>
              <a:defRPr lang="en-US"/>
            </a:defPPr>
            <a:lvl1pPr algn="ctr">
              <a:defRPr sz="100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pPr algn="l"/>
            <a:r>
              <a:rPr lang="en-US" sz="900" dirty="0" err="1" smtClean="0"/>
              <a:t>Agit</a:t>
            </a:r>
            <a:r>
              <a:rPr lang="en-US" sz="900" dirty="0" smtClean="0"/>
              <a:t> </a:t>
            </a:r>
            <a:r>
              <a:rPr lang="en-US" sz="900" dirty="0" err="1" smtClean="0"/>
              <a:t>Satrio</a:t>
            </a:r>
            <a:endParaRPr lang="en-US" sz="900" dirty="0"/>
          </a:p>
        </p:txBody>
      </p:sp>
      <p:grpSp>
        <p:nvGrpSpPr>
          <p:cNvPr id="215" name="Group 214"/>
          <p:cNvGrpSpPr/>
          <p:nvPr/>
        </p:nvGrpSpPr>
        <p:grpSpPr>
          <a:xfrm>
            <a:off x="7995957" y="3123715"/>
            <a:ext cx="1820038" cy="503225"/>
            <a:chOff x="3541489" y="1832866"/>
            <a:chExt cx="2061022" cy="585143"/>
          </a:xfrm>
        </p:grpSpPr>
        <p:sp>
          <p:nvSpPr>
            <p:cNvPr id="218" name="Rounded Rectangle 217"/>
            <p:cNvSpPr/>
            <p:nvPr/>
          </p:nvSpPr>
          <p:spPr bwMode="auto">
            <a:xfrm>
              <a:off x="3541489" y="1832866"/>
              <a:ext cx="2061022" cy="585143"/>
            </a:xfrm>
            <a:prstGeom prst="roundRect">
              <a:avLst>
                <a:gd name="adj" fmla="val 0"/>
              </a:avLst>
            </a:prstGeom>
            <a:solidFill>
              <a:schemeClr val="accent4">
                <a:lumMod val="75000"/>
              </a:schemeClr>
            </a:solidFill>
            <a:ln>
              <a:noFill/>
            </a:ln>
            <a:effectLst/>
          </p:spPr>
          <p:txBody>
            <a:bodyPr anchor="ctr"/>
            <a:lstStyle/>
            <a:p>
              <a:pPr>
                <a:defRPr/>
              </a:pPr>
              <a:endParaRPr lang="id-ID" sz="1100" b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endParaRPr>
            </a:p>
          </p:txBody>
        </p:sp>
        <p:sp>
          <p:nvSpPr>
            <p:cNvPr id="219" name="Rectangle 218"/>
            <p:cNvSpPr/>
            <p:nvPr/>
          </p:nvSpPr>
          <p:spPr>
            <a:xfrm>
              <a:off x="3543300" y="2133600"/>
              <a:ext cx="2057400" cy="284409"/>
            </a:xfrm>
            <a:prstGeom prst="rect">
              <a:avLst/>
            </a:pr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600">
                <a:solidFill>
                  <a:schemeClr val="bg1"/>
                </a:solidFill>
              </a:endParaRPr>
            </a:p>
          </p:txBody>
        </p:sp>
      </p:grpSp>
      <p:sp>
        <p:nvSpPr>
          <p:cNvPr id="216" name="TextBox 215"/>
          <p:cNvSpPr txBox="1"/>
          <p:nvPr/>
        </p:nvSpPr>
        <p:spPr bwMode="auto">
          <a:xfrm>
            <a:off x="8526099" y="3148416"/>
            <a:ext cx="764953" cy="246221"/>
          </a:xfrm>
          <a:prstGeom prst="rect">
            <a:avLst/>
          </a:prstGeom>
          <a:noFill/>
        </p:spPr>
        <p:txBody>
          <a:bodyPr wrap="none" anchor="ctr">
            <a:spAutoFit/>
          </a:bodyPr>
          <a:lstStyle/>
          <a:p>
            <a:pPr>
              <a:defRPr/>
            </a:pPr>
            <a:r>
              <a:rPr lang="en-US" sz="1000" b="1" dirty="0" smtClean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rogrammer</a:t>
            </a:r>
            <a:endParaRPr lang="en-US" sz="1000" b="1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17" name="TextBox 216"/>
          <p:cNvSpPr txBox="1"/>
          <p:nvPr/>
        </p:nvSpPr>
        <p:spPr bwMode="auto">
          <a:xfrm>
            <a:off x="8526099" y="3401489"/>
            <a:ext cx="1082262" cy="189490"/>
          </a:xfrm>
          <a:prstGeom prst="rect">
            <a:avLst/>
          </a:prstGeom>
          <a:noFill/>
        </p:spPr>
        <p:txBody>
          <a:bodyPr wrap="square" anchor="ctr">
            <a:noAutofit/>
          </a:bodyPr>
          <a:lstStyle/>
          <a:p>
            <a:pPr>
              <a:defRPr/>
            </a:pPr>
            <a:r>
              <a:rPr lang="en-US" sz="900" dirty="0" err="1" smtClean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Hanif</a:t>
            </a:r>
            <a:r>
              <a:rPr lang="en-US" sz="900" dirty="0" smtClean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900" dirty="0" err="1" smtClean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Kurniawan</a:t>
            </a:r>
            <a:endParaRPr lang="en-US" sz="900" dirty="0">
              <a:solidFill>
                <a:schemeClr val="bg1"/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grpSp>
        <p:nvGrpSpPr>
          <p:cNvPr id="221" name="Group 220"/>
          <p:cNvGrpSpPr/>
          <p:nvPr/>
        </p:nvGrpSpPr>
        <p:grpSpPr>
          <a:xfrm>
            <a:off x="7995957" y="3723966"/>
            <a:ext cx="1820038" cy="503225"/>
            <a:chOff x="3541489" y="1832866"/>
            <a:chExt cx="2061022" cy="585143"/>
          </a:xfrm>
        </p:grpSpPr>
        <p:sp>
          <p:nvSpPr>
            <p:cNvPr id="239" name="Rounded Rectangle 238"/>
            <p:cNvSpPr/>
            <p:nvPr/>
          </p:nvSpPr>
          <p:spPr bwMode="auto">
            <a:xfrm>
              <a:off x="3541489" y="1832866"/>
              <a:ext cx="2061022" cy="585143"/>
            </a:xfrm>
            <a:prstGeom prst="roundRect">
              <a:avLst>
                <a:gd name="adj" fmla="val 0"/>
              </a:avLst>
            </a:prstGeom>
            <a:solidFill>
              <a:schemeClr val="accent4">
                <a:lumMod val="75000"/>
              </a:schemeClr>
            </a:solidFill>
            <a:ln>
              <a:noFill/>
            </a:ln>
            <a:effectLst/>
          </p:spPr>
          <p:txBody>
            <a:bodyPr anchor="ctr"/>
            <a:lstStyle/>
            <a:p>
              <a:pPr>
                <a:defRPr/>
              </a:pPr>
              <a:endParaRPr lang="id-ID" sz="1100" b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endParaRPr>
            </a:p>
          </p:txBody>
        </p:sp>
        <p:sp>
          <p:nvSpPr>
            <p:cNvPr id="240" name="Rectangle 239"/>
            <p:cNvSpPr/>
            <p:nvPr/>
          </p:nvSpPr>
          <p:spPr>
            <a:xfrm>
              <a:off x="3543300" y="2133600"/>
              <a:ext cx="2057400" cy="284409"/>
            </a:xfrm>
            <a:prstGeom prst="rect">
              <a:avLst/>
            </a:pr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600">
                <a:solidFill>
                  <a:schemeClr val="bg1"/>
                </a:solidFill>
              </a:endParaRPr>
            </a:p>
          </p:txBody>
        </p:sp>
      </p:grpSp>
      <p:sp>
        <p:nvSpPr>
          <p:cNvPr id="228" name="TextBox 227"/>
          <p:cNvSpPr txBox="1"/>
          <p:nvPr/>
        </p:nvSpPr>
        <p:spPr bwMode="auto">
          <a:xfrm>
            <a:off x="8526099" y="3748667"/>
            <a:ext cx="764953" cy="246221"/>
          </a:xfrm>
          <a:prstGeom prst="rect">
            <a:avLst/>
          </a:prstGeom>
          <a:noFill/>
        </p:spPr>
        <p:txBody>
          <a:bodyPr wrap="none" anchor="ctr">
            <a:spAutoFit/>
          </a:bodyPr>
          <a:lstStyle/>
          <a:p>
            <a:pPr>
              <a:defRPr/>
            </a:pPr>
            <a:r>
              <a:rPr lang="en-US" sz="1000" b="1" dirty="0" smtClean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rogrammer</a:t>
            </a:r>
            <a:endParaRPr lang="en-US" sz="1000" b="1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38" name="TextBox 237"/>
          <p:cNvSpPr txBox="1"/>
          <p:nvPr/>
        </p:nvSpPr>
        <p:spPr bwMode="auto">
          <a:xfrm>
            <a:off x="8526099" y="4001740"/>
            <a:ext cx="1082262" cy="189490"/>
          </a:xfrm>
          <a:prstGeom prst="rect">
            <a:avLst/>
          </a:prstGeom>
          <a:noFill/>
        </p:spPr>
        <p:txBody>
          <a:bodyPr wrap="square" anchor="ctr">
            <a:noAutofit/>
          </a:bodyPr>
          <a:lstStyle/>
          <a:p>
            <a:pPr>
              <a:defRPr/>
            </a:pPr>
            <a:r>
              <a:rPr lang="en-US" sz="900" dirty="0" err="1" smtClean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Putri</a:t>
            </a:r>
            <a:r>
              <a:rPr lang="en-US" sz="900" dirty="0" smtClean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Little Holiday</a:t>
            </a:r>
            <a:endParaRPr lang="en-US" sz="900" dirty="0">
              <a:solidFill>
                <a:schemeClr val="bg1"/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grpSp>
        <p:nvGrpSpPr>
          <p:cNvPr id="242" name="Group 241"/>
          <p:cNvGrpSpPr/>
          <p:nvPr/>
        </p:nvGrpSpPr>
        <p:grpSpPr>
          <a:xfrm>
            <a:off x="7995955" y="4312752"/>
            <a:ext cx="1820038" cy="503225"/>
            <a:chOff x="3541489" y="1832866"/>
            <a:chExt cx="2061022" cy="585143"/>
          </a:xfrm>
        </p:grpSpPr>
        <p:sp>
          <p:nvSpPr>
            <p:cNvPr id="245" name="Rounded Rectangle 244"/>
            <p:cNvSpPr/>
            <p:nvPr/>
          </p:nvSpPr>
          <p:spPr bwMode="auto">
            <a:xfrm>
              <a:off x="3541489" y="1832866"/>
              <a:ext cx="2061022" cy="585143"/>
            </a:xfrm>
            <a:prstGeom prst="roundRect">
              <a:avLst>
                <a:gd name="adj" fmla="val 0"/>
              </a:avLst>
            </a:prstGeom>
            <a:solidFill>
              <a:schemeClr val="accent4">
                <a:lumMod val="75000"/>
              </a:schemeClr>
            </a:solidFill>
            <a:ln>
              <a:noFill/>
            </a:ln>
            <a:effectLst/>
          </p:spPr>
          <p:txBody>
            <a:bodyPr anchor="ctr"/>
            <a:lstStyle/>
            <a:p>
              <a:pPr>
                <a:defRPr/>
              </a:pPr>
              <a:endParaRPr lang="id-ID" sz="1100" b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endParaRPr>
            </a:p>
          </p:txBody>
        </p:sp>
        <p:sp>
          <p:nvSpPr>
            <p:cNvPr id="246" name="Rectangle 245"/>
            <p:cNvSpPr/>
            <p:nvPr/>
          </p:nvSpPr>
          <p:spPr>
            <a:xfrm>
              <a:off x="3543300" y="2133600"/>
              <a:ext cx="2057400" cy="284409"/>
            </a:xfrm>
            <a:prstGeom prst="rect">
              <a:avLst/>
            </a:pr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600">
                <a:solidFill>
                  <a:schemeClr val="bg1"/>
                </a:solidFill>
              </a:endParaRPr>
            </a:p>
          </p:txBody>
        </p:sp>
      </p:grpSp>
      <p:sp>
        <p:nvSpPr>
          <p:cNvPr id="243" name="TextBox 242"/>
          <p:cNvSpPr txBox="1"/>
          <p:nvPr/>
        </p:nvSpPr>
        <p:spPr bwMode="auto">
          <a:xfrm>
            <a:off x="8526097" y="4337453"/>
            <a:ext cx="764953" cy="246221"/>
          </a:xfrm>
          <a:prstGeom prst="rect">
            <a:avLst/>
          </a:prstGeom>
          <a:noFill/>
        </p:spPr>
        <p:txBody>
          <a:bodyPr wrap="none" anchor="ctr">
            <a:spAutoFit/>
          </a:bodyPr>
          <a:lstStyle/>
          <a:p>
            <a:pPr>
              <a:defRPr/>
            </a:pPr>
            <a:r>
              <a:rPr lang="en-US" sz="1000" b="1" dirty="0" smtClean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rogrammer</a:t>
            </a:r>
            <a:endParaRPr lang="en-US" sz="1000" b="1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44" name="TextBox 243"/>
          <p:cNvSpPr txBox="1"/>
          <p:nvPr/>
        </p:nvSpPr>
        <p:spPr bwMode="auto">
          <a:xfrm>
            <a:off x="8526097" y="4590526"/>
            <a:ext cx="1082262" cy="189490"/>
          </a:xfrm>
          <a:prstGeom prst="rect">
            <a:avLst/>
          </a:prstGeom>
          <a:noFill/>
        </p:spPr>
        <p:txBody>
          <a:bodyPr wrap="square" anchor="ctr">
            <a:noAutofit/>
          </a:bodyPr>
          <a:lstStyle/>
          <a:p>
            <a:pPr>
              <a:defRPr/>
            </a:pPr>
            <a:r>
              <a:rPr lang="en-US" sz="900" dirty="0" err="1" smtClean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Aji</a:t>
            </a:r>
            <a:r>
              <a:rPr lang="en-US" sz="900" dirty="0" smtClean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900" dirty="0" err="1" smtClean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Khiorul</a:t>
            </a:r>
            <a:r>
              <a:rPr lang="en-US" sz="900" dirty="0" smtClean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Anwar</a:t>
            </a:r>
            <a:endParaRPr lang="en-US" sz="900" dirty="0">
              <a:solidFill>
                <a:schemeClr val="bg1"/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17" name="Title 11"/>
          <p:cNvSpPr txBox="1">
            <a:spLocks/>
          </p:cNvSpPr>
          <p:nvPr/>
        </p:nvSpPr>
        <p:spPr>
          <a:xfrm>
            <a:off x="1747403" y="44088"/>
            <a:ext cx="8697279" cy="518157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dirty="0" err="1" smtClean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Struktur</a:t>
            </a:r>
            <a:r>
              <a:rPr lang="en-US" sz="2800" dirty="0" smtClean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2800" dirty="0" err="1" smtClean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Organisasi</a:t>
            </a:r>
            <a:endParaRPr lang="en-US" sz="2800" dirty="0">
              <a:solidFill>
                <a:schemeClr val="bg1"/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grpSp>
        <p:nvGrpSpPr>
          <p:cNvPr id="5" name="Group 4"/>
          <p:cNvGrpSpPr/>
          <p:nvPr/>
        </p:nvGrpSpPr>
        <p:grpSpPr>
          <a:xfrm>
            <a:off x="2715020" y="597642"/>
            <a:ext cx="6762044" cy="37787"/>
            <a:chOff x="1190978" y="1043012"/>
            <a:chExt cx="6762044" cy="37787"/>
          </a:xfrm>
        </p:grpSpPr>
        <p:cxnSp>
          <p:nvCxnSpPr>
            <p:cNvPr id="4" name="Straight Connector 3"/>
            <p:cNvCxnSpPr/>
            <p:nvPr/>
          </p:nvCxnSpPr>
          <p:spPr>
            <a:xfrm>
              <a:off x="1190978" y="1061905"/>
              <a:ext cx="6762044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9" name="Rectangle 18"/>
            <p:cNvSpPr/>
            <p:nvPr/>
          </p:nvSpPr>
          <p:spPr>
            <a:xfrm>
              <a:off x="3205152" y="1043012"/>
              <a:ext cx="2733735" cy="37787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bg1"/>
                </a:solidFill>
              </a:endParaRPr>
            </a:p>
          </p:txBody>
        </p:sp>
      </p:grpSp>
      <p:sp>
        <p:nvSpPr>
          <p:cNvPr id="15" name="Slide Number Placeholder 1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ECD629-4DA5-4EAE-B174-69948CAAE2CE}" type="slidenum">
              <a:rPr lang="en-US" smtClean="0"/>
              <a:pPr/>
              <a:t>17</a:t>
            </a:fld>
            <a:endParaRPr lang="en-US" dirty="0"/>
          </a:p>
        </p:txBody>
      </p:sp>
      <p:pic>
        <p:nvPicPr>
          <p:cNvPr id="3" name="Picture Placeholder 2"/>
          <p:cNvPicPr>
            <a:picLocks noGrp="1" noChangeAspect="1"/>
          </p:cNvPicPr>
          <p:nvPr>
            <p:ph type="pic" sz="quarter" idx="16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571" b="10571"/>
          <a:stretch>
            <a:fillRect/>
          </a:stretch>
        </p:blipFill>
        <p:spPr>
          <a:xfrm>
            <a:off x="969089" y="2075793"/>
            <a:ext cx="536795" cy="490561"/>
          </a:xfrm>
          <a:solidFill>
            <a:schemeClr val="bg1">
              <a:lumMod val="85000"/>
            </a:schemeClr>
          </a:solidFill>
          <a:ln w="6350">
            <a:noFill/>
          </a:ln>
          <a:effectLst/>
        </p:spPr>
      </p:pic>
      <p:pic>
        <p:nvPicPr>
          <p:cNvPr id="2" name="Picture Placeholder 1"/>
          <p:cNvPicPr>
            <a:picLocks noGrp="1" noChangeAspect="1"/>
          </p:cNvPicPr>
          <p:nvPr>
            <p:ph type="pic" sz="quarter" idx="17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152" b="13152"/>
          <a:stretch>
            <a:fillRect/>
          </a:stretch>
        </p:blipFill>
        <p:spPr>
          <a:xfrm>
            <a:off x="4881017" y="900840"/>
            <a:ext cx="618585" cy="556731"/>
          </a:xfrm>
          <a:solidFill>
            <a:schemeClr val="bg1">
              <a:lumMod val="85000"/>
            </a:schemeClr>
          </a:solidFill>
          <a:ln w="6350">
            <a:noFill/>
          </a:ln>
          <a:effectLst/>
        </p:spPr>
      </p:pic>
      <p:pic>
        <p:nvPicPr>
          <p:cNvPr id="7" name="Picture Placeholder 6"/>
          <p:cNvPicPr>
            <a:picLocks noGrp="1" noChangeAspect="1"/>
          </p:cNvPicPr>
          <p:nvPr>
            <p:ph type="pic" sz="quarter" idx="18"/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078" b="12078"/>
          <a:stretch>
            <a:fillRect/>
          </a:stretch>
        </p:blipFill>
        <p:spPr>
          <a:xfrm>
            <a:off x="5005163" y="2075793"/>
            <a:ext cx="536795" cy="490561"/>
          </a:xfrm>
          <a:solidFill>
            <a:schemeClr val="bg1">
              <a:lumMod val="85000"/>
            </a:schemeClr>
          </a:solidFill>
          <a:ln w="6350">
            <a:noFill/>
          </a:ln>
          <a:effectLst/>
        </p:spPr>
      </p:pic>
      <p:pic>
        <p:nvPicPr>
          <p:cNvPr id="8" name="Picture Placeholder 7"/>
          <p:cNvPicPr>
            <a:picLocks noGrp="1" noChangeAspect="1"/>
          </p:cNvPicPr>
          <p:nvPr>
            <p:ph type="pic" sz="quarter" idx="19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779" b="12779"/>
          <a:stretch>
            <a:fillRect/>
          </a:stretch>
        </p:blipFill>
        <p:spPr>
          <a:xfrm>
            <a:off x="8751227" y="2075793"/>
            <a:ext cx="536795" cy="490561"/>
          </a:xfrm>
          <a:solidFill>
            <a:schemeClr val="bg1">
              <a:lumMod val="85000"/>
            </a:schemeClr>
          </a:solidFill>
          <a:ln w="6350">
            <a:noFill/>
          </a:ln>
          <a:effectLst/>
        </p:spPr>
      </p:pic>
      <p:pic>
        <p:nvPicPr>
          <p:cNvPr id="10" name="Picture Placeholder 9"/>
          <p:cNvPicPr>
            <a:picLocks noGrp="1" noChangeAspect="1"/>
          </p:cNvPicPr>
          <p:nvPr>
            <p:ph type="pic" sz="quarter" idx="21"/>
          </p:nvPr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734" b="13734"/>
          <a:stretch>
            <a:fillRect/>
          </a:stretch>
        </p:blipFill>
        <p:spPr>
          <a:xfrm>
            <a:off x="289459" y="3829621"/>
            <a:ext cx="426881" cy="395859"/>
          </a:xfrm>
          <a:solidFill>
            <a:schemeClr val="bg1">
              <a:lumMod val="85000"/>
            </a:schemeClr>
          </a:solidFill>
          <a:ln w="6350">
            <a:noFill/>
          </a:ln>
          <a:effectLst/>
        </p:spPr>
      </p:pic>
      <p:pic>
        <p:nvPicPr>
          <p:cNvPr id="13" name="Picture Placeholder 12"/>
          <p:cNvPicPr>
            <a:picLocks noGrp="1" noChangeAspect="1"/>
          </p:cNvPicPr>
          <p:nvPr>
            <p:ph type="pic" sz="quarter" idx="23"/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316" b="11316"/>
          <a:stretch>
            <a:fillRect/>
          </a:stretch>
        </p:blipFill>
        <p:spPr>
          <a:xfrm>
            <a:off x="5572125" y="3786188"/>
            <a:ext cx="427038" cy="395287"/>
          </a:xfrm>
          <a:solidFill>
            <a:schemeClr val="bg1">
              <a:lumMod val="85000"/>
            </a:schemeClr>
          </a:solidFill>
          <a:ln w="6350">
            <a:noFill/>
          </a:ln>
          <a:effectLst/>
        </p:spPr>
      </p:pic>
      <p:pic>
        <p:nvPicPr>
          <p:cNvPr id="29" name="Picture Placeholder 28"/>
          <p:cNvPicPr>
            <a:picLocks noGrp="1" noChangeAspect="1"/>
          </p:cNvPicPr>
          <p:nvPr>
            <p:ph type="pic" sz="quarter" idx="26"/>
          </p:nvPr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732" b="11732"/>
          <a:stretch>
            <a:fillRect/>
          </a:stretch>
        </p:blipFill>
        <p:spPr>
          <a:xfrm>
            <a:off x="8056563" y="3763963"/>
            <a:ext cx="427037" cy="396875"/>
          </a:xfrm>
          <a:solidFill>
            <a:schemeClr val="bg1">
              <a:lumMod val="85000"/>
            </a:schemeClr>
          </a:solidFill>
          <a:ln w="6350">
            <a:noFill/>
          </a:ln>
          <a:effectLst/>
        </p:spPr>
      </p:pic>
      <p:pic>
        <p:nvPicPr>
          <p:cNvPr id="9" name="Picture Placeholder 8"/>
          <p:cNvPicPr>
            <a:picLocks noGrp="1" noChangeAspect="1"/>
          </p:cNvPicPr>
          <p:nvPr>
            <p:ph type="pic" sz="quarter" idx="21"/>
          </p:nvPr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280" b="10280"/>
          <a:stretch>
            <a:fillRect/>
          </a:stretch>
        </p:blipFill>
        <p:spPr>
          <a:xfrm>
            <a:off x="321433" y="3231181"/>
            <a:ext cx="427037" cy="395287"/>
          </a:xfrm>
          <a:solidFill>
            <a:schemeClr val="bg1">
              <a:lumMod val="85000"/>
            </a:schemeClr>
          </a:solidFill>
          <a:ln w="6350">
            <a:noFill/>
          </a:ln>
          <a:effectLst/>
        </p:spPr>
      </p:pic>
      <p:grpSp>
        <p:nvGrpSpPr>
          <p:cNvPr id="123" name="Group 122"/>
          <p:cNvGrpSpPr/>
          <p:nvPr/>
        </p:nvGrpSpPr>
        <p:grpSpPr>
          <a:xfrm>
            <a:off x="243628" y="4420582"/>
            <a:ext cx="1820038" cy="503225"/>
            <a:chOff x="3541489" y="1832866"/>
            <a:chExt cx="2061022" cy="585143"/>
          </a:xfrm>
        </p:grpSpPr>
        <p:sp>
          <p:nvSpPr>
            <p:cNvPr id="124" name="Rounded Rectangle 123"/>
            <p:cNvSpPr/>
            <p:nvPr/>
          </p:nvSpPr>
          <p:spPr bwMode="auto">
            <a:xfrm>
              <a:off x="3541489" y="1832866"/>
              <a:ext cx="2061022" cy="585143"/>
            </a:xfrm>
            <a:prstGeom prst="roundRect">
              <a:avLst>
                <a:gd name="adj" fmla="val 0"/>
              </a:avLst>
            </a:prstGeom>
            <a:solidFill>
              <a:schemeClr val="accent2">
                <a:lumMod val="75000"/>
              </a:schemeClr>
            </a:solidFill>
            <a:ln>
              <a:noFill/>
            </a:ln>
            <a:effectLst/>
          </p:spPr>
          <p:txBody>
            <a:bodyPr anchor="ctr"/>
            <a:lstStyle/>
            <a:p>
              <a:pPr>
                <a:defRPr/>
              </a:pPr>
              <a:endParaRPr lang="id-ID" sz="1100" b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endParaRPr>
            </a:p>
          </p:txBody>
        </p:sp>
        <p:sp>
          <p:nvSpPr>
            <p:cNvPr id="125" name="Rectangle 124"/>
            <p:cNvSpPr/>
            <p:nvPr/>
          </p:nvSpPr>
          <p:spPr>
            <a:xfrm>
              <a:off x="3543300" y="2133600"/>
              <a:ext cx="2057400" cy="284409"/>
            </a:xfrm>
            <a:prstGeom prst="rect">
              <a:avLst/>
            </a:pr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600">
                <a:solidFill>
                  <a:schemeClr val="bg1"/>
                </a:solidFill>
              </a:endParaRPr>
            </a:p>
          </p:txBody>
        </p:sp>
      </p:grpSp>
      <p:sp>
        <p:nvSpPr>
          <p:cNvPr id="129" name="TextBox 128"/>
          <p:cNvSpPr txBox="1"/>
          <p:nvPr/>
        </p:nvSpPr>
        <p:spPr bwMode="auto">
          <a:xfrm>
            <a:off x="714311" y="4458071"/>
            <a:ext cx="534121" cy="246221"/>
          </a:xfrm>
          <a:prstGeom prst="rect">
            <a:avLst/>
          </a:prstGeom>
          <a:noFill/>
        </p:spPr>
        <p:txBody>
          <a:bodyPr wrap="none" anchor="ctr">
            <a:spAutoFit/>
          </a:bodyPr>
          <a:lstStyle/>
          <a:p>
            <a:pPr>
              <a:defRPr/>
            </a:pPr>
            <a:r>
              <a:rPr lang="en-GB" sz="1000" b="1" dirty="0" err="1" smtClean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Teknisi</a:t>
            </a:r>
            <a:r>
              <a:rPr lang="en-GB" sz="1000" b="1" dirty="0" smtClean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endParaRPr lang="en-US" sz="1000" b="1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30" name="TextBox 129"/>
          <p:cNvSpPr txBox="1"/>
          <p:nvPr/>
        </p:nvSpPr>
        <p:spPr bwMode="auto">
          <a:xfrm>
            <a:off x="714311" y="4711144"/>
            <a:ext cx="1082262" cy="189490"/>
          </a:xfrm>
          <a:prstGeom prst="rect">
            <a:avLst/>
          </a:prstGeom>
          <a:noFill/>
        </p:spPr>
        <p:txBody>
          <a:bodyPr wrap="square" anchor="ctr">
            <a:noAutofit/>
          </a:bodyPr>
          <a:lstStyle>
            <a:defPPr>
              <a:defRPr lang="en-US"/>
            </a:defPPr>
            <a:lvl1pPr algn="ctr">
              <a:defRPr sz="100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pPr algn="l"/>
            <a:r>
              <a:rPr lang="en-US" sz="900" dirty="0" err="1" smtClean="0"/>
              <a:t>Sakka</a:t>
            </a:r>
            <a:r>
              <a:rPr lang="en-US" sz="900" dirty="0" smtClean="0"/>
              <a:t> </a:t>
            </a:r>
            <a:r>
              <a:rPr lang="en-US" sz="900" dirty="0" err="1" smtClean="0"/>
              <a:t>Jiwangga</a:t>
            </a:r>
            <a:r>
              <a:rPr lang="en-US" sz="900" dirty="0" smtClean="0"/>
              <a:t> E</a:t>
            </a:r>
            <a:endParaRPr lang="en-US" sz="900" dirty="0"/>
          </a:p>
        </p:txBody>
      </p:sp>
      <p:pic>
        <p:nvPicPr>
          <p:cNvPr id="131" name="Picture Placeholder 9"/>
          <p:cNvPicPr>
            <a:picLocks noGrp="1" noChangeAspect="1"/>
          </p:cNvPicPr>
          <p:nvPr>
            <p:ph type="pic" sz="quarter" idx="21"/>
          </p:nvPr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4512" y="4474266"/>
            <a:ext cx="336775" cy="395859"/>
          </a:xfrm>
          <a:solidFill>
            <a:schemeClr val="bg1">
              <a:lumMod val="85000"/>
            </a:schemeClr>
          </a:solidFill>
          <a:ln w="6350">
            <a:noFill/>
          </a:ln>
          <a:effectLst/>
        </p:spPr>
      </p:pic>
      <p:grpSp>
        <p:nvGrpSpPr>
          <p:cNvPr id="134" name="Group 133"/>
          <p:cNvGrpSpPr/>
          <p:nvPr/>
        </p:nvGrpSpPr>
        <p:grpSpPr>
          <a:xfrm>
            <a:off x="243628" y="5078968"/>
            <a:ext cx="1820038" cy="503225"/>
            <a:chOff x="3541489" y="1832866"/>
            <a:chExt cx="2061022" cy="585143"/>
          </a:xfrm>
        </p:grpSpPr>
        <p:sp>
          <p:nvSpPr>
            <p:cNvPr id="140" name="Rounded Rectangle 139"/>
            <p:cNvSpPr/>
            <p:nvPr/>
          </p:nvSpPr>
          <p:spPr bwMode="auto">
            <a:xfrm>
              <a:off x="3541489" y="1832866"/>
              <a:ext cx="2061022" cy="585143"/>
            </a:xfrm>
            <a:prstGeom prst="roundRect">
              <a:avLst>
                <a:gd name="adj" fmla="val 0"/>
              </a:avLst>
            </a:prstGeom>
            <a:solidFill>
              <a:schemeClr val="accent2">
                <a:lumMod val="75000"/>
              </a:schemeClr>
            </a:solidFill>
            <a:ln>
              <a:noFill/>
            </a:ln>
            <a:effectLst/>
          </p:spPr>
          <p:txBody>
            <a:bodyPr anchor="ctr"/>
            <a:lstStyle/>
            <a:p>
              <a:pPr>
                <a:defRPr/>
              </a:pPr>
              <a:endParaRPr lang="id-ID" sz="1100" b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endParaRPr>
            </a:p>
          </p:txBody>
        </p:sp>
        <p:sp>
          <p:nvSpPr>
            <p:cNvPr id="146" name="Rectangle 145"/>
            <p:cNvSpPr/>
            <p:nvPr/>
          </p:nvSpPr>
          <p:spPr>
            <a:xfrm>
              <a:off x="3543300" y="2133600"/>
              <a:ext cx="2057400" cy="284409"/>
            </a:xfrm>
            <a:prstGeom prst="rect">
              <a:avLst/>
            </a:pr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600">
                <a:solidFill>
                  <a:schemeClr val="bg1"/>
                </a:solidFill>
              </a:endParaRPr>
            </a:p>
          </p:txBody>
        </p:sp>
      </p:grpSp>
      <p:sp>
        <p:nvSpPr>
          <p:cNvPr id="148" name="TextBox 147"/>
          <p:cNvSpPr txBox="1"/>
          <p:nvPr/>
        </p:nvSpPr>
        <p:spPr bwMode="auto">
          <a:xfrm>
            <a:off x="714311" y="5116457"/>
            <a:ext cx="534121" cy="246221"/>
          </a:xfrm>
          <a:prstGeom prst="rect">
            <a:avLst/>
          </a:prstGeom>
          <a:noFill/>
        </p:spPr>
        <p:txBody>
          <a:bodyPr wrap="none" anchor="ctr">
            <a:spAutoFit/>
          </a:bodyPr>
          <a:lstStyle/>
          <a:p>
            <a:pPr>
              <a:defRPr/>
            </a:pPr>
            <a:r>
              <a:rPr lang="en-GB" sz="1000" b="1" dirty="0" err="1" smtClean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Teknisi</a:t>
            </a:r>
            <a:r>
              <a:rPr lang="en-GB" sz="1000" b="1" dirty="0" smtClean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endParaRPr lang="en-US" sz="1000" b="1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51" name="TextBox 150"/>
          <p:cNvSpPr txBox="1"/>
          <p:nvPr/>
        </p:nvSpPr>
        <p:spPr bwMode="auto">
          <a:xfrm>
            <a:off x="714311" y="5369530"/>
            <a:ext cx="1082262" cy="189490"/>
          </a:xfrm>
          <a:prstGeom prst="rect">
            <a:avLst/>
          </a:prstGeom>
          <a:noFill/>
        </p:spPr>
        <p:txBody>
          <a:bodyPr wrap="square" anchor="ctr">
            <a:noAutofit/>
          </a:bodyPr>
          <a:lstStyle>
            <a:defPPr>
              <a:defRPr lang="en-US"/>
            </a:defPPr>
            <a:lvl1pPr algn="ctr">
              <a:defRPr sz="100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pPr algn="l"/>
            <a:r>
              <a:rPr lang="en-GB" sz="900" dirty="0" err="1" smtClean="0"/>
              <a:t>Andi</a:t>
            </a:r>
            <a:r>
              <a:rPr lang="en-GB" sz="900" dirty="0" smtClean="0"/>
              <a:t> </a:t>
            </a:r>
            <a:r>
              <a:rPr lang="en-GB" sz="900" dirty="0" err="1" smtClean="0"/>
              <a:t>Aulia</a:t>
            </a:r>
            <a:r>
              <a:rPr lang="en-GB" sz="900" dirty="0" smtClean="0"/>
              <a:t> Rahman</a:t>
            </a:r>
            <a:endParaRPr lang="en-US" sz="900" dirty="0"/>
          </a:p>
        </p:txBody>
      </p:sp>
      <p:pic>
        <p:nvPicPr>
          <p:cNvPr id="153" name="Picture Placeholder 9"/>
          <p:cNvPicPr>
            <a:picLocks noGrp="1" noChangeAspect="1"/>
          </p:cNvPicPr>
          <p:nvPr>
            <p:ph type="pic" sz="quarter" idx="21"/>
          </p:nvPr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1897" y="5132652"/>
            <a:ext cx="322004" cy="395859"/>
          </a:xfrm>
          <a:solidFill>
            <a:schemeClr val="bg1">
              <a:lumMod val="85000"/>
            </a:schemeClr>
          </a:solidFill>
          <a:ln w="6350">
            <a:noFill/>
          </a:ln>
          <a:effectLst/>
        </p:spPr>
      </p:pic>
      <p:grpSp>
        <p:nvGrpSpPr>
          <p:cNvPr id="154" name="Group 153"/>
          <p:cNvGrpSpPr/>
          <p:nvPr/>
        </p:nvGrpSpPr>
        <p:grpSpPr>
          <a:xfrm>
            <a:off x="229291" y="5722621"/>
            <a:ext cx="1832775" cy="503225"/>
            <a:chOff x="3541489" y="1832866"/>
            <a:chExt cx="2061022" cy="585143"/>
          </a:xfrm>
        </p:grpSpPr>
        <p:sp>
          <p:nvSpPr>
            <p:cNvPr id="155" name="Rounded Rectangle 154"/>
            <p:cNvSpPr/>
            <p:nvPr/>
          </p:nvSpPr>
          <p:spPr bwMode="auto">
            <a:xfrm>
              <a:off x="3541489" y="1832866"/>
              <a:ext cx="2061022" cy="585143"/>
            </a:xfrm>
            <a:prstGeom prst="roundRect">
              <a:avLst>
                <a:gd name="adj" fmla="val 0"/>
              </a:avLst>
            </a:prstGeom>
            <a:solidFill>
              <a:schemeClr val="accent2">
                <a:lumMod val="75000"/>
              </a:schemeClr>
            </a:solidFill>
            <a:ln>
              <a:noFill/>
            </a:ln>
            <a:effectLst/>
          </p:spPr>
          <p:txBody>
            <a:bodyPr anchor="ctr"/>
            <a:lstStyle/>
            <a:p>
              <a:pPr>
                <a:defRPr/>
              </a:pPr>
              <a:endParaRPr lang="id-ID" sz="1100" b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endParaRPr>
            </a:p>
          </p:txBody>
        </p:sp>
        <p:sp>
          <p:nvSpPr>
            <p:cNvPr id="156" name="Rectangle 155"/>
            <p:cNvSpPr/>
            <p:nvPr/>
          </p:nvSpPr>
          <p:spPr>
            <a:xfrm>
              <a:off x="3543300" y="2133600"/>
              <a:ext cx="2057400" cy="284409"/>
            </a:xfrm>
            <a:prstGeom prst="rect">
              <a:avLst/>
            </a:pr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600">
                <a:solidFill>
                  <a:schemeClr val="bg1"/>
                </a:solidFill>
              </a:endParaRPr>
            </a:p>
          </p:txBody>
        </p:sp>
      </p:grpSp>
      <p:sp>
        <p:nvSpPr>
          <p:cNvPr id="157" name="TextBox 156"/>
          <p:cNvSpPr txBox="1"/>
          <p:nvPr/>
        </p:nvSpPr>
        <p:spPr bwMode="auto">
          <a:xfrm>
            <a:off x="699975" y="5760110"/>
            <a:ext cx="534121" cy="246221"/>
          </a:xfrm>
          <a:prstGeom prst="rect">
            <a:avLst/>
          </a:prstGeom>
          <a:noFill/>
        </p:spPr>
        <p:txBody>
          <a:bodyPr wrap="none" anchor="ctr">
            <a:spAutoFit/>
          </a:bodyPr>
          <a:lstStyle/>
          <a:p>
            <a:pPr>
              <a:defRPr/>
            </a:pPr>
            <a:r>
              <a:rPr lang="en-GB" sz="1000" b="1" dirty="0" err="1" smtClean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Teknisi</a:t>
            </a:r>
            <a:r>
              <a:rPr lang="en-GB" sz="1000" b="1" dirty="0" smtClean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endParaRPr lang="en-US" sz="1000" b="1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59" name="TextBox 158"/>
          <p:cNvSpPr txBox="1"/>
          <p:nvPr/>
        </p:nvSpPr>
        <p:spPr bwMode="auto">
          <a:xfrm>
            <a:off x="699975" y="6013182"/>
            <a:ext cx="1347756" cy="192239"/>
          </a:xfrm>
          <a:prstGeom prst="rect">
            <a:avLst/>
          </a:prstGeom>
          <a:noFill/>
        </p:spPr>
        <p:txBody>
          <a:bodyPr wrap="square" anchor="ctr">
            <a:noAutofit/>
          </a:bodyPr>
          <a:lstStyle>
            <a:defPPr>
              <a:defRPr lang="en-US"/>
            </a:defPPr>
            <a:lvl1pPr algn="ctr">
              <a:defRPr sz="100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pPr algn="l"/>
            <a:r>
              <a:rPr lang="en-GB" sz="900" dirty="0" err="1" smtClean="0"/>
              <a:t>Rinto</a:t>
            </a:r>
            <a:r>
              <a:rPr lang="en-GB" sz="900" dirty="0" smtClean="0"/>
              <a:t> </a:t>
            </a:r>
            <a:r>
              <a:rPr lang="en-GB" sz="900" dirty="0" err="1" smtClean="0"/>
              <a:t>Hadi</a:t>
            </a:r>
            <a:r>
              <a:rPr lang="en-GB" sz="900" dirty="0" smtClean="0"/>
              <a:t> </a:t>
            </a:r>
            <a:r>
              <a:rPr lang="en-GB" sz="900" dirty="0" err="1" smtClean="0"/>
              <a:t>Tedjakusumo</a:t>
            </a:r>
            <a:endParaRPr lang="en-US" sz="900" dirty="0"/>
          </a:p>
        </p:txBody>
      </p:sp>
      <p:pic>
        <p:nvPicPr>
          <p:cNvPr id="160" name="Picture Placeholder 9"/>
          <p:cNvPicPr>
            <a:picLocks noGrp="1" noChangeAspect="1"/>
          </p:cNvPicPr>
          <p:nvPr>
            <p:ph type="pic" sz="quarter" idx="21"/>
          </p:nvPr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7561" y="5782162"/>
            <a:ext cx="322004" cy="384145"/>
          </a:xfrm>
          <a:solidFill>
            <a:schemeClr val="bg1">
              <a:lumMod val="85000"/>
            </a:schemeClr>
          </a:solidFill>
          <a:ln w="6350">
            <a:noFill/>
          </a:ln>
          <a:effectLst/>
        </p:spPr>
      </p:pic>
      <p:grpSp>
        <p:nvGrpSpPr>
          <p:cNvPr id="161" name="Group 160"/>
          <p:cNvGrpSpPr/>
          <p:nvPr/>
        </p:nvGrpSpPr>
        <p:grpSpPr>
          <a:xfrm>
            <a:off x="2196656" y="3188630"/>
            <a:ext cx="1820038" cy="503225"/>
            <a:chOff x="3541489" y="1832866"/>
            <a:chExt cx="2061022" cy="585143"/>
          </a:xfrm>
        </p:grpSpPr>
        <p:sp>
          <p:nvSpPr>
            <p:cNvPr id="163" name="Rounded Rectangle 162"/>
            <p:cNvSpPr/>
            <p:nvPr/>
          </p:nvSpPr>
          <p:spPr bwMode="auto">
            <a:xfrm>
              <a:off x="3541489" y="1832866"/>
              <a:ext cx="2061022" cy="585143"/>
            </a:xfrm>
            <a:prstGeom prst="roundRect">
              <a:avLst>
                <a:gd name="adj" fmla="val 0"/>
              </a:avLst>
            </a:prstGeom>
            <a:solidFill>
              <a:schemeClr val="accent2">
                <a:lumMod val="75000"/>
              </a:schemeClr>
            </a:solidFill>
            <a:ln>
              <a:noFill/>
            </a:ln>
            <a:effectLst/>
          </p:spPr>
          <p:txBody>
            <a:bodyPr anchor="ctr"/>
            <a:lstStyle/>
            <a:p>
              <a:pPr>
                <a:defRPr/>
              </a:pPr>
              <a:endParaRPr lang="id-ID" sz="1100" b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endParaRPr>
            </a:p>
          </p:txBody>
        </p:sp>
        <p:sp>
          <p:nvSpPr>
            <p:cNvPr id="164" name="Rectangle 163"/>
            <p:cNvSpPr/>
            <p:nvPr/>
          </p:nvSpPr>
          <p:spPr>
            <a:xfrm>
              <a:off x="3543300" y="2133600"/>
              <a:ext cx="2057400" cy="284409"/>
            </a:xfrm>
            <a:prstGeom prst="rect">
              <a:avLst/>
            </a:pr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600">
                <a:solidFill>
                  <a:schemeClr val="bg1"/>
                </a:solidFill>
              </a:endParaRPr>
            </a:p>
          </p:txBody>
        </p:sp>
      </p:grpSp>
      <p:sp>
        <p:nvSpPr>
          <p:cNvPr id="165" name="TextBox 164"/>
          <p:cNvSpPr txBox="1"/>
          <p:nvPr/>
        </p:nvSpPr>
        <p:spPr bwMode="auto">
          <a:xfrm>
            <a:off x="2643790" y="3225078"/>
            <a:ext cx="774571" cy="246221"/>
          </a:xfrm>
          <a:prstGeom prst="rect">
            <a:avLst/>
          </a:prstGeom>
          <a:noFill/>
        </p:spPr>
        <p:txBody>
          <a:bodyPr wrap="none" anchor="ctr">
            <a:spAutoFit/>
          </a:bodyPr>
          <a:lstStyle/>
          <a:p>
            <a:pPr>
              <a:defRPr/>
            </a:pPr>
            <a:r>
              <a:rPr lang="en-US" sz="1000" b="1" dirty="0" err="1" smtClean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dministrasi</a:t>
            </a:r>
            <a:endParaRPr lang="en-US" sz="1000" b="1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71" name="TextBox 170"/>
          <p:cNvSpPr txBox="1"/>
          <p:nvPr/>
        </p:nvSpPr>
        <p:spPr bwMode="auto">
          <a:xfrm>
            <a:off x="2643790" y="3478151"/>
            <a:ext cx="1358568" cy="200960"/>
          </a:xfrm>
          <a:prstGeom prst="rect">
            <a:avLst/>
          </a:prstGeom>
          <a:noFill/>
        </p:spPr>
        <p:txBody>
          <a:bodyPr wrap="square" anchor="ctr">
            <a:noAutofit/>
          </a:bodyPr>
          <a:lstStyle>
            <a:defPPr>
              <a:defRPr lang="en-US"/>
            </a:defPPr>
            <a:lvl1pPr algn="ctr">
              <a:defRPr sz="100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pPr algn="l"/>
            <a:r>
              <a:rPr lang="en-US" sz="900" dirty="0" err="1" smtClean="0"/>
              <a:t>Titin</a:t>
            </a:r>
            <a:r>
              <a:rPr lang="en-US" sz="900" dirty="0" smtClean="0"/>
              <a:t> </a:t>
            </a:r>
            <a:r>
              <a:rPr lang="en-US" sz="900" dirty="0" err="1" smtClean="0"/>
              <a:t>Sulistianingsih</a:t>
            </a:r>
            <a:endParaRPr lang="en-US" sz="900" dirty="0"/>
          </a:p>
        </p:txBody>
      </p:sp>
      <p:pic>
        <p:nvPicPr>
          <p:cNvPr id="179" name="Picture Placeholder 8"/>
          <p:cNvPicPr>
            <a:picLocks noGrp="1" noChangeAspect="1"/>
          </p:cNvPicPr>
          <p:nvPr>
            <p:ph type="pic" sz="quarter" idx="21"/>
          </p:nvPr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20854" y="3231181"/>
            <a:ext cx="334250" cy="395287"/>
          </a:xfrm>
          <a:solidFill>
            <a:schemeClr val="bg1">
              <a:lumMod val="85000"/>
            </a:schemeClr>
          </a:solidFill>
          <a:ln w="6350">
            <a:noFill/>
          </a:ln>
          <a:effectLst/>
        </p:spPr>
      </p:pic>
      <p:grpSp>
        <p:nvGrpSpPr>
          <p:cNvPr id="186" name="Group 185"/>
          <p:cNvGrpSpPr/>
          <p:nvPr/>
        </p:nvGrpSpPr>
        <p:grpSpPr>
          <a:xfrm>
            <a:off x="2196656" y="3788681"/>
            <a:ext cx="1820038" cy="503225"/>
            <a:chOff x="3541489" y="1832866"/>
            <a:chExt cx="2061022" cy="585143"/>
          </a:xfrm>
        </p:grpSpPr>
        <p:sp>
          <p:nvSpPr>
            <p:cNvPr id="192" name="Rounded Rectangle 191"/>
            <p:cNvSpPr/>
            <p:nvPr/>
          </p:nvSpPr>
          <p:spPr bwMode="auto">
            <a:xfrm>
              <a:off x="3541489" y="1832866"/>
              <a:ext cx="2061022" cy="585143"/>
            </a:xfrm>
            <a:prstGeom prst="roundRect">
              <a:avLst>
                <a:gd name="adj" fmla="val 0"/>
              </a:avLst>
            </a:prstGeom>
            <a:solidFill>
              <a:schemeClr val="accent2">
                <a:lumMod val="75000"/>
              </a:schemeClr>
            </a:solidFill>
            <a:ln>
              <a:noFill/>
            </a:ln>
            <a:effectLst/>
          </p:spPr>
          <p:txBody>
            <a:bodyPr anchor="ctr"/>
            <a:lstStyle/>
            <a:p>
              <a:pPr>
                <a:defRPr/>
              </a:pPr>
              <a:endParaRPr lang="id-ID" sz="1100" b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endParaRPr>
            </a:p>
          </p:txBody>
        </p:sp>
        <p:sp>
          <p:nvSpPr>
            <p:cNvPr id="198" name="Rectangle 197"/>
            <p:cNvSpPr/>
            <p:nvPr/>
          </p:nvSpPr>
          <p:spPr>
            <a:xfrm>
              <a:off x="3543300" y="2133600"/>
              <a:ext cx="2057400" cy="284409"/>
            </a:xfrm>
            <a:prstGeom prst="rect">
              <a:avLst/>
            </a:pr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600">
                <a:solidFill>
                  <a:schemeClr val="bg1"/>
                </a:solidFill>
              </a:endParaRPr>
            </a:p>
          </p:txBody>
        </p:sp>
      </p:grpSp>
      <p:sp>
        <p:nvSpPr>
          <p:cNvPr id="205" name="TextBox 204"/>
          <p:cNvSpPr txBox="1"/>
          <p:nvPr/>
        </p:nvSpPr>
        <p:spPr bwMode="auto">
          <a:xfrm>
            <a:off x="2643790" y="3825129"/>
            <a:ext cx="622286" cy="246221"/>
          </a:xfrm>
          <a:prstGeom prst="rect">
            <a:avLst/>
          </a:prstGeom>
          <a:noFill/>
        </p:spPr>
        <p:txBody>
          <a:bodyPr wrap="none" anchor="ctr">
            <a:spAutoFit/>
          </a:bodyPr>
          <a:lstStyle/>
          <a:p>
            <a:pPr>
              <a:defRPr/>
            </a:pPr>
            <a:r>
              <a:rPr lang="en-GB" sz="1000" b="1" dirty="0" smtClean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Helpdesk</a:t>
            </a:r>
            <a:endParaRPr lang="en-US" sz="1000" b="1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12" name="TextBox 211"/>
          <p:cNvSpPr txBox="1"/>
          <p:nvPr/>
        </p:nvSpPr>
        <p:spPr bwMode="auto">
          <a:xfrm>
            <a:off x="2643790" y="4078202"/>
            <a:ext cx="1358568" cy="200960"/>
          </a:xfrm>
          <a:prstGeom prst="rect">
            <a:avLst/>
          </a:prstGeom>
          <a:noFill/>
        </p:spPr>
        <p:txBody>
          <a:bodyPr wrap="square" anchor="ctr">
            <a:noAutofit/>
          </a:bodyPr>
          <a:lstStyle>
            <a:defPPr>
              <a:defRPr lang="en-US"/>
            </a:defPPr>
            <a:lvl1pPr algn="ctr">
              <a:defRPr sz="100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pPr algn="l"/>
            <a:r>
              <a:rPr lang="en-GB" sz="900" dirty="0" err="1" smtClean="0"/>
              <a:t>Dhinar</a:t>
            </a:r>
            <a:r>
              <a:rPr lang="en-GB" sz="900" dirty="0" smtClean="0"/>
              <a:t> </a:t>
            </a:r>
            <a:r>
              <a:rPr lang="en-GB" sz="900" dirty="0" err="1" smtClean="0"/>
              <a:t>Desiputri</a:t>
            </a:r>
            <a:endParaRPr lang="en-US" sz="900" dirty="0"/>
          </a:p>
        </p:txBody>
      </p:sp>
      <p:pic>
        <p:nvPicPr>
          <p:cNvPr id="214" name="Picture Placeholder 8"/>
          <p:cNvPicPr>
            <a:picLocks noGrp="1" noChangeAspect="1"/>
          </p:cNvPicPr>
          <p:nvPr>
            <p:ph type="pic" sz="quarter" idx="21"/>
          </p:nvPr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26937" y="3831232"/>
            <a:ext cx="322085" cy="395287"/>
          </a:xfrm>
          <a:solidFill>
            <a:schemeClr val="bg1">
              <a:lumMod val="85000"/>
            </a:schemeClr>
          </a:solidFill>
          <a:ln w="6350">
            <a:noFill/>
          </a:ln>
          <a:effectLst/>
        </p:spPr>
      </p:pic>
      <p:pic>
        <p:nvPicPr>
          <p:cNvPr id="12" name="Picture Placeholder 11"/>
          <p:cNvPicPr>
            <a:picLocks noGrp="1" noChangeAspect="1"/>
          </p:cNvPicPr>
          <p:nvPr>
            <p:ph type="pic" sz="quarter" idx="23"/>
          </p:nvPr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994" b="10994"/>
          <a:stretch>
            <a:fillRect/>
          </a:stretch>
        </p:blipFill>
        <p:spPr>
          <a:xfrm>
            <a:off x="5581650" y="3197225"/>
            <a:ext cx="427038" cy="396875"/>
          </a:xfrm>
          <a:solidFill>
            <a:schemeClr val="bg1">
              <a:lumMod val="85000"/>
            </a:schemeClr>
          </a:solidFill>
          <a:ln w="6350">
            <a:noFill/>
          </a:ln>
          <a:effectLst/>
        </p:spPr>
      </p:pic>
      <p:grpSp>
        <p:nvGrpSpPr>
          <p:cNvPr id="223" name="Group 222"/>
          <p:cNvGrpSpPr/>
          <p:nvPr/>
        </p:nvGrpSpPr>
        <p:grpSpPr>
          <a:xfrm>
            <a:off x="5512300" y="4346391"/>
            <a:ext cx="1820038" cy="503225"/>
            <a:chOff x="3541489" y="1832866"/>
            <a:chExt cx="2061022" cy="585143"/>
          </a:xfrm>
        </p:grpSpPr>
        <p:sp>
          <p:nvSpPr>
            <p:cNvPr id="224" name="Rounded Rectangle 223"/>
            <p:cNvSpPr/>
            <p:nvPr/>
          </p:nvSpPr>
          <p:spPr bwMode="auto">
            <a:xfrm>
              <a:off x="3541489" y="1832866"/>
              <a:ext cx="2061022" cy="585143"/>
            </a:xfrm>
            <a:prstGeom prst="roundRect">
              <a:avLst>
                <a:gd name="adj" fmla="val 0"/>
              </a:avLst>
            </a:prstGeom>
            <a:solidFill>
              <a:schemeClr val="accent3">
                <a:lumMod val="75000"/>
              </a:schemeClr>
            </a:solidFill>
            <a:ln>
              <a:noFill/>
            </a:ln>
            <a:effectLst/>
          </p:spPr>
          <p:txBody>
            <a:bodyPr anchor="ctr"/>
            <a:lstStyle/>
            <a:p>
              <a:pPr>
                <a:defRPr/>
              </a:pPr>
              <a:endParaRPr lang="id-ID" sz="1100" b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endParaRPr>
            </a:p>
          </p:txBody>
        </p:sp>
        <p:sp>
          <p:nvSpPr>
            <p:cNvPr id="225" name="Rectangle 224"/>
            <p:cNvSpPr/>
            <p:nvPr/>
          </p:nvSpPr>
          <p:spPr>
            <a:xfrm>
              <a:off x="3543300" y="2133600"/>
              <a:ext cx="2057400" cy="284409"/>
            </a:xfrm>
            <a:prstGeom prst="rect">
              <a:avLst/>
            </a:pr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600">
                <a:solidFill>
                  <a:schemeClr val="bg1"/>
                </a:solidFill>
              </a:endParaRPr>
            </a:p>
          </p:txBody>
        </p:sp>
      </p:grpSp>
      <p:sp>
        <p:nvSpPr>
          <p:cNvPr id="226" name="TextBox 225"/>
          <p:cNvSpPr txBox="1"/>
          <p:nvPr/>
        </p:nvSpPr>
        <p:spPr bwMode="auto">
          <a:xfrm>
            <a:off x="6029944" y="4371092"/>
            <a:ext cx="510076" cy="246221"/>
          </a:xfrm>
          <a:prstGeom prst="rect">
            <a:avLst/>
          </a:prstGeom>
          <a:noFill/>
        </p:spPr>
        <p:txBody>
          <a:bodyPr wrap="none" anchor="ctr">
            <a:spAutoFit/>
          </a:bodyPr>
          <a:lstStyle/>
          <a:p>
            <a:pPr>
              <a:defRPr/>
            </a:pPr>
            <a:r>
              <a:rPr lang="en-US" sz="1000" b="1" dirty="0" err="1" smtClean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Teknisi</a:t>
            </a:r>
            <a:endParaRPr lang="en-US" sz="1000" b="1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27" name="TextBox 226"/>
          <p:cNvSpPr txBox="1"/>
          <p:nvPr/>
        </p:nvSpPr>
        <p:spPr bwMode="auto">
          <a:xfrm>
            <a:off x="6029944" y="4624165"/>
            <a:ext cx="1082262" cy="189490"/>
          </a:xfrm>
          <a:prstGeom prst="rect">
            <a:avLst/>
          </a:prstGeom>
          <a:noFill/>
        </p:spPr>
        <p:txBody>
          <a:bodyPr wrap="square" anchor="ctr">
            <a:noAutofit/>
          </a:bodyPr>
          <a:lstStyle>
            <a:defPPr>
              <a:defRPr lang="en-US"/>
            </a:defPPr>
            <a:lvl1pPr algn="ctr">
              <a:defRPr sz="100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pPr algn="l"/>
            <a:r>
              <a:rPr lang="en-US" sz="900" dirty="0" err="1" smtClean="0"/>
              <a:t>Evo</a:t>
            </a:r>
            <a:r>
              <a:rPr lang="en-US" sz="900" dirty="0" smtClean="0"/>
              <a:t> Prima </a:t>
            </a:r>
            <a:r>
              <a:rPr lang="en-US" sz="900" dirty="0" err="1" smtClean="0"/>
              <a:t>Amdani</a:t>
            </a:r>
            <a:endParaRPr lang="en-US" sz="900" dirty="0"/>
          </a:p>
        </p:txBody>
      </p:sp>
      <p:pic>
        <p:nvPicPr>
          <p:cNvPr id="229" name="Picture Placeholder 12"/>
          <p:cNvPicPr>
            <a:picLocks noGrp="1" noChangeAspect="1"/>
          </p:cNvPicPr>
          <p:nvPr>
            <p:ph type="pic" sz="quarter" idx="23"/>
          </p:nvPr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07151" y="4384488"/>
            <a:ext cx="379916" cy="429167"/>
          </a:xfrm>
          <a:solidFill>
            <a:schemeClr val="bg1">
              <a:lumMod val="85000"/>
            </a:schemeClr>
          </a:solidFill>
          <a:ln w="6350">
            <a:noFill/>
          </a:ln>
          <a:effectLst/>
        </p:spPr>
      </p:pic>
      <p:cxnSp>
        <p:nvCxnSpPr>
          <p:cNvPr id="233" name="Straight Connector 232"/>
          <p:cNvCxnSpPr/>
          <p:nvPr/>
        </p:nvCxnSpPr>
        <p:spPr>
          <a:xfrm>
            <a:off x="124990" y="2876466"/>
            <a:ext cx="0" cy="3132000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  <a:prstDash val="solid"/>
            <a:headEnd type="none" w="med" len="med"/>
            <a:tailEnd type="none" w="med" len="med"/>
          </a:ln>
          <a:effectLst>
            <a:outerShdw blurRad="38100" dist="127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4" name="Straight Connector 233"/>
          <p:cNvCxnSpPr/>
          <p:nvPr/>
        </p:nvCxnSpPr>
        <p:spPr bwMode="auto">
          <a:xfrm flipH="1">
            <a:off x="132502" y="3445493"/>
            <a:ext cx="108000" cy="0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  <a:prstDash val="solid"/>
          </a:ln>
          <a:effectLst>
            <a:outerShdw blurRad="50800" dist="12700" dir="5400000" algn="t" rotWithShape="0">
              <a:prstClr val="black">
                <a:alpha val="30000"/>
              </a:prst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5" name="Straight Connector 234"/>
          <p:cNvCxnSpPr/>
          <p:nvPr/>
        </p:nvCxnSpPr>
        <p:spPr bwMode="auto">
          <a:xfrm flipH="1">
            <a:off x="132502" y="4055828"/>
            <a:ext cx="108000" cy="0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  <a:prstDash val="solid"/>
          </a:ln>
          <a:effectLst>
            <a:outerShdw blurRad="50800" dist="12700" dir="5400000" algn="t" rotWithShape="0">
              <a:prstClr val="black">
                <a:alpha val="30000"/>
              </a:prst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6" name="Straight Connector 235"/>
          <p:cNvCxnSpPr/>
          <p:nvPr/>
        </p:nvCxnSpPr>
        <p:spPr bwMode="auto">
          <a:xfrm flipH="1">
            <a:off x="132502" y="4654128"/>
            <a:ext cx="108000" cy="0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  <a:prstDash val="solid"/>
          </a:ln>
          <a:effectLst>
            <a:outerShdw blurRad="50800" dist="12700" dir="5400000" algn="t" rotWithShape="0">
              <a:prstClr val="black">
                <a:alpha val="30000"/>
              </a:prst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7" name="Straight Connector 236"/>
          <p:cNvCxnSpPr/>
          <p:nvPr/>
        </p:nvCxnSpPr>
        <p:spPr bwMode="auto">
          <a:xfrm flipH="1">
            <a:off x="132502" y="5298530"/>
            <a:ext cx="108000" cy="0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  <a:prstDash val="solid"/>
          </a:ln>
          <a:effectLst>
            <a:outerShdw blurRad="50800" dist="12700" dir="5400000" algn="t" rotWithShape="0">
              <a:prstClr val="black">
                <a:alpha val="30000"/>
              </a:prst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41" name="Straight Connector 240"/>
          <p:cNvCxnSpPr/>
          <p:nvPr/>
        </p:nvCxnSpPr>
        <p:spPr bwMode="auto">
          <a:xfrm flipH="1">
            <a:off x="132502" y="6014396"/>
            <a:ext cx="108000" cy="0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  <a:prstDash val="solid"/>
          </a:ln>
          <a:effectLst>
            <a:outerShdw blurRad="50800" dist="12700" dir="5400000" algn="t" rotWithShape="0">
              <a:prstClr val="black">
                <a:alpha val="30000"/>
              </a:prst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47" name="Straight Connector 246"/>
          <p:cNvCxnSpPr/>
          <p:nvPr/>
        </p:nvCxnSpPr>
        <p:spPr bwMode="auto">
          <a:xfrm flipH="1">
            <a:off x="4015095" y="3445493"/>
            <a:ext cx="108000" cy="0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  <a:prstDash val="solid"/>
          </a:ln>
          <a:effectLst>
            <a:outerShdw blurRad="50800" dist="12700" dir="5400000" algn="t" rotWithShape="0">
              <a:prstClr val="black">
                <a:alpha val="30000"/>
              </a:prst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53" name="Straight Connector 252"/>
          <p:cNvCxnSpPr/>
          <p:nvPr/>
        </p:nvCxnSpPr>
        <p:spPr bwMode="auto">
          <a:xfrm flipH="1">
            <a:off x="4015095" y="4047313"/>
            <a:ext cx="108000" cy="0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  <a:prstDash val="solid"/>
          </a:ln>
          <a:effectLst>
            <a:outerShdw blurRad="50800" dist="12700" dir="5400000" algn="t" rotWithShape="0">
              <a:prstClr val="black">
                <a:alpha val="30000"/>
              </a:prst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55" name="Straight Connector 254"/>
          <p:cNvCxnSpPr/>
          <p:nvPr/>
        </p:nvCxnSpPr>
        <p:spPr bwMode="auto">
          <a:xfrm flipH="1">
            <a:off x="4121540" y="2876467"/>
            <a:ext cx="1555" cy="1176057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  <a:prstDash val="solid"/>
          </a:ln>
          <a:effectLst>
            <a:outerShdw blurRad="50800" dist="12700" dir="5400000" algn="t" rotWithShape="0">
              <a:prstClr val="black">
                <a:alpha val="30000"/>
              </a:prst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56" name="Straight Connector 255"/>
          <p:cNvCxnSpPr/>
          <p:nvPr/>
        </p:nvCxnSpPr>
        <p:spPr bwMode="auto">
          <a:xfrm flipH="1">
            <a:off x="132502" y="2880567"/>
            <a:ext cx="3996000" cy="0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  <a:prstDash val="solid"/>
          </a:ln>
          <a:effectLst>
            <a:outerShdw blurRad="50800" dist="12700" dir="5400000" algn="t" rotWithShape="0">
              <a:prstClr val="black">
                <a:alpha val="30000"/>
              </a:prst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258" name="Group 257"/>
          <p:cNvGrpSpPr/>
          <p:nvPr/>
        </p:nvGrpSpPr>
        <p:grpSpPr>
          <a:xfrm>
            <a:off x="7995957" y="4881551"/>
            <a:ext cx="1820038" cy="503225"/>
            <a:chOff x="3541489" y="1832866"/>
            <a:chExt cx="2061022" cy="585143"/>
          </a:xfrm>
        </p:grpSpPr>
        <p:sp>
          <p:nvSpPr>
            <p:cNvPr id="259" name="Rounded Rectangle 258"/>
            <p:cNvSpPr/>
            <p:nvPr/>
          </p:nvSpPr>
          <p:spPr bwMode="auto">
            <a:xfrm>
              <a:off x="3541489" y="1832866"/>
              <a:ext cx="2061022" cy="585143"/>
            </a:xfrm>
            <a:prstGeom prst="roundRect">
              <a:avLst>
                <a:gd name="adj" fmla="val 0"/>
              </a:avLst>
            </a:prstGeom>
            <a:solidFill>
              <a:schemeClr val="accent4">
                <a:lumMod val="75000"/>
              </a:schemeClr>
            </a:solidFill>
            <a:ln>
              <a:noFill/>
            </a:ln>
            <a:effectLst/>
          </p:spPr>
          <p:txBody>
            <a:bodyPr anchor="ctr"/>
            <a:lstStyle/>
            <a:p>
              <a:pPr>
                <a:defRPr/>
              </a:pPr>
              <a:endParaRPr lang="id-ID" sz="1100" b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endParaRPr>
            </a:p>
          </p:txBody>
        </p:sp>
        <p:sp>
          <p:nvSpPr>
            <p:cNvPr id="260" name="Rectangle 259"/>
            <p:cNvSpPr/>
            <p:nvPr/>
          </p:nvSpPr>
          <p:spPr>
            <a:xfrm>
              <a:off x="3543300" y="2133600"/>
              <a:ext cx="2057400" cy="284409"/>
            </a:xfrm>
            <a:prstGeom prst="rect">
              <a:avLst/>
            </a:pr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600">
                <a:solidFill>
                  <a:schemeClr val="bg1"/>
                </a:solidFill>
              </a:endParaRPr>
            </a:p>
          </p:txBody>
        </p:sp>
      </p:grpSp>
      <p:sp>
        <p:nvSpPr>
          <p:cNvPr id="261" name="TextBox 260"/>
          <p:cNvSpPr txBox="1"/>
          <p:nvPr/>
        </p:nvSpPr>
        <p:spPr bwMode="auto">
          <a:xfrm>
            <a:off x="8526099" y="4906252"/>
            <a:ext cx="764953" cy="246221"/>
          </a:xfrm>
          <a:prstGeom prst="rect">
            <a:avLst/>
          </a:prstGeom>
          <a:noFill/>
        </p:spPr>
        <p:txBody>
          <a:bodyPr wrap="none" anchor="ctr">
            <a:spAutoFit/>
          </a:bodyPr>
          <a:lstStyle/>
          <a:p>
            <a:pPr>
              <a:defRPr/>
            </a:pPr>
            <a:r>
              <a:rPr lang="en-US" sz="1000" b="1" dirty="0" smtClean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rogrammer</a:t>
            </a:r>
            <a:endParaRPr lang="en-US" sz="1000" b="1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62" name="TextBox 261"/>
          <p:cNvSpPr txBox="1"/>
          <p:nvPr/>
        </p:nvSpPr>
        <p:spPr bwMode="auto">
          <a:xfrm>
            <a:off x="8526099" y="5159325"/>
            <a:ext cx="1082262" cy="189490"/>
          </a:xfrm>
          <a:prstGeom prst="rect">
            <a:avLst/>
          </a:prstGeom>
          <a:noFill/>
        </p:spPr>
        <p:txBody>
          <a:bodyPr wrap="square" anchor="ctr">
            <a:noAutofit/>
          </a:bodyPr>
          <a:lstStyle/>
          <a:p>
            <a:pPr>
              <a:defRPr/>
            </a:pPr>
            <a:r>
              <a:rPr lang="en-US" sz="900" dirty="0" err="1" smtClean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Rivai</a:t>
            </a:r>
            <a:r>
              <a:rPr lang="en-US" sz="900" dirty="0" smtClean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900" dirty="0" err="1" smtClean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Arvian</a:t>
            </a:r>
            <a:endParaRPr lang="en-US" sz="900" dirty="0">
              <a:solidFill>
                <a:schemeClr val="bg1"/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grpSp>
        <p:nvGrpSpPr>
          <p:cNvPr id="263" name="Group 262"/>
          <p:cNvGrpSpPr/>
          <p:nvPr/>
        </p:nvGrpSpPr>
        <p:grpSpPr>
          <a:xfrm>
            <a:off x="7995957" y="5438258"/>
            <a:ext cx="1820038" cy="503225"/>
            <a:chOff x="3541489" y="1832866"/>
            <a:chExt cx="2061022" cy="585143"/>
          </a:xfrm>
        </p:grpSpPr>
        <p:sp>
          <p:nvSpPr>
            <p:cNvPr id="264" name="Rounded Rectangle 263"/>
            <p:cNvSpPr/>
            <p:nvPr/>
          </p:nvSpPr>
          <p:spPr bwMode="auto">
            <a:xfrm>
              <a:off x="3541489" y="1832866"/>
              <a:ext cx="2061022" cy="585143"/>
            </a:xfrm>
            <a:prstGeom prst="roundRect">
              <a:avLst>
                <a:gd name="adj" fmla="val 0"/>
              </a:avLst>
            </a:prstGeom>
            <a:solidFill>
              <a:schemeClr val="accent4">
                <a:lumMod val="75000"/>
              </a:schemeClr>
            </a:solidFill>
            <a:ln>
              <a:noFill/>
            </a:ln>
            <a:effectLst/>
          </p:spPr>
          <p:txBody>
            <a:bodyPr anchor="ctr"/>
            <a:lstStyle/>
            <a:p>
              <a:pPr>
                <a:defRPr/>
              </a:pPr>
              <a:endParaRPr lang="id-ID" sz="1100" b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endParaRPr>
            </a:p>
          </p:txBody>
        </p:sp>
        <p:sp>
          <p:nvSpPr>
            <p:cNvPr id="265" name="Rectangle 264"/>
            <p:cNvSpPr/>
            <p:nvPr/>
          </p:nvSpPr>
          <p:spPr>
            <a:xfrm>
              <a:off x="3543300" y="2133600"/>
              <a:ext cx="2057400" cy="284409"/>
            </a:xfrm>
            <a:prstGeom prst="rect">
              <a:avLst/>
            </a:pr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600">
                <a:solidFill>
                  <a:schemeClr val="bg1"/>
                </a:solidFill>
              </a:endParaRPr>
            </a:p>
          </p:txBody>
        </p:sp>
      </p:grpSp>
      <p:sp>
        <p:nvSpPr>
          <p:cNvPr id="266" name="TextBox 265"/>
          <p:cNvSpPr txBox="1"/>
          <p:nvPr/>
        </p:nvSpPr>
        <p:spPr bwMode="auto">
          <a:xfrm>
            <a:off x="8526099" y="5452073"/>
            <a:ext cx="474810" cy="246221"/>
          </a:xfrm>
          <a:prstGeom prst="rect">
            <a:avLst/>
          </a:prstGeom>
          <a:noFill/>
        </p:spPr>
        <p:txBody>
          <a:bodyPr wrap="none" anchor="ctr">
            <a:spAutoFit/>
          </a:bodyPr>
          <a:lstStyle/>
          <a:p>
            <a:pPr>
              <a:defRPr/>
            </a:pPr>
            <a:r>
              <a:rPr lang="en-US" sz="1000" b="1" dirty="0" err="1" smtClean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nalis</a:t>
            </a:r>
            <a:endParaRPr lang="en-US" sz="1000" b="1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67" name="TextBox 266"/>
          <p:cNvSpPr txBox="1"/>
          <p:nvPr/>
        </p:nvSpPr>
        <p:spPr bwMode="auto">
          <a:xfrm>
            <a:off x="8526099" y="5705146"/>
            <a:ext cx="1082262" cy="189490"/>
          </a:xfrm>
          <a:prstGeom prst="rect">
            <a:avLst/>
          </a:prstGeom>
          <a:noFill/>
        </p:spPr>
        <p:txBody>
          <a:bodyPr wrap="square" anchor="ctr">
            <a:noAutofit/>
          </a:bodyPr>
          <a:lstStyle/>
          <a:p>
            <a:pPr>
              <a:defRPr/>
            </a:pPr>
            <a:r>
              <a:rPr lang="en-US" sz="900" dirty="0" err="1" smtClean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Yudhi</a:t>
            </a:r>
            <a:r>
              <a:rPr lang="en-US" sz="900" dirty="0" smtClean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900" dirty="0" err="1" smtClean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Dwicahyo</a:t>
            </a:r>
            <a:endParaRPr lang="en-US" sz="900" dirty="0">
              <a:solidFill>
                <a:schemeClr val="bg1"/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grpSp>
        <p:nvGrpSpPr>
          <p:cNvPr id="268" name="Group 267"/>
          <p:cNvGrpSpPr/>
          <p:nvPr/>
        </p:nvGrpSpPr>
        <p:grpSpPr>
          <a:xfrm>
            <a:off x="7995955" y="6005278"/>
            <a:ext cx="1820038" cy="503225"/>
            <a:chOff x="3541489" y="1832866"/>
            <a:chExt cx="2061022" cy="585143"/>
          </a:xfrm>
        </p:grpSpPr>
        <p:sp>
          <p:nvSpPr>
            <p:cNvPr id="269" name="Rounded Rectangle 268"/>
            <p:cNvSpPr/>
            <p:nvPr/>
          </p:nvSpPr>
          <p:spPr bwMode="auto">
            <a:xfrm>
              <a:off x="3541489" y="1832866"/>
              <a:ext cx="2061022" cy="585143"/>
            </a:xfrm>
            <a:prstGeom prst="roundRect">
              <a:avLst>
                <a:gd name="adj" fmla="val 0"/>
              </a:avLst>
            </a:prstGeom>
            <a:solidFill>
              <a:schemeClr val="accent4">
                <a:lumMod val="75000"/>
              </a:schemeClr>
            </a:solidFill>
            <a:ln>
              <a:noFill/>
            </a:ln>
            <a:effectLst/>
          </p:spPr>
          <p:txBody>
            <a:bodyPr anchor="ctr"/>
            <a:lstStyle/>
            <a:p>
              <a:pPr>
                <a:defRPr/>
              </a:pPr>
              <a:endParaRPr lang="id-ID" sz="1100" b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endParaRPr>
            </a:p>
          </p:txBody>
        </p:sp>
        <p:sp>
          <p:nvSpPr>
            <p:cNvPr id="270" name="Rectangle 269"/>
            <p:cNvSpPr/>
            <p:nvPr/>
          </p:nvSpPr>
          <p:spPr>
            <a:xfrm>
              <a:off x="3543300" y="2133600"/>
              <a:ext cx="2057400" cy="284409"/>
            </a:xfrm>
            <a:prstGeom prst="rect">
              <a:avLst/>
            </a:pr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600">
                <a:solidFill>
                  <a:schemeClr val="bg1"/>
                </a:solidFill>
              </a:endParaRPr>
            </a:p>
          </p:txBody>
        </p:sp>
      </p:grpSp>
      <p:sp>
        <p:nvSpPr>
          <p:cNvPr id="271" name="TextBox 270"/>
          <p:cNvSpPr txBox="1"/>
          <p:nvPr/>
        </p:nvSpPr>
        <p:spPr bwMode="auto">
          <a:xfrm>
            <a:off x="8526097" y="6029979"/>
            <a:ext cx="936475" cy="246221"/>
          </a:xfrm>
          <a:prstGeom prst="rect">
            <a:avLst/>
          </a:prstGeom>
          <a:noFill/>
        </p:spPr>
        <p:txBody>
          <a:bodyPr wrap="none" anchor="ctr">
            <a:spAutoFit/>
          </a:bodyPr>
          <a:lstStyle/>
          <a:p>
            <a:pPr>
              <a:defRPr/>
            </a:pPr>
            <a:r>
              <a:rPr lang="en-US" sz="1000" b="1" dirty="0" smtClean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eport Designer</a:t>
            </a:r>
            <a:endParaRPr lang="en-US" sz="1000" b="1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72" name="TextBox 271"/>
          <p:cNvSpPr txBox="1"/>
          <p:nvPr/>
        </p:nvSpPr>
        <p:spPr bwMode="auto">
          <a:xfrm>
            <a:off x="8526097" y="6283052"/>
            <a:ext cx="1082262" cy="189490"/>
          </a:xfrm>
          <a:prstGeom prst="rect">
            <a:avLst/>
          </a:prstGeom>
          <a:noFill/>
        </p:spPr>
        <p:txBody>
          <a:bodyPr wrap="square" anchor="ctr">
            <a:noAutofit/>
          </a:bodyPr>
          <a:lstStyle/>
          <a:p>
            <a:pPr>
              <a:defRPr/>
            </a:pPr>
            <a:r>
              <a:rPr lang="en-US" sz="900" dirty="0" smtClean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Mohamad Iqbal</a:t>
            </a:r>
            <a:endParaRPr lang="en-US" sz="900" dirty="0">
              <a:solidFill>
                <a:schemeClr val="bg1"/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pic>
        <p:nvPicPr>
          <p:cNvPr id="45" name="Picture Placeholder 44"/>
          <p:cNvPicPr>
            <a:picLocks noGrp="1" noChangeAspect="1"/>
          </p:cNvPicPr>
          <p:nvPr>
            <p:ph type="pic" sz="quarter" idx="25"/>
          </p:nvPr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56562" y="4940300"/>
            <a:ext cx="412523" cy="395288"/>
          </a:xfrm>
          <a:solidFill>
            <a:schemeClr val="bg1">
              <a:lumMod val="85000"/>
            </a:schemeClr>
          </a:solidFill>
          <a:ln w="6350">
            <a:noFill/>
          </a:ln>
          <a:effectLst/>
        </p:spPr>
      </p:pic>
      <p:pic>
        <p:nvPicPr>
          <p:cNvPr id="47" name="Picture Placeholder 46"/>
          <p:cNvPicPr>
            <a:picLocks noGrp="1" noChangeAspect="1"/>
          </p:cNvPicPr>
          <p:nvPr>
            <p:ph type="pic" sz="quarter" idx="27"/>
          </p:nvPr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56562" y="6040438"/>
            <a:ext cx="427038" cy="432104"/>
          </a:xfrm>
          <a:solidFill>
            <a:schemeClr val="bg1">
              <a:lumMod val="85000"/>
            </a:schemeClr>
          </a:solidFill>
          <a:ln w="6350">
            <a:noFill/>
          </a:ln>
          <a:effectLst/>
        </p:spPr>
      </p:pic>
      <p:grpSp>
        <p:nvGrpSpPr>
          <p:cNvPr id="276" name="Group 275"/>
          <p:cNvGrpSpPr/>
          <p:nvPr/>
        </p:nvGrpSpPr>
        <p:grpSpPr>
          <a:xfrm>
            <a:off x="9982333" y="3137613"/>
            <a:ext cx="1820038" cy="503225"/>
            <a:chOff x="3541489" y="1832866"/>
            <a:chExt cx="2061022" cy="585143"/>
          </a:xfrm>
        </p:grpSpPr>
        <p:sp>
          <p:nvSpPr>
            <p:cNvPr id="277" name="Rounded Rectangle 276"/>
            <p:cNvSpPr/>
            <p:nvPr/>
          </p:nvSpPr>
          <p:spPr bwMode="auto">
            <a:xfrm>
              <a:off x="3541489" y="1832866"/>
              <a:ext cx="2061022" cy="585143"/>
            </a:xfrm>
            <a:prstGeom prst="roundRect">
              <a:avLst>
                <a:gd name="adj" fmla="val 0"/>
              </a:avLst>
            </a:prstGeom>
            <a:solidFill>
              <a:schemeClr val="accent4">
                <a:lumMod val="75000"/>
              </a:schemeClr>
            </a:solidFill>
            <a:ln>
              <a:noFill/>
            </a:ln>
            <a:effectLst/>
          </p:spPr>
          <p:txBody>
            <a:bodyPr anchor="ctr"/>
            <a:lstStyle/>
            <a:p>
              <a:pPr>
                <a:defRPr/>
              </a:pPr>
              <a:endParaRPr lang="id-ID" sz="1100" b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endParaRPr>
            </a:p>
          </p:txBody>
        </p:sp>
        <p:sp>
          <p:nvSpPr>
            <p:cNvPr id="278" name="Rectangle 277"/>
            <p:cNvSpPr/>
            <p:nvPr/>
          </p:nvSpPr>
          <p:spPr>
            <a:xfrm>
              <a:off x="3543300" y="2133600"/>
              <a:ext cx="2057400" cy="284409"/>
            </a:xfrm>
            <a:prstGeom prst="rect">
              <a:avLst/>
            </a:pr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600">
                <a:solidFill>
                  <a:schemeClr val="bg1"/>
                </a:solidFill>
              </a:endParaRPr>
            </a:p>
          </p:txBody>
        </p:sp>
      </p:grpSp>
      <p:sp>
        <p:nvSpPr>
          <p:cNvPr id="279" name="TextBox 278"/>
          <p:cNvSpPr txBox="1"/>
          <p:nvPr/>
        </p:nvSpPr>
        <p:spPr bwMode="auto">
          <a:xfrm>
            <a:off x="10512475" y="3162314"/>
            <a:ext cx="1301959" cy="246221"/>
          </a:xfrm>
          <a:prstGeom prst="rect">
            <a:avLst/>
          </a:prstGeom>
          <a:noFill/>
        </p:spPr>
        <p:txBody>
          <a:bodyPr wrap="none" anchor="ctr">
            <a:spAutoFit/>
          </a:bodyPr>
          <a:lstStyle/>
          <a:p>
            <a:pPr>
              <a:defRPr/>
            </a:pPr>
            <a:r>
              <a:rPr lang="en-US" sz="1000" b="1" dirty="0" smtClean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atabase Administrator</a:t>
            </a:r>
            <a:endParaRPr lang="en-US" sz="1000" b="1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80" name="TextBox 279"/>
          <p:cNvSpPr txBox="1"/>
          <p:nvPr/>
        </p:nvSpPr>
        <p:spPr bwMode="auto">
          <a:xfrm>
            <a:off x="10512475" y="3415387"/>
            <a:ext cx="1082262" cy="189490"/>
          </a:xfrm>
          <a:prstGeom prst="rect">
            <a:avLst/>
          </a:prstGeom>
          <a:noFill/>
        </p:spPr>
        <p:txBody>
          <a:bodyPr wrap="square" anchor="ctr">
            <a:noAutofit/>
          </a:bodyPr>
          <a:lstStyle/>
          <a:p>
            <a:pPr>
              <a:defRPr/>
            </a:pPr>
            <a:r>
              <a:rPr lang="en-US" sz="900" dirty="0" err="1" smtClean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Angga</a:t>
            </a:r>
            <a:r>
              <a:rPr lang="en-US" sz="900" dirty="0" smtClean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900" dirty="0" err="1" smtClean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Satria</a:t>
            </a:r>
            <a:r>
              <a:rPr lang="en-US" sz="900" dirty="0" smtClean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900" dirty="0" err="1" smtClean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Laksana</a:t>
            </a:r>
            <a:endParaRPr lang="en-US" sz="900" dirty="0">
              <a:solidFill>
                <a:schemeClr val="bg1"/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grpSp>
        <p:nvGrpSpPr>
          <p:cNvPr id="281" name="Group 280"/>
          <p:cNvGrpSpPr/>
          <p:nvPr/>
        </p:nvGrpSpPr>
        <p:grpSpPr>
          <a:xfrm>
            <a:off x="9982333" y="3737864"/>
            <a:ext cx="1820038" cy="503225"/>
            <a:chOff x="3541489" y="1832866"/>
            <a:chExt cx="2061022" cy="585143"/>
          </a:xfrm>
        </p:grpSpPr>
        <p:sp>
          <p:nvSpPr>
            <p:cNvPr id="282" name="Rounded Rectangle 281"/>
            <p:cNvSpPr/>
            <p:nvPr/>
          </p:nvSpPr>
          <p:spPr bwMode="auto">
            <a:xfrm>
              <a:off x="3541489" y="1832866"/>
              <a:ext cx="2061022" cy="585143"/>
            </a:xfrm>
            <a:prstGeom prst="roundRect">
              <a:avLst>
                <a:gd name="adj" fmla="val 0"/>
              </a:avLst>
            </a:prstGeom>
            <a:solidFill>
              <a:schemeClr val="accent4">
                <a:lumMod val="75000"/>
              </a:schemeClr>
            </a:solidFill>
            <a:ln>
              <a:noFill/>
            </a:ln>
            <a:effectLst/>
          </p:spPr>
          <p:txBody>
            <a:bodyPr anchor="ctr"/>
            <a:lstStyle/>
            <a:p>
              <a:pPr>
                <a:defRPr/>
              </a:pPr>
              <a:endParaRPr lang="id-ID" sz="1100" b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endParaRPr>
            </a:p>
          </p:txBody>
        </p:sp>
        <p:sp>
          <p:nvSpPr>
            <p:cNvPr id="283" name="Rectangle 282"/>
            <p:cNvSpPr/>
            <p:nvPr/>
          </p:nvSpPr>
          <p:spPr>
            <a:xfrm>
              <a:off x="3543300" y="2133600"/>
              <a:ext cx="2057400" cy="284409"/>
            </a:xfrm>
            <a:prstGeom prst="rect">
              <a:avLst/>
            </a:pr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600">
                <a:solidFill>
                  <a:schemeClr val="bg1"/>
                </a:solidFill>
              </a:endParaRPr>
            </a:p>
          </p:txBody>
        </p:sp>
      </p:grpSp>
      <p:sp>
        <p:nvSpPr>
          <p:cNvPr id="284" name="TextBox 283"/>
          <p:cNvSpPr txBox="1"/>
          <p:nvPr/>
        </p:nvSpPr>
        <p:spPr bwMode="auto">
          <a:xfrm>
            <a:off x="10512475" y="3762565"/>
            <a:ext cx="764953" cy="246221"/>
          </a:xfrm>
          <a:prstGeom prst="rect">
            <a:avLst/>
          </a:prstGeom>
          <a:noFill/>
        </p:spPr>
        <p:txBody>
          <a:bodyPr wrap="none" anchor="ctr">
            <a:spAutoFit/>
          </a:bodyPr>
          <a:lstStyle/>
          <a:p>
            <a:pPr>
              <a:defRPr/>
            </a:pPr>
            <a:r>
              <a:rPr lang="en-US" sz="1000" b="1" dirty="0" smtClean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rogrammer</a:t>
            </a:r>
            <a:endParaRPr lang="en-US" sz="1000" b="1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85" name="TextBox 284"/>
          <p:cNvSpPr txBox="1"/>
          <p:nvPr/>
        </p:nvSpPr>
        <p:spPr bwMode="auto">
          <a:xfrm>
            <a:off x="10512475" y="4015638"/>
            <a:ext cx="1082262" cy="189490"/>
          </a:xfrm>
          <a:prstGeom prst="rect">
            <a:avLst/>
          </a:prstGeom>
          <a:noFill/>
        </p:spPr>
        <p:txBody>
          <a:bodyPr wrap="square" anchor="ctr">
            <a:noAutofit/>
          </a:bodyPr>
          <a:lstStyle/>
          <a:p>
            <a:pPr>
              <a:defRPr/>
            </a:pPr>
            <a:r>
              <a:rPr lang="en-US" sz="900" dirty="0" err="1" smtClean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Deni</a:t>
            </a:r>
            <a:r>
              <a:rPr lang="en-US" sz="900" dirty="0" smtClean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900" dirty="0" err="1" smtClean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Riswandi</a:t>
            </a:r>
            <a:endParaRPr lang="en-US" sz="900" dirty="0">
              <a:solidFill>
                <a:schemeClr val="bg1"/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grpSp>
        <p:nvGrpSpPr>
          <p:cNvPr id="286" name="Group 285"/>
          <p:cNvGrpSpPr/>
          <p:nvPr/>
        </p:nvGrpSpPr>
        <p:grpSpPr>
          <a:xfrm>
            <a:off x="9982331" y="4318396"/>
            <a:ext cx="1820038" cy="503225"/>
            <a:chOff x="3541489" y="1832866"/>
            <a:chExt cx="2061022" cy="585143"/>
          </a:xfrm>
        </p:grpSpPr>
        <p:sp>
          <p:nvSpPr>
            <p:cNvPr id="287" name="Rounded Rectangle 286"/>
            <p:cNvSpPr/>
            <p:nvPr/>
          </p:nvSpPr>
          <p:spPr bwMode="auto">
            <a:xfrm>
              <a:off x="3541489" y="1832866"/>
              <a:ext cx="2061022" cy="585143"/>
            </a:xfrm>
            <a:prstGeom prst="roundRect">
              <a:avLst>
                <a:gd name="adj" fmla="val 0"/>
              </a:avLst>
            </a:prstGeom>
            <a:solidFill>
              <a:schemeClr val="accent4">
                <a:lumMod val="75000"/>
              </a:schemeClr>
            </a:solidFill>
            <a:ln>
              <a:noFill/>
            </a:ln>
            <a:effectLst/>
          </p:spPr>
          <p:txBody>
            <a:bodyPr anchor="ctr"/>
            <a:lstStyle/>
            <a:p>
              <a:pPr>
                <a:defRPr/>
              </a:pPr>
              <a:endParaRPr lang="id-ID" sz="1100" b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endParaRPr>
            </a:p>
          </p:txBody>
        </p:sp>
        <p:sp>
          <p:nvSpPr>
            <p:cNvPr id="288" name="Rectangle 287"/>
            <p:cNvSpPr/>
            <p:nvPr/>
          </p:nvSpPr>
          <p:spPr>
            <a:xfrm>
              <a:off x="3543300" y="2133600"/>
              <a:ext cx="2057400" cy="284409"/>
            </a:xfrm>
            <a:prstGeom prst="rect">
              <a:avLst/>
            </a:pr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600">
                <a:solidFill>
                  <a:schemeClr val="bg1"/>
                </a:solidFill>
              </a:endParaRPr>
            </a:p>
          </p:txBody>
        </p:sp>
      </p:grpSp>
      <p:sp>
        <p:nvSpPr>
          <p:cNvPr id="289" name="TextBox 288"/>
          <p:cNvSpPr txBox="1"/>
          <p:nvPr/>
        </p:nvSpPr>
        <p:spPr bwMode="auto">
          <a:xfrm>
            <a:off x="10512473" y="4343097"/>
            <a:ext cx="764953" cy="246221"/>
          </a:xfrm>
          <a:prstGeom prst="rect">
            <a:avLst/>
          </a:prstGeom>
          <a:noFill/>
        </p:spPr>
        <p:txBody>
          <a:bodyPr wrap="none" anchor="ctr">
            <a:spAutoFit/>
          </a:bodyPr>
          <a:lstStyle/>
          <a:p>
            <a:pPr>
              <a:defRPr/>
            </a:pPr>
            <a:r>
              <a:rPr lang="en-US" sz="1000" b="1" dirty="0" smtClean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rogrammer</a:t>
            </a:r>
            <a:endParaRPr lang="en-US" sz="1000" b="1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90" name="TextBox 289"/>
          <p:cNvSpPr txBox="1"/>
          <p:nvPr/>
        </p:nvSpPr>
        <p:spPr bwMode="auto">
          <a:xfrm>
            <a:off x="10512473" y="4596170"/>
            <a:ext cx="1082262" cy="189490"/>
          </a:xfrm>
          <a:prstGeom prst="rect">
            <a:avLst/>
          </a:prstGeom>
          <a:noFill/>
        </p:spPr>
        <p:txBody>
          <a:bodyPr wrap="square" anchor="ctr">
            <a:noAutofit/>
          </a:bodyPr>
          <a:lstStyle/>
          <a:p>
            <a:pPr>
              <a:defRPr/>
            </a:pPr>
            <a:r>
              <a:rPr lang="en-US" sz="900" dirty="0" err="1" smtClean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Ryfan</a:t>
            </a:r>
            <a:r>
              <a:rPr lang="en-US" sz="900" dirty="0" smtClean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Aditya </a:t>
            </a:r>
            <a:r>
              <a:rPr lang="en-US" sz="900" dirty="0" err="1" smtClean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Indra</a:t>
            </a:r>
            <a:endParaRPr lang="en-US" sz="900" dirty="0">
              <a:solidFill>
                <a:schemeClr val="bg1"/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pic>
        <p:nvPicPr>
          <p:cNvPr id="50" name="Picture Placeholder 49"/>
          <p:cNvPicPr>
            <a:picLocks noGrp="1" noChangeAspect="1"/>
          </p:cNvPicPr>
          <p:nvPr>
            <p:ph type="pic" sz="quarter" idx="27"/>
          </p:nvPr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932" b="12932"/>
          <a:stretch>
            <a:fillRect/>
          </a:stretch>
        </p:blipFill>
        <p:spPr>
          <a:xfrm>
            <a:off x="10042525" y="4353968"/>
            <a:ext cx="427038" cy="395287"/>
          </a:xfrm>
          <a:solidFill>
            <a:schemeClr val="bg1">
              <a:lumMod val="85000"/>
            </a:schemeClr>
          </a:solidFill>
          <a:ln w="6350">
            <a:noFill/>
          </a:ln>
          <a:effectLst/>
        </p:spPr>
      </p:pic>
      <p:pic>
        <p:nvPicPr>
          <p:cNvPr id="28" name="Picture Placeholder 27"/>
          <p:cNvPicPr>
            <a:picLocks noGrp="1" noChangeAspect="1"/>
          </p:cNvPicPr>
          <p:nvPr>
            <p:ph type="pic" sz="quarter" idx="26"/>
          </p:nvPr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56564" y="3155949"/>
            <a:ext cx="413932" cy="435029"/>
          </a:xfrm>
          <a:solidFill>
            <a:schemeClr val="bg1">
              <a:lumMod val="85000"/>
            </a:schemeClr>
          </a:solidFill>
          <a:ln w="6350">
            <a:noFill/>
          </a:ln>
          <a:effectLst/>
        </p:spPr>
      </p:pic>
      <p:pic>
        <p:nvPicPr>
          <p:cNvPr id="40" name="Picture Placeholder 39"/>
          <p:cNvPicPr>
            <a:picLocks noGrp="1" noChangeAspect="1"/>
          </p:cNvPicPr>
          <p:nvPr>
            <p:ph type="pic" sz="quarter" idx="26"/>
          </p:nvPr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56564" y="4341812"/>
            <a:ext cx="435626" cy="454119"/>
          </a:xfrm>
          <a:solidFill>
            <a:schemeClr val="bg1">
              <a:lumMod val="85000"/>
            </a:schemeClr>
          </a:solidFill>
          <a:ln w="6350">
            <a:noFill/>
          </a:ln>
          <a:effectLst/>
        </p:spPr>
      </p:pic>
      <p:pic>
        <p:nvPicPr>
          <p:cNvPr id="46" name="Picture Placeholder 45"/>
          <p:cNvPicPr>
            <a:picLocks noGrp="1" noChangeAspect="1"/>
          </p:cNvPicPr>
          <p:nvPr>
            <p:ph type="pic" sz="quarter" idx="26"/>
          </p:nvPr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698" b="12698"/>
          <a:stretch>
            <a:fillRect/>
          </a:stretch>
        </p:blipFill>
        <p:spPr>
          <a:xfrm>
            <a:off x="8056563" y="5486400"/>
            <a:ext cx="427037" cy="395288"/>
          </a:xfrm>
          <a:solidFill>
            <a:schemeClr val="bg1">
              <a:lumMod val="85000"/>
            </a:schemeClr>
          </a:solidFill>
          <a:ln w="6350">
            <a:noFill/>
          </a:ln>
          <a:effectLst/>
        </p:spPr>
      </p:pic>
      <p:pic>
        <p:nvPicPr>
          <p:cNvPr id="48" name="Picture Placeholder 47"/>
          <p:cNvPicPr>
            <a:picLocks noGrp="1" noChangeAspect="1"/>
          </p:cNvPicPr>
          <p:nvPr>
            <p:ph type="pic" sz="quarter" idx="26"/>
          </p:nvPr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316" b="11316"/>
          <a:stretch>
            <a:fillRect/>
          </a:stretch>
        </p:blipFill>
        <p:spPr>
          <a:xfrm>
            <a:off x="10052050" y="3209925"/>
            <a:ext cx="427038" cy="395288"/>
          </a:xfrm>
          <a:solidFill>
            <a:schemeClr val="bg1">
              <a:lumMod val="85000"/>
            </a:schemeClr>
          </a:solidFill>
          <a:ln w="6350">
            <a:noFill/>
          </a:ln>
          <a:effectLst/>
        </p:spPr>
      </p:pic>
      <p:pic>
        <p:nvPicPr>
          <p:cNvPr id="49" name="Picture Placeholder 48"/>
          <p:cNvPicPr>
            <a:picLocks noGrp="1" noChangeAspect="1"/>
          </p:cNvPicPr>
          <p:nvPr>
            <p:ph type="pic" sz="quarter" idx="26"/>
          </p:nvPr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709" b="11709"/>
          <a:stretch>
            <a:fillRect/>
          </a:stretch>
        </p:blipFill>
        <p:spPr>
          <a:xfrm>
            <a:off x="10052050" y="3775075"/>
            <a:ext cx="427038" cy="395288"/>
          </a:xfrm>
          <a:solidFill>
            <a:schemeClr val="bg1">
              <a:lumMod val="85000"/>
            </a:schemeClr>
          </a:solidFill>
          <a:ln w="6350">
            <a:noFill/>
          </a:ln>
          <a:effectLst/>
        </p:spPr>
      </p:pic>
      <p:cxnSp>
        <p:nvCxnSpPr>
          <p:cNvPr id="301" name="Straight Connector 300"/>
          <p:cNvCxnSpPr/>
          <p:nvPr/>
        </p:nvCxnSpPr>
        <p:spPr>
          <a:xfrm>
            <a:off x="7730834" y="2876466"/>
            <a:ext cx="0" cy="3384000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  <a:prstDash val="solid"/>
            <a:headEnd type="none" w="med" len="med"/>
            <a:tailEnd type="none" w="med" len="med"/>
          </a:ln>
          <a:effectLst>
            <a:outerShdw blurRad="38100" dist="127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2" name="Straight Connector 301"/>
          <p:cNvCxnSpPr/>
          <p:nvPr/>
        </p:nvCxnSpPr>
        <p:spPr bwMode="auto">
          <a:xfrm flipH="1">
            <a:off x="12000809" y="2876466"/>
            <a:ext cx="0" cy="1757765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  <a:prstDash val="solid"/>
          </a:ln>
          <a:effectLst>
            <a:outerShdw blurRad="50800" dist="12700" dir="5400000" algn="t" rotWithShape="0">
              <a:prstClr val="black">
                <a:alpha val="30000"/>
              </a:prst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3" name="Straight Connector 302"/>
          <p:cNvCxnSpPr/>
          <p:nvPr/>
        </p:nvCxnSpPr>
        <p:spPr bwMode="auto">
          <a:xfrm flipH="1">
            <a:off x="7728896" y="2880567"/>
            <a:ext cx="4268082" cy="0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  <a:prstDash val="solid"/>
          </a:ln>
          <a:effectLst>
            <a:outerShdw blurRad="50800" dist="12700" dir="5400000" algn="t" rotWithShape="0">
              <a:prstClr val="black">
                <a:alpha val="30000"/>
              </a:prst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199" name="Group 198"/>
          <p:cNvGrpSpPr/>
          <p:nvPr/>
        </p:nvGrpSpPr>
        <p:grpSpPr>
          <a:xfrm>
            <a:off x="9982331" y="4927996"/>
            <a:ext cx="1820038" cy="503225"/>
            <a:chOff x="3541489" y="1832866"/>
            <a:chExt cx="2061022" cy="585143"/>
          </a:xfrm>
        </p:grpSpPr>
        <p:sp>
          <p:nvSpPr>
            <p:cNvPr id="200" name="Rounded Rectangle 199"/>
            <p:cNvSpPr/>
            <p:nvPr/>
          </p:nvSpPr>
          <p:spPr bwMode="auto">
            <a:xfrm>
              <a:off x="3541489" y="1832866"/>
              <a:ext cx="2061022" cy="585143"/>
            </a:xfrm>
            <a:prstGeom prst="roundRect">
              <a:avLst>
                <a:gd name="adj" fmla="val 0"/>
              </a:avLst>
            </a:prstGeom>
            <a:solidFill>
              <a:schemeClr val="accent4">
                <a:lumMod val="75000"/>
              </a:schemeClr>
            </a:solidFill>
            <a:ln>
              <a:noFill/>
            </a:ln>
            <a:effectLst/>
          </p:spPr>
          <p:txBody>
            <a:bodyPr anchor="ctr"/>
            <a:lstStyle/>
            <a:p>
              <a:pPr>
                <a:defRPr/>
              </a:pPr>
              <a:endParaRPr lang="id-ID" sz="1100" b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endParaRPr>
            </a:p>
          </p:txBody>
        </p:sp>
        <p:sp>
          <p:nvSpPr>
            <p:cNvPr id="201" name="Rectangle 200"/>
            <p:cNvSpPr/>
            <p:nvPr/>
          </p:nvSpPr>
          <p:spPr>
            <a:xfrm>
              <a:off x="3543300" y="2133600"/>
              <a:ext cx="2057400" cy="284409"/>
            </a:xfrm>
            <a:prstGeom prst="rect">
              <a:avLst/>
            </a:pr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600">
                <a:solidFill>
                  <a:schemeClr val="bg1"/>
                </a:solidFill>
              </a:endParaRPr>
            </a:p>
          </p:txBody>
        </p:sp>
      </p:grpSp>
      <p:sp>
        <p:nvSpPr>
          <p:cNvPr id="202" name="TextBox 201"/>
          <p:cNvSpPr txBox="1"/>
          <p:nvPr/>
        </p:nvSpPr>
        <p:spPr bwMode="auto">
          <a:xfrm>
            <a:off x="10512473" y="4952697"/>
            <a:ext cx="764953" cy="246221"/>
          </a:xfrm>
          <a:prstGeom prst="rect">
            <a:avLst/>
          </a:prstGeom>
          <a:noFill/>
        </p:spPr>
        <p:txBody>
          <a:bodyPr wrap="none" anchor="ctr">
            <a:spAutoFit/>
          </a:bodyPr>
          <a:lstStyle/>
          <a:p>
            <a:pPr>
              <a:defRPr/>
            </a:pPr>
            <a:r>
              <a:rPr lang="en-US" sz="1000" b="1" dirty="0" smtClean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rogrammer</a:t>
            </a:r>
            <a:endParaRPr lang="en-US" sz="1000" b="1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03" name="TextBox 202"/>
          <p:cNvSpPr txBox="1"/>
          <p:nvPr/>
        </p:nvSpPr>
        <p:spPr bwMode="auto">
          <a:xfrm>
            <a:off x="10512473" y="5205770"/>
            <a:ext cx="1082262" cy="189490"/>
          </a:xfrm>
          <a:prstGeom prst="rect">
            <a:avLst/>
          </a:prstGeom>
          <a:noFill/>
        </p:spPr>
        <p:txBody>
          <a:bodyPr wrap="square" anchor="ctr">
            <a:noAutofit/>
          </a:bodyPr>
          <a:lstStyle/>
          <a:p>
            <a:pPr>
              <a:defRPr/>
            </a:pPr>
            <a:r>
              <a:rPr lang="en-US" sz="900" dirty="0" err="1" smtClean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Purwo</a:t>
            </a:r>
            <a:r>
              <a:rPr lang="en-US" sz="900" dirty="0" smtClean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900" dirty="0" err="1" smtClean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Setio</a:t>
            </a:r>
            <a:r>
              <a:rPr lang="en-US" sz="900" dirty="0" smtClean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900" dirty="0" err="1" smtClean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Aji</a:t>
            </a:r>
            <a:endParaRPr lang="en-US" sz="900" dirty="0">
              <a:solidFill>
                <a:schemeClr val="bg1"/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pic>
        <p:nvPicPr>
          <p:cNvPr id="206" name="Picture Placeholder 49"/>
          <p:cNvPicPr>
            <a:picLocks noGrp="1" noChangeAspect="1"/>
          </p:cNvPicPr>
          <p:nvPr>
            <p:ph type="pic" sz="quarter" idx="27"/>
          </p:nvPr>
        </p:nvPicPr>
        <p:blipFill>
          <a:blip r:embed="rId26" cstate="print"/>
          <a:stretch>
            <a:fillRect/>
          </a:stretch>
        </p:blipFill>
        <p:spPr>
          <a:xfrm>
            <a:off x="10107811" y="4963568"/>
            <a:ext cx="296465" cy="395287"/>
          </a:xfrm>
          <a:solidFill>
            <a:schemeClr val="bg1">
              <a:lumMod val="85000"/>
            </a:schemeClr>
          </a:solidFill>
          <a:ln w="6350">
            <a:noFill/>
          </a:ln>
          <a:effectLst/>
        </p:spPr>
      </p:pic>
      <p:grpSp>
        <p:nvGrpSpPr>
          <p:cNvPr id="207" name="Group 206"/>
          <p:cNvGrpSpPr/>
          <p:nvPr/>
        </p:nvGrpSpPr>
        <p:grpSpPr>
          <a:xfrm>
            <a:off x="9982331" y="5558616"/>
            <a:ext cx="1820038" cy="503225"/>
            <a:chOff x="3541489" y="1832866"/>
            <a:chExt cx="2061022" cy="585143"/>
          </a:xfrm>
        </p:grpSpPr>
        <p:sp>
          <p:nvSpPr>
            <p:cNvPr id="208" name="Rounded Rectangle 207"/>
            <p:cNvSpPr/>
            <p:nvPr/>
          </p:nvSpPr>
          <p:spPr bwMode="auto">
            <a:xfrm>
              <a:off x="3541489" y="1832866"/>
              <a:ext cx="2061022" cy="585143"/>
            </a:xfrm>
            <a:prstGeom prst="roundRect">
              <a:avLst>
                <a:gd name="adj" fmla="val 0"/>
              </a:avLst>
            </a:prstGeom>
            <a:solidFill>
              <a:schemeClr val="accent4">
                <a:lumMod val="75000"/>
              </a:schemeClr>
            </a:solidFill>
            <a:ln>
              <a:noFill/>
            </a:ln>
            <a:effectLst/>
          </p:spPr>
          <p:txBody>
            <a:bodyPr anchor="ctr"/>
            <a:lstStyle/>
            <a:p>
              <a:pPr>
                <a:defRPr/>
              </a:pPr>
              <a:endParaRPr lang="id-ID" sz="1100" b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endParaRPr>
            </a:p>
          </p:txBody>
        </p:sp>
        <p:sp>
          <p:nvSpPr>
            <p:cNvPr id="209" name="Rectangle 208"/>
            <p:cNvSpPr/>
            <p:nvPr/>
          </p:nvSpPr>
          <p:spPr>
            <a:xfrm>
              <a:off x="3543300" y="2133600"/>
              <a:ext cx="2057400" cy="284409"/>
            </a:xfrm>
            <a:prstGeom prst="rect">
              <a:avLst/>
            </a:pr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600">
                <a:solidFill>
                  <a:schemeClr val="bg1"/>
                </a:solidFill>
              </a:endParaRPr>
            </a:p>
          </p:txBody>
        </p:sp>
      </p:grpSp>
      <p:sp>
        <p:nvSpPr>
          <p:cNvPr id="210" name="TextBox 209"/>
          <p:cNvSpPr txBox="1"/>
          <p:nvPr/>
        </p:nvSpPr>
        <p:spPr bwMode="auto">
          <a:xfrm>
            <a:off x="10512473" y="5583317"/>
            <a:ext cx="764953" cy="246221"/>
          </a:xfrm>
          <a:prstGeom prst="rect">
            <a:avLst/>
          </a:prstGeom>
          <a:noFill/>
        </p:spPr>
        <p:txBody>
          <a:bodyPr wrap="none" anchor="ctr">
            <a:spAutoFit/>
          </a:bodyPr>
          <a:lstStyle/>
          <a:p>
            <a:pPr>
              <a:defRPr/>
            </a:pPr>
            <a:r>
              <a:rPr lang="en-US" sz="1000" b="1" dirty="0" smtClean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rogrammer</a:t>
            </a:r>
            <a:endParaRPr lang="en-US" sz="1000" b="1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11" name="TextBox 210"/>
          <p:cNvSpPr txBox="1"/>
          <p:nvPr/>
        </p:nvSpPr>
        <p:spPr bwMode="auto">
          <a:xfrm>
            <a:off x="10512473" y="5836390"/>
            <a:ext cx="1082262" cy="189490"/>
          </a:xfrm>
          <a:prstGeom prst="rect">
            <a:avLst/>
          </a:prstGeom>
          <a:noFill/>
        </p:spPr>
        <p:txBody>
          <a:bodyPr wrap="square" anchor="ctr">
            <a:noAutofit/>
          </a:bodyPr>
          <a:lstStyle/>
          <a:p>
            <a:pPr>
              <a:defRPr/>
            </a:pPr>
            <a:r>
              <a:rPr lang="en-US" sz="900" dirty="0" err="1" smtClean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Hasan</a:t>
            </a:r>
            <a:endParaRPr lang="en-US" sz="900" dirty="0">
              <a:solidFill>
                <a:schemeClr val="bg1"/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pic>
        <p:nvPicPr>
          <p:cNvPr id="213" name="Picture Placeholder 49"/>
          <p:cNvPicPr>
            <a:picLocks noGrp="1" noChangeAspect="1"/>
          </p:cNvPicPr>
          <p:nvPr>
            <p:ph type="pic" sz="quarter" idx="27"/>
          </p:nvPr>
        </p:nvPicPr>
        <p:blipFill>
          <a:blip r:embed="rId27" cstate="print"/>
          <a:stretch>
            <a:fillRect/>
          </a:stretch>
        </p:blipFill>
        <p:spPr>
          <a:xfrm>
            <a:off x="10107811" y="5594188"/>
            <a:ext cx="296465" cy="395287"/>
          </a:xfrm>
          <a:solidFill>
            <a:schemeClr val="bg1">
              <a:lumMod val="85000"/>
            </a:schemeClr>
          </a:solidFill>
          <a:ln w="6350">
            <a:noFill/>
          </a:ln>
          <a:effectLst/>
        </p:spPr>
      </p:pic>
    </p:spTree>
    <p:extLst>
      <p:ext uri="{BB962C8B-B14F-4D97-AF65-F5344CB8AC3E}">
        <p14:creationId xmlns:p14="http://schemas.microsoft.com/office/powerpoint/2010/main" val="3913046693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1"/>
          <p:cNvSpPr txBox="1">
            <a:spLocks/>
          </p:cNvSpPr>
          <p:nvPr/>
        </p:nvSpPr>
        <p:spPr>
          <a:xfrm>
            <a:off x="1747403" y="219044"/>
            <a:ext cx="8697279" cy="518157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dirty="0" err="1" smtClean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Uraian</a:t>
            </a:r>
            <a:r>
              <a:rPr lang="en-US" sz="2800" dirty="0" smtClean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2800" dirty="0" err="1" smtClean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Tugas</a:t>
            </a:r>
            <a:endParaRPr lang="en-US" sz="2800" dirty="0">
              <a:solidFill>
                <a:schemeClr val="bg1"/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20" name="Title 11"/>
          <p:cNvSpPr txBox="1">
            <a:spLocks/>
          </p:cNvSpPr>
          <p:nvPr/>
        </p:nvSpPr>
        <p:spPr>
          <a:xfrm>
            <a:off x="1747403" y="651485"/>
            <a:ext cx="8697279" cy="41044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1200" dirty="0" err="1" smtClean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Koordinator</a:t>
            </a:r>
            <a:r>
              <a:rPr lang="en-US" sz="1200" dirty="0" smtClean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IT Application &amp; Development</a:t>
            </a:r>
            <a:endParaRPr lang="en-US" sz="1200" dirty="0">
              <a:solidFill>
                <a:schemeClr val="bg1"/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grpSp>
        <p:nvGrpSpPr>
          <p:cNvPr id="2" name="Group 4"/>
          <p:cNvGrpSpPr/>
          <p:nvPr/>
        </p:nvGrpSpPr>
        <p:grpSpPr>
          <a:xfrm>
            <a:off x="2714979" y="1055737"/>
            <a:ext cx="6762044" cy="37787"/>
            <a:chOff x="1190978" y="1043012"/>
            <a:chExt cx="6762044" cy="37787"/>
          </a:xfrm>
        </p:grpSpPr>
        <p:cxnSp>
          <p:nvCxnSpPr>
            <p:cNvPr id="4" name="Straight Connector 3"/>
            <p:cNvCxnSpPr/>
            <p:nvPr/>
          </p:nvCxnSpPr>
          <p:spPr>
            <a:xfrm>
              <a:off x="1190978" y="1061905"/>
              <a:ext cx="6762044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9" name="Rectangle 18"/>
            <p:cNvSpPr/>
            <p:nvPr/>
          </p:nvSpPr>
          <p:spPr>
            <a:xfrm>
              <a:off x="3205152" y="1043012"/>
              <a:ext cx="2733735" cy="37787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15" name="Slide Number Placeholder 1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ECD629-4DA5-4EAE-B174-69948CAAE2CE}" type="slidenum">
              <a:rPr lang="en-US" smtClean="0"/>
              <a:pPr/>
              <a:t>18</a:t>
            </a:fld>
            <a:endParaRPr lang="en-US" dirty="0"/>
          </a:p>
        </p:txBody>
      </p:sp>
      <p:graphicFrame>
        <p:nvGraphicFramePr>
          <p:cNvPr id="50" name="Table 49"/>
          <p:cNvGraphicFramePr>
            <a:graphicFrameLocks noGrp="1"/>
          </p:cNvGraphicFramePr>
          <p:nvPr/>
        </p:nvGraphicFramePr>
        <p:xfrm>
          <a:off x="350346" y="1381818"/>
          <a:ext cx="11211033" cy="445142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50001"/>
                <a:gridCol w="8861032"/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/>
                        <a:t>JABATAN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/>
                        <a:t>URAIAN KERJA</a:t>
                      </a:r>
                      <a:endParaRPr lang="en-US" sz="1600" dirty="0"/>
                    </a:p>
                  </a:txBody>
                  <a:tcPr/>
                </a:tc>
              </a:tr>
              <a:tr h="1799839"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KOORDINATOR IT APPLICATION &amp; DEVELOPMENT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342900" indent="-342900">
                        <a:buFont typeface="+mj-lt"/>
                        <a:buAutoNum type="arabicPeriod"/>
                      </a:pPr>
                      <a:r>
                        <a:rPr lang="en-US" sz="1600" dirty="0" err="1" smtClean="0"/>
                        <a:t>Melakukan</a:t>
                      </a:r>
                      <a:r>
                        <a:rPr lang="en-US" sz="1600" dirty="0" smtClean="0"/>
                        <a:t> </a:t>
                      </a:r>
                      <a:r>
                        <a:rPr lang="en-US" sz="1600" dirty="0" err="1" smtClean="0"/>
                        <a:t>koordinasi</a:t>
                      </a:r>
                      <a:r>
                        <a:rPr lang="en-US" sz="1600" dirty="0" smtClean="0"/>
                        <a:t> </a:t>
                      </a:r>
                      <a:r>
                        <a:rPr lang="en-US" sz="1600" dirty="0" err="1" smtClean="0"/>
                        <a:t>dengan</a:t>
                      </a:r>
                      <a:r>
                        <a:rPr lang="en-US" sz="1600" dirty="0" smtClean="0"/>
                        <a:t> </a:t>
                      </a:r>
                      <a:r>
                        <a:rPr lang="en-US" sz="1600" dirty="0" err="1" smtClean="0"/>
                        <a:t>satuan</a:t>
                      </a:r>
                      <a:r>
                        <a:rPr lang="en-US" sz="1600" dirty="0" smtClean="0"/>
                        <a:t> </a:t>
                      </a:r>
                      <a:r>
                        <a:rPr lang="en-US" sz="1600" dirty="0" err="1" smtClean="0"/>
                        <a:t>kerja</a:t>
                      </a:r>
                      <a:r>
                        <a:rPr lang="en-US" sz="1600" dirty="0" smtClean="0"/>
                        <a:t> </a:t>
                      </a:r>
                      <a:r>
                        <a:rPr lang="en-US" sz="1600" dirty="0" err="1" smtClean="0"/>
                        <a:t>dalam</a:t>
                      </a:r>
                      <a:r>
                        <a:rPr lang="en-US" sz="1600" dirty="0" smtClean="0"/>
                        <a:t> </a:t>
                      </a:r>
                      <a:r>
                        <a:rPr lang="en-US" sz="1600" dirty="0" err="1" smtClean="0"/>
                        <a:t>merancang</a:t>
                      </a:r>
                      <a:r>
                        <a:rPr lang="en-US" sz="1600" dirty="0" smtClean="0"/>
                        <a:t>, </a:t>
                      </a:r>
                      <a:r>
                        <a:rPr lang="en-US" sz="1600" dirty="0" err="1" smtClean="0"/>
                        <a:t>uji</a:t>
                      </a:r>
                      <a:r>
                        <a:rPr lang="en-US" sz="1600" dirty="0" smtClean="0"/>
                        <a:t> </a:t>
                      </a:r>
                      <a:r>
                        <a:rPr lang="en-US" sz="1600" dirty="0" err="1" smtClean="0"/>
                        <a:t>coba</a:t>
                      </a:r>
                      <a:r>
                        <a:rPr lang="en-US" sz="1600" dirty="0" smtClean="0"/>
                        <a:t> </a:t>
                      </a:r>
                      <a:r>
                        <a:rPr lang="en-US" sz="1600" dirty="0" err="1" smtClean="0"/>
                        <a:t>dan</a:t>
                      </a:r>
                      <a:r>
                        <a:rPr lang="en-US" sz="1600" dirty="0" smtClean="0"/>
                        <a:t> </a:t>
                      </a:r>
                      <a:r>
                        <a:rPr lang="en-US" sz="1600" dirty="0" err="1" smtClean="0"/>
                        <a:t>pelatihan</a:t>
                      </a:r>
                      <a:r>
                        <a:rPr lang="en-US" sz="1600" dirty="0" smtClean="0"/>
                        <a:t> </a:t>
                      </a:r>
                      <a:r>
                        <a:rPr lang="en-US" sz="1600" dirty="0" err="1" smtClean="0"/>
                        <a:t>aplikasi</a:t>
                      </a:r>
                      <a:r>
                        <a:rPr lang="en-US" sz="1600" dirty="0" smtClean="0"/>
                        <a:t> </a:t>
                      </a:r>
                      <a:r>
                        <a:rPr lang="en-US" sz="1600" dirty="0" err="1" smtClean="0"/>
                        <a:t>ke</a:t>
                      </a:r>
                      <a:r>
                        <a:rPr lang="en-US" sz="1600" dirty="0" smtClean="0"/>
                        <a:t> user </a:t>
                      </a:r>
                      <a:r>
                        <a:rPr lang="en-US" sz="1600" dirty="0" err="1" smtClean="0"/>
                        <a:t>dalam</a:t>
                      </a:r>
                      <a:r>
                        <a:rPr lang="en-US" sz="1600" dirty="0" smtClean="0"/>
                        <a:t> </a:t>
                      </a:r>
                      <a:r>
                        <a:rPr lang="en-US" sz="1600" dirty="0" err="1" smtClean="0"/>
                        <a:t>hal</a:t>
                      </a:r>
                      <a:r>
                        <a:rPr lang="en-US" sz="1600" dirty="0" smtClean="0"/>
                        <a:t> </a:t>
                      </a:r>
                      <a:r>
                        <a:rPr lang="en-US" sz="1600" dirty="0" err="1" smtClean="0"/>
                        <a:t>pengembangan</a:t>
                      </a:r>
                      <a:r>
                        <a:rPr lang="en-US" sz="1600" dirty="0" smtClean="0"/>
                        <a:t> </a:t>
                      </a:r>
                      <a:r>
                        <a:rPr lang="en-US" sz="1600" dirty="0" err="1" smtClean="0"/>
                        <a:t>sistem</a:t>
                      </a:r>
                      <a:r>
                        <a:rPr lang="en-US" sz="1600" dirty="0" smtClean="0"/>
                        <a:t> </a:t>
                      </a:r>
                      <a:r>
                        <a:rPr lang="en-US" sz="1600" dirty="0" err="1" smtClean="0"/>
                        <a:t>sesuai</a:t>
                      </a:r>
                      <a:r>
                        <a:rPr lang="en-US" sz="1600" dirty="0" smtClean="0"/>
                        <a:t> </a:t>
                      </a:r>
                      <a:r>
                        <a:rPr lang="en-US" sz="1600" dirty="0" err="1" smtClean="0"/>
                        <a:t>dengan</a:t>
                      </a:r>
                      <a:r>
                        <a:rPr lang="en-US" sz="1600" dirty="0" smtClean="0"/>
                        <a:t> </a:t>
                      </a:r>
                      <a:r>
                        <a:rPr lang="en-US" sz="1600" dirty="0" err="1" smtClean="0"/>
                        <a:t>permintaan</a:t>
                      </a:r>
                      <a:r>
                        <a:rPr lang="en-US" sz="1600" dirty="0" smtClean="0"/>
                        <a:t> </a:t>
                      </a:r>
                    </a:p>
                    <a:p>
                      <a:pPr marL="342900" indent="-342900">
                        <a:buFont typeface="+mj-lt"/>
                        <a:buAutoNum type="arabicPeriod"/>
                      </a:pPr>
                      <a:r>
                        <a:rPr lang="en-US" sz="1600" dirty="0" err="1" smtClean="0"/>
                        <a:t>Mengawasi</a:t>
                      </a:r>
                      <a:r>
                        <a:rPr lang="en-US" sz="1600" dirty="0" smtClean="0"/>
                        <a:t> </a:t>
                      </a:r>
                      <a:r>
                        <a:rPr lang="en-US" sz="1600" dirty="0" err="1" smtClean="0"/>
                        <a:t>dan</a:t>
                      </a:r>
                      <a:r>
                        <a:rPr lang="en-US" sz="1600" dirty="0" smtClean="0"/>
                        <a:t> </a:t>
                      </a:r>
                      <a:r>
                        <a:rPr lang="en-US" sz="1600" dirty="0" err="1" smtClean="0"/>
                        <a:t>mengarahkan</a:t>
                      </a:r>
                      <a:r>
                        <a:rPr lang="en-US" sz="1600" dirty="0" smtClean="0"/>
                        <a:t> </a:t>
                      </a:r>
                      <a:r>
                        <a:rPr lang="en-US" sz="1600" dirty="0" err="1" smtClean="0"/>
                        <a:t>dalam</a:t>
                      </a:r>
                      <a:r>
                        <a:rPr lang="en-US" sz="1600" dirty="0" smtClean="0"/>
                        <a:t> </a:t>
                      </a:r>
                      <a:r>
                        <a:rPr lang="en-US" sz="1600" dirty="0" err="1" smtClean="0"/>
                        <a:t>proses</a:t>
                      </a:r>
                      <a:r>
                        <a:rPr lang="en-US" sz="1600" dirty="0" smtClean="0"/>
                        <a:t> </a:t>
                      </a:r>
                      <a:r>
                        <a:rPr lang="en-US" sz="1600" dirty="0" err="1" smtClean="0"/>
                        <a:t>pembuatan</a:t>
                      </a:r>
                      <a:r>
                        <a:rPr lang="en-US" sz="1600" dirty="0" smtClean="0"/>
                        <a:t> </a:t>
                      </a:r>
                      <a:r>
                        <a:rPr lang="en-US" sz="1600" dirty="0" err="1" smtClean="0"/>
                        <a:t>aplikasi</a:t>
                      </a:r>
                      <a:r>
                        <a:rPr lang="en-US" sz="1600" dirty="0" smtClean="0"/>
                        <a:t> internal </a:t>
                      </a:r>
                      <a:r>
                        <a:rPr lang="en-US" sz="1600" dirty="0" err="1" smtClean="0"/>
                        <a:t>maupun</a:t>
                      </a:r>
                      <a:r>
                        <a:rPr lang="en-US" sz="1600" dirty="0" smtClean="0"/>
                        <a:t> </a:t>
                      </a:r>
                      <a:r>
                        <a:rPr lang="en-US" sz="1600" dirty="0" err="1" smtClean="0"/>
                        <a:t>antar</a:t>
                      </a:r>
                      <a:r>
                        <a:rPr lang="en-US" sz="1600" dirty="0" smtClean="0"/>
                        <a:t> </a:t>
                      </a:r>
                      <a:r>
                        <a:rPr lang="en-US" sz="1600" dirty="0" err="1" smtClean="0"/>
                        <a:t>sistem</a:t>
                      </a:r>
                      <a:endParaRPr lang="en-US" sz="1600" dirty="0" smtClean="0"/>
                    </a:p>
                    <a:p>
                      <a:pPr marL="342900" indent="-342900">
                        <a:buFont typeface="+mj-lt"/>
                        <a:buAutoNum type="arabicPeriod"/>
                      </a:pPr>
                      <a:r>
                        <a:rPr lang="en-US" sz="1600" dirty="0" err="1" smtClean="0"/>
                        <a:t>Merencanakan</a:t>
                      </a:r>
                      <a:r>
                        <a:rPr lang="en-US" sz="1600" dirty="0" smtClean="0"/>
                        <a:t> </a:t>
                      </a:r>
                      <a:r>
                        <a:rPr lang="en-US" sz="1600" dirty="0" err="1" smtClean="0"/>
                        <a:t>dan</a:t>
                      </a:r>
                      <a:r>
                        <a:rPr lang="en-US" sz="1600" dirty="0" smtClean="0"/>
                        <a:t> </a:t>
                      </a:r>
                      <a:r>
                        <a:rPr lang="en-US" sz="1600" dirty="0" err="1" smtClean="0"/>
                        <a:t>memperhitungkan</a:t>
                      </a:r>
                      <a:r>
                        <a:rPr lang="en-US" sz="1600" dirty="0" smtClean="0"/>
                        <a:t> </a:t>
                      </a:r>
                      <a:r>
                        <a:rPr lang="en-US" sz="1600" dirty="0" err="1" smtClean="0"/>
                        <a:t>kebutuhan</a:t>
                      </a:r>
                      <a:r>
                        <a:rPr lang="en-US" sz="1600" dirty="0" smtClean="0"/>
                        <a:t> </a:t>
                      </a:r>
                      <a:r>
                        <a:rPr lang="en-US" sz="1600" dirty="0" err="1" smtClean="0"/>
                        <a:t>pengembangan</a:t>
                      </a:r>
                      <a:r>
                        <a:rPr lang="en-US" sz="1600" dirty="0" smtClean="0"/>
                        <a:t> </a:t>
                      </a:r>
                      <a:r>
                        <a:rPr lang="en-US" sz="1600" dirty="0" err="1" smtClean="0"/>
                        <a:t>dan</a:t>
                      </a:r>
                      <a:r>
                        <a:rPr lang="en-US" sz="1600" dirty="0" smtClean="0"/>
                        <a:t> </a:t>
                      </a:r>
                      <a:r>
                        <a:rPr lang="en-US" sz="1600" dirty="0" err="1" smtClean="0"/>
                        <a:t>pembangunan</a:t>
                      </a:r>
                      <a:r>
                        <a:rPr lang="en-US" sz="1600" dirty="0" smtClean="0"/>
                        <a:t> </a:t>
                      </a:r>
                      <a:r>
                        <a:rPr lang="en-US" sz="1600" dirty="0" err="1" smtClean="0"/>
                        <a:t>sistem</a:t>
                      </a:r>
                      <a:r>
                        <a:rPr lang="en-US" sz="1600" dirty="0" smtClean="0"/>
                        <a:t> </a:t>
                      </a:r>
                      <a:r>
                        <a:rPr lang="en-US" sz="1600" dirty="0" err="1" smtClean="0"/>
                        <a:t>kebutuhan</a:t>
                      </a:r>
                      <a:r>
                        <a:rPr lang="en-US" sz="1600" dirty="0" smtClean="0"/>
                        <a:t> internal </a:t>
                      </a:r>
                      <a:r>
                        <a:rPr lang="en-US" sz="1600" dirty="0" err="1" smtClean="0"/>
                        <a:t>maupun</a:t>
                      </a:r>
                      <a:r>
                        <a:rPr lang="en-US" sz="1600" dirty="0" smtClean="0"/>
                        <a:t> </a:t>
                      </a:r>
                      <a:r>
                        <a:rPr lang="en-US" sz="1600" dirty="0" err="1" smtClean="0"/>
                        <a:t>antar</a:t>
                      </a:r>
                      <a:r>
                        <a:rPr lang="en-US" sz="1600" dirty="0" smtClean="0"/>
                        <a:t> </a:t>
                      </a:r>
                      <a:r>
                        <a:rPr lang="en-US" sz="1600" dirty="0" err="1" smtClean="0"/>
                        <a:t>sistem</a:t>
                      </a:r>
                      <a:r>
                        <a:rPr lang="en-US" sz="1600" dirty="0" smtClean="0"/>
                        <a:t> </a:t>
                      </a:r>
                      <a:r>
                        <a:rPr lang="en-US" sz="1600" dirty="0" err="1" smtClean="0"/>
                        <a:t>dalam</a:t>
                      </a:r>
                      <a:r>
                        <a:rPr lang="en-US" sz="1600" dirty="0" smtClean="0"/>
                        <a:t> </a:t>
                      </a:r>
                      <a:r>
                        <a:rPr lang="en-US" sz="1600" dirty="0" err="1" smtClean="0"/>
                        <a:t>bentuk</a:t>
                      </a:r>
                      <a:r>
                        <a:rPr lang="en-US" sz="1600" dirty="0" smtClean="0"/>
                        <a:t> RBA.</a:t>
                      </a:r>
                    </a:p>
                    <a:p>
                      <a:pPr marL="342900" indent="-342900">
                        <a:buFont typeface="+mj-lt"/>
                        <a:buAutoNum type="arabicPeriod"/>
                      </a:pPr>
                      <a:r>
                        <a:rPr lang="en-US" sz="1600" dirty="0" err="1" smtClean="0"/>
                        <a:t>Membuat</a:t>
                      </a:r>
                      <a:r>
                        <a:rPr lang="en-US" sz="1600" dirty="0" smtClean="0"/>
                        <a:t> </a:t>
                      </a:r>
                      <a:r>
                        <a:rPr lang="en-US" sz="1600" dirty="0" err="1" smtClean="0"/>
                        <a:t>laporan</a:t>
                      </a:r>
                      <a:r>
                        <a:rPr lang="en-US" sz="1600" dirty="0" smtClean="0"/>
                        <a:t> </a:t>
                      </a:r>
                      <a:r>
                        <a:rPr lang="en-US" sz="1600" dirty="0" err="1" smtClean="0"/>
                        <a:t>pengembangan</a:t>
                      </a:r>
                      <a:r>
                        <a:rPr lang="en-US" sz="1600" dirty="0" smtClean="0"/>
                        <a:t> </a:t>
                      </a:r>
                      <a:r>
                        <a:rPr lang="en-US" sz="1600" dirty="0" err="1" smtClean="0"/>
                        <a:t>dan</a:t>
                      </a:r>
                      <a:r>
                        <a:rPr lang="en-US" sz="1600" dirty="0" smtClean="0"/>
                        <a:t> </a:t>
                      </a:r>
                      <a:r>
                        <a:rPr lang="en-US" sz="1600" dirty="0" err="1" smtClean="0"/>
                        <a:t>pembangunan</a:t>
                      </a:r>
                      <a:r>
                        <a:rPr lang="en-US" sz="1600" dirty="0" smtClean="0"/>
                        <a:t> </a:t>
                      </a:r>
                      <a:r>
                        <a:rPr lang="en-US" sz="1600" dirty="0" err="1" smtClean="0"/>
                        <a:t>aplikasi</a:t>
                      </a:r>
                      <a:r>
                        <a:rPr lang="en-US" sz="1600" dirty="0" smtClean="0"/>
                        <a:t> </a:t>
                      </a:r>
                      <a:r>
                        <a:rPr lang="en-US" sz="1600" dirty="0" err="1" smtClean="0"/>
                        <a:t>sesuai</a:t>
                      </a:r>
                      <a:r>
                        <a:rPr lang="en-US" sz="1600" dirty="0" smtClean="0"/>
                        <a:t> </a:t>
                      </a:r>
                      <a:r>
                        <a:rPr lang="en-US" sz="1600" dirty="0" err="1" smtClean="0"/>
                        <a:t>permintaan</a:t>
                      </a:r>
                      <a:r>
                        <a:rPr lang="en-US" sz="1600" dirty="0" smtClean="0"/>
                        <a:t> user</a:t>
                      </a:r>
                    </a:p>
                  </a:txBody>
                  <a:tcPr/>
                </a:tc>
              </a:tr>
              <a:tr h="2280744"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PROGRAMMER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342900" lvl="0" indent="-342900">
                        <a:buFont typeface="+mj-lt"/>
                        <a:buAutoNum type="arabicPeriod"/>
                      </a:pPr>
                      <a:r>
                        <a:rPr lang="en-US" sz="16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Membantu</a:t>
                      </a:r>
                      <a:r>
                        <a:rPr lang="en-US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6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kegiatan</a:t>
                      </a:r>
                      <a:r>
                        <a:rPr lang="en-US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yang </a:t>
                      </a:r>
                      <a:r>
                        <a:rPr lang="en-US" sz="16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berkaitan</a:t>
                      </a:r>
                      <a:r>
                        <a:rPr lang="en-US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6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dengan</a:t>
                      </a:r>
                      <a:r>
                        <a:rPr lang="en-US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6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pengembangan</a:t>
                      </a:r>
                      <a:r>
                        <a:rPr lang="en-US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6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dan</a:t>
                      </a:r>
                      <a:r>
                        <a:rPr lang="en-US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6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pemeliharaan</a:t>
                      </a:r>
                      <a:r>
                        <a:rPr lang="en-US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Software </a:t>
                      </a:r>
                      <a:r>
                        <a:rPr lang="en-US" sz="16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dan</a:t>
                      </a:r>
                      <a:r>
                        <a:rPr lang="en-US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data </a:t>
                      </a:r>
                      <a:r>
                        <a:rPr lang="en-US" sz="16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Rumah</a:t>
                      </a:r>
                      <a:r>
                        <a:rPr lang="en-US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6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akit</a:t>
                      </a:r>
                      <a:r>
                        <a:rPr lang="en-US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6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dalam</a:t>
                      </a:r>
                      <a:r>
                        <a:rPr lang="en-US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6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rangka</a:t>
                      </a:r>
                      <a:r>
                        <a:rPr lang="en-US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6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pelaksanaan</a:t>
                      </a:r>
                      <a:r>
                        <a:rPr lang="en-US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SIRS.</a:t>
                      </a:r>
                      <a:endParaRPr lang="en-US" sz="1600" dirty="0" smtClean="0"/>
                    </a:p>
                    <a:p>
                      <a:pPr marL="342900" lvl="0" indent="-342900">
                        <a:buFont typeface="+mj-lt"/>
                        <a:buAutoNum type="arabicPeriod"/>
                      </a:pPr>
                      <a:r>
                        <a:rPr lang="en-US" sz="16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Melakukan</a:t>
                      </a:r>
                      <a:r>
                        <a:rPr lang="en-US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6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kegiatan</a:t>
                      </a:r>
                      <a:r>
                        <a:rPr lang="en-US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6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perancangan</a:t>
                      </a:r>
                      <a:r>
                        <a:rPr lang="en-US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6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dan</a:t>
                      </a:r>
                      <a:r>
                        <a:rPr lang="en-US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6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pembuatan</a:t>
                      </a:r>
                      <a:r>
                        <a:rPr lang="en-US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program </a:t>
                      </a:r>
                      <a:r>
                        <a:rPr lang="en-US" sz="16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baik</a:t>
                      </a:r>
                      <a:r>
                        <a:rPr lang="en-US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6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untuk</a:t>
                      </a:r>
                      <a:r>
                        <a:rPr lang="en-US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6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keperluan</a:t>
                      </a:r>
                      <a:r>
                        <a:rPr lang="en-US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SIRS </a:t>
                      </a:r>
                      <a:r>
                        <a:rPr lang="en-US" sz="16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maupun</a:t>
                      </a:r>
                      <a:r>
                        <a:rPr lang="en-US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program </a:t>
                      </a:r>
                      <a:r>
                        <a:rPr lang="en-US" sz="16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ambahan</a:t>
                      </a:r>
                      <a:r>
                        <a:rPr lang="en-US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6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lainnya</a:t>
                      </a:r>
                      <a:r>
                        <a:rPr lang="en-US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.</a:t>
                      </a:r>
                      <a:endParaRPr lang="en-US" sz="1600" dirty="0" smtClean="0"/>
                    </a:p>
                    <a:p>
                      <a:pPr marL="342900" lvl="0" indent="-342900">
                        <a:buFont typeface="+mj-lt"/>
                        <a:buAutoNum type="arabicPeriod"/>
                      </a:pPr>
                      <a:r>
                        <a:rPr lang="en-US" sz="16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Pengawasan</a:t>
                      </a:r>
                      <a:r>
                        <a:rPr lang="en-US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6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dan</a:t>
                      </a:r>
                      <a:r>
                        <a:rPr lang="en-US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6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pemeliharaan</a:t>
                      </a:r>
                      <a:r>
                        <a:rPr lang="en-US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data </a:t>
                      </a:r>
                      <a:r>
                        <a:rPr lang="en-US" sz="16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Rumah</a:t>
                      </a:r>
                      <a:r>
                        <a:rPr lang="en-US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6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akit</a:t>
                      </a:r>
                      <a:r>
                        <a:rPr lang="en-US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.</a:t>
                      </a:r>
                      <a:endParaRPr lang="en-US" sz="1600" dirty="0" smtClean="0"/>
                    </a:p>
                    <a:p>
                      <a:pPr marL="342900" lvl="0" indent="-342900">
                        <a:buFont typeface="+mj-lt"/>
                        <a:buAutoNum type="arabicPeriod"/>
                      </a:pPr>
                      <a:r>
                        <a:rPr lang="en-US" sz="16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Melakukan</a:t>
                      </a:r>
                      <a:r>
                        <a:rPr lang="en-US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6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perbaikan</a:t>
                      </a:r>
                      <a:r>
                        <a:rPr lang="en-US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6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kerusakan</a:t>
                      </a:r>
                      <a:r>
                        <a:rPr lang="en-US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6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istim</a:t>
                      </a:r>
                      <a:r>
                        <a:rPr lang="en-US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SIRS </a:t>
                      </a:r>
                      <a:r>
                        <a:rPr lang="en-US" sz="16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bila</a:t>
                      </a:r>
                      <a:r>
                        <a:rPr lang="en-US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6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erjadi</a:t>
                      </a:r>
                      <a:r>
                        <a:rPr lang="en-US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6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kerusakan</a:t>
                      </a:r>
                      <a:r>
                        <a:rPr lang="en-US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/</a:t>
                      </a:r>
                      <a:r>
                        <a:rPr lang="en-US" sz="16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permasalahan</a:t>
                      </a:r>
                      <a:r>
                        <a:rPr lang="en-US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, </a:t>
                      </a:r>
                      <a:r>
                        <a:rPr lang="en-US" sz="16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baik</a:t>
                      </a:r>
                      <a:r>
                        <a:rPr lang="en-US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yang </a:t>
                      </a:r>
                      <a:r>
                        <a:rPr lang="en-US" sz="16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imbul</a:t>
                      </a:r>
                      <a:r>
                        <a:rPr lang="en-US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6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oleh</a:t>
                      </a:r>
                      <a:r>
                        <a:rPr lang="en-US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600" i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human error </a:t>
                      </a:r>
                      <a:r>
                        <a:rPr lang="en-US" sz="16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tau</a:t>
                      </a:r>
                      <a:r>
                        <a:rPr lang="en-US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6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keadaan</a:t>
                      </a:r>
                      <a:r>
                        <a:rPr lang="en-US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6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lainnya</a:t>
                      </a:r>
                      <a:r>
                        <a:rPr lang="en-US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.</a:t>
                      </a:r>
                      <a:endParaRPr lang="en-US" sz="1600" dirty="0" smtClean="0"/>
                    </a:p>
                    <a:p>
                      <a:pPr marL="342900" lvl="0" indent="-342900">
                        <a:buFont typeface="+mj-lt"/>
                        <a:buAutoNum type="arabicPeriod"/>
                      </a:pPr>
                      <a:r>
                        <a:rPr lang="en-US" sz="16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Membantu</a:t>
                      </a:r>
                      <a:r>
                        <a:rPr lang="en-US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6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membuat</a:t>
                      </a:r>
                      <a:r>
                        <a:rPr lang="en-US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6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dan</a:t>
                      </a:r>
                      <a:r>
                        <a:rPr lang="en-US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6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mendesain</a:t>
                      </a:r>
                      <a:r>
                        <a:rPr lang="en-US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6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laporan-laporan</a:t>
                      </a:r>
                      <a:r>
                        <a:rPr lang="en-US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yang </a:t>
                      </a:r>
                      <a:r>
                        <a:rPr lang="en-US" sz="16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dibutuhkan</a:t>
                      </a:r>
                      <a:r>
                        <a:rPr lang="en-US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6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oleh</a:t>
                      </a:r>
                      <a:r>
                        <a:rPr lang="en-US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User.</a:t>
                      </a:r>
                      <a:endParaRPr lang="en-US" sz="1600" dirty="0" smtClean="0"/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02730917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1"/>
          <p:cNvSpPr txBox="1">
            <a:spLocks/>
          </p:cNvSpPr>
          <p:nvPr/>
        </p:nvSpPr>
        <p:spPr>
          <a:xfrm>
            <a:off x="1747403" y="219044"/>
            <a:ext cx="8697279" cy="518157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dirty="0" err="1" smtClean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Uraian</a:t>
            </a:r>
            <a:r>
              <a:rPr lang="en-US" sz="2800" dirty="0" smtClean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2800" dirty="0" err="1" smtClean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Tugas</a:t>
            </a:r>
            <a:endParaRPr lang="en-US" sz="2800" dirty="0">
              <a:solidFill>
                <a:schemeClr val="bg1"/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20" name="Title 11"/>
          <p:cNvSpPr txBox="1">
            <a:spLocks/>
          </p:cNvSpPr>
          <p:nvPr/>
        </p:nvSpPr>
        <p:spPr>
          <a:xfrm>
            <a:off x="1747403" y="651485"/>
            <a:ext cx="8697279" cy="41044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1200" dirty="0" err="1" smtClean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Koordinator</a:t>
            </a:r>
            <a:r>
              <a:rPr lang="en-US" sz="1200" dirty="0" smtClean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IT Application &amp; Development</a:t>
            </a:r>
            <a:endParaRPr lang="en-US" sz="1200" dirty="0">
              <a:solidFill>
                <a:schemeClr val="bg1"/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grpSp>
        <p:nvGrpSpPr>
          <p:cNvPr id="2" name="Group 4"/>
          <p:cNvGrpSpPr/>
          <p:nvPr/>
        </p:nvGrpSpPr>
        <p:grpSpPr>
          <a:xfrm>
            <a:off x="2714979" y="1055737"/>
            <a:ext cx="6762044" cy="37787"/>
            <a:chOff x="1190978" y="1043012"/>
            <a:chExt cx="6762044" cy="37787"/>
          </a:xfrm>
        </p:grpSpPr>
        <p:cxnSp>
          <p:nvCxnSpPr>
            <p:cNvPr id="4" name="Straight Connector 3"/>
            <p:cNvCxnSpPr/>
            <p:nvPr/>
          </p:nvCxnSpPr>
          <p:spPr>
            <a:xfrm>
              <a:off x="1190978" y="1061905"/>
              <a:ext cx="6762044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9" name="Rectangle 18"/>
            <p:cNvSpPr/>
            <p:nvPr/>
          </p:nvSpPr>
          <p:spPr>
            <a:xfrm>
              <a:off x="3205152" y="1043012"/>
              <a:ext cx="2733735" cy="37787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15" name="Slide Number Placeholder 1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ECD629-4DA5-4EAE-B174-69948CAAE2CE}" type="slidenum">
              <a:rPr lang="en-US" smtClean="0"/>
              <a:pPr/>
              <a:t>19</a:t>
            </a:fld>
            <a:endParaRPr lang="en-US" dirty="0"/>
          </a:p>
        </p:txBody>
      </p:sp>
      <p:graphicFrame>
        <p:nvGraphicFramePr>
          <p:cNvPr id="50" name="Table 49"/>
          <p:cNvGraphicFramePr>
            <a:graphicFrameLocks noGrp="1"/>
          </p:cNvGraphicFramePr>
          <p:nvPr/>
        </p:nvGraphicFramePr>
        <p:xfrm>
          <a:off x="350346" y="1381818"/>
          <a:ext cx="11211033" cy="445142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50001"/>
                <a:gridCol w="8861032"/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/>
                        <a:t>JABATAN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/>
                        <a:t>URAIAN KERJA</a:t>
                      </a:r>
                      <a:endParaRPr lang="en-US" sz="1600" dirty="0"/>
                    </a:p>
                  </a:txBody>
                  <a:tcPr/>
                </a:tc>
              </a:tr>
              <a:tr h="1799839"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SISTEM</a:t>
                      </a:r>
                      <a:r>
                        <a:rPr lang="en-US" sz="1600" baseline="0" dirty="0" smtClean="0"/>
                        <a:t> ANALIS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342900" lvl="0" indent="-342900">
                        <a:buFont typeface="+mj-lt"/>
                        <a:buAutoNum type="arabicPeriod"/>
                      </a:pPr>
                      <a:r>
                        <a:rPr lang="en-US" sz="16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Membantu</a:t>
                      </a:r>
                      <a:r>
                        <a:rPr lang="en-US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6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kegiatan</a:t>
                      </a:r>
                      <a:r>
                        <a:rPr lang="en-US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yang </a:t>
                      </a:r>
                      <a:r>
                        <a:rPr lang="en-US" sz="16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berkaitan</a:t>
                      </a:r>
                      <a:r>
                        <a:rPr lang="en-US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6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dengan</a:t>
                      </a:r>
                      <a:r>
                        <a:rPr lang="en-US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6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pengembangan</a:t>
                      </a:r>
                      <a:r>
                        <a:rPr lang="en-US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6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dan</a:t>
                      </a:r>
                      <a:r>
                        <a:rPr lang="en-US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6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pemeliharaan</a:t>
                      </a:r>
                      <a:r>
                        <a:rPr lang="en-US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data.</a:t>
                      </a:r>
                      <a:endParaRPr lang="en-US" sz="1600" dirty="0" smtClean="0"/>
                    </a:p>
                    <a:p>
                      <a:pPr marL="342900" lvl="0" indent="-342900">
                        <a:buFont typeface="+mj-lt"/>
                        <a:buAutoNum type="arabicPeriod"/>
                      </a:pPr>
                      <a:r>
                        <a:rPr lang="en-US" sz="16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Melakukan</a:t>
                      </a:r>
                      <a:r>
                        <a:rPr lang="en-US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6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kegiatan</a:t>
                      </a:r>
                      <a:r>
                        <a:rPr lang="en-US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6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perancangan</a:t>
                      </a:r>
                      <a:r>
                        <a:rPr lang="en-US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6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dan</a:t>
                      </a:r>
                      <a:r>
                        <a:rPr lang="en-US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6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pembuatan</a:t>
                      </a:r>
                      <a:r>
                        <a:rPr lang="en-US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6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laporan</a:t>
                      </a:r>
                      <a:r>
                        <a:rPr lang="en-US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6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esuai</a:t>
                      </a:r>
                      <a:r>
                        <a:rPr lang="en-US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6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kebutuhan</a:t>
                      </a:r>
                      <a:r>
                        <a:rPr lang="en-US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user.</a:t>
                      </a:r>
                      <a:endParaRPr lang="en-US" sz="1600" dirty="0" smtClean="0"/>
                    </a:p>
                    <a:p>
                      <a:pPr marL="342900" lvl="0" indent="-342900">
                        <a:buFont typeface="+mj-lt"/>
                        <a:buAutoNum type="arabicPeriod"/>
                      </a:pPr>
                      <a:r>
                        <a:rPr lang="en-US" sz="16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Pengawasan</a:t>
                      </a:r>
                      <a:r>
                        <a:rPr lang="en-US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6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dan</a:t>
                      </a:r>
                      <a:r>
                        <a:rPr lang="en-US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6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pemeliharaan</a:t>
                      </a:r>
                      <a:r>
                        <a:rPr lang="en-US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data </a:t>
                      </a:r>
                      <a:r>
                        <a:rPr lang="en-US" sz="16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ermasuk</a:t>
                      </a:r>
                      <a:r>
                        <a:rPr lang="en-US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6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kses</a:t>
                      </a:r>
                      <a:r>
                        <a:rPr lang="en-US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6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laporan</a:t>
                      </a:r>
                      <a:r>
                        <a:rPr lang="en-US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.</a:t>
                      </a:r>
                      <a:endParaRPr lang="en-US" sz="1600" dirty="0" smtClean="0"/>
                    </a:p>
                    <a:p>
                      <a:pPr marL="342900" lvl="0" indent="-342900">
                        <a:buFont typeface="+mj-lt"/>
                        <a:buAutoNum type="arabicPeriod"/>
                      </a:pPr>
                      <a:r>
                        <a:rPr lang="en-US" sz="16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Membantu</a:t>
                      </a:r>
                      <a:r>
                        <a:rPr lang="en-US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6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dan</a:t>
                      </a:r>
                      <a:r>
                        <a:rPr lang="en-US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6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melakukan</a:t>
                      </a:r>
                      <a:r>
                        <a:rPr lang="en-US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6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perbaikan</a:t>
                      </a:r>
                      <a:r>
                        <a:rPr lang="en-US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6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kerusakan</a:t>
                      </a:r>
                      <a:r>
                        <a:rPr lang="en-US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6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istem</a:t>
                      </a:r>
                      <a:r>
                        <a:rPr lang="en-US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6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bila</a:t>
                      </a:r>
                      <a:r>
                        <a:rPr lang="en-US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6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erjadi</a:t>
                      </a:r>
                      <a:r>
                        <a:rPr lang="en-US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6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kerusakan</a:t>
                      </a:r>
                      <a:r>
                        <a:rPr lang="en-US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/</a:t>
                      </a:r>
                      <a:r>
                        <a:rPr lang="en-US" sz="16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permasalahan</a:t>
                      </a:r>
                      <a:r>
                        <a:rPr lang="en-US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, </a:t>
                      </a:r>
                      <a:r>
                        <a:rPr lang="en-US" sz="16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baik</a:t>
                      </a:r>
                      <a:r>
                        <a:rPr lang="en-US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yang </a:t>
                      </a:r>
                      <a:r>
                        <a:rPr lang="en-US" sz="16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imbul</a:t>
                      </a:r>
                      <a:r>
                        <a:rPr lang="en-US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6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oleh</a:t>
                      </a:r>
                      <a:r>
                        <a:rPr lang="en-US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Human error </a:t>
                      </a:r>
                      <a:r>
                        <a:rPr lang="en-US" sz="16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tau</a:t>
                      </a:r>
                      <a:r>
                        <a:rPr lang="en-US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6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keadaan</a:t>
                      </a:r>
                      <a:r>
                        <a:rPr lang="en-US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6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lainnya</a:t>
                      </a:r>
                      <a:r>
                        <a:rPr lang="en-US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.</a:t>
                      </a:r>
                      <a:endParaRPr lang="en-US" sz="1600" dirty="0" smtClean="0"/>
                    </a:p>
                    <a:p>
                      <a:pPr marL="342900" lvl="0" indent="-342900">
                        <a:buFont typeface="+mj-lt"/>
                        <a:buAutoNum type="arabicPeriod"/>
                      </a:pPr>
                      <a:r>
                        <a:rPr lang="en-US" sz="16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Membantu</a:t>
                      </a:r>
                      <a:r>
                        <a:rPr lang="en-US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6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membuat</a:t>
                      </a:r>
                      <a:r>
                        <a:rPr lang="en-US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6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dan</a:t>
                      </a:r>
                      <a:r>
                        <a:rPr lang="en-US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6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mendesain</a:t>
                      </a:r>
                      <a:r>
                        <a:rPr lang="en-US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6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laporan-laporan</a:t>
                      </a:r>
                      <a:r>
                        <a:rPr lang="en-US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yang </a:t>
                      </a:r>
                      <a:r>
                        <a:rPr lang="en-US" sz="16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dibutuhkan</a:t>
                      </a:r>
                      <a:r>
                        <a:rPr lang="en-US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6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oleh</a:t>
                      </a:r>
                      <a:r>
                        <a:rPr lang="en-US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user.</a:t>
                      </a:r>
                      <a:endParaRPr lang="en-US" sz="1600" dirty="0"/>
                    </a:p>
                  </a:txBody>
                  <a:tcPr/>
                </a:tc>
              </a:tr>
              <a:tr h="2280744"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DATABASE ADMINISTRATOR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342900" lvl="0" indent="-342900">
                        <a:buFont typeface="+mj-lt"/>
                        <a:buAutoNum type="arabicPeriod"/>
                      </a:pPr>
                      <a:r>
                        <a:rPr lang="en-US" sz="16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Membantu</a:t>
                      </a:r>
                      <a:r>
                        <a:rPr lang="en-US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6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kegiatan</a:t>
                      </a:r>
                      <a:r>
                        <a:rPr lang="en-US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yang </a:t>
                      </a:r>
                      <a:r>
                        <a:rPr lang="en-US" sz="16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berkaitan</a:t>
                      </a:r>
                      <a:r>
                        <a:rPr lang="en-US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6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dengan</a:t>
                      </a:r>
                      <a:r>
                        <a:rPr lang="en-US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6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pengembangan</a:t>
                      </a:r>
                      <a:r>
                        <a:rPr lang="en-US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6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dan</a:t>
                      </a:r>
                      <a:r>
                        <a:rPr lang="en-US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6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pemeliharaan</a:t>
                      </a:r>
                      <a:r>
                        <a:rPr lang="en-US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Software </a:t>
                      </a:r>
                      <a:r>
                        <a:rPr lang="en-US" sz="16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dan</a:t>
                      </a:r>
                      <a:r>
                        <a:rPr lang="en-US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database.</a:t>
                      </a:r>
                      <a:endParaRPr lang="en-US" sz="1600" dirty="0" smtClean="0"/>
                    </a:p>
                    <a:p>
                      <a:pPr marL="342900" lvl="0" indent="-342900">
                        <a:buFont typeface="+mj-lt"/>
                        <a:buAutoNum type="arabicPeriod"/>
                      </a:pPr>
                      <a:r>
                        <a:rPr lang="en-US" sz="16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Merencanakan</a:t>
                      </a:r>
                      <a:r>
                        <a:rPr lang="en-US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, </a:t>
                      </a:r>
                      <a:r>
                        <a:rPr lang="en-US" sz="16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mengkoordinasikan</a:t>
                      </a:r>
                      <a:r>
                        <a:rPr lang="en-US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6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dan</a:t>
                      </a:r>
                      <a:r>
                        <a:rPr lang="en-US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6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melaksanakan</a:t>
                      </a:r>
                      <a:r>
                        <a:rPr lang="en-US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6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langkah-langkah</a:t>
                      </a:r>
                      <a:r>
                        <a:rPr lang="en-US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6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keamanan</a:t>
                      </a:r>
                      <a:r>
                        <a:rPr lang="en-US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6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untuk</a:t>
                      </a:r>
                      <a:r>
                        <a:rPr lang="en-US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6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melindungi</a:t>
                      </a:r>
                      <a:r>
                        <a:rPr lang="en-US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6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informasi</a:t>
                      </a:r>
                      <a:r>
                        <a:rPr lang="en-US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data </a:t>
                      </a:r>
                      <a:r>
                        <a:rPr lang="en-US" sz="16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erhadap</a:t>
                      </a:r>
                      <a:r>
                        <a:rPr lang="en-US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6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kerusakan</a:t>
                      </a:r>
                      <a:r>
                        <a:rPr lang="en-US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, </a:t>
                      </a:r>
                      <a:r>
                        <a:rPr lang="en-US" sz="16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pemodifikasian</a:t>
                      </a:r>
                      <a:r>
                        <a:rPr lang="en-US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6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tau</a:t>
                      </a:r>
                      <a:r>
                        <a:rPr lang="en-US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6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kses</a:t>
                      </a:r>
                      <a:r>
                        <a:rPr lang="en-US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yang </a:t>
                      </a:r>
                      <a:r>
                        <a:rPr lang="en-US" sz="16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idak</a:t>
                      </a:r>
                      <a:r>
                        <a:rPr lang="en-US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6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ah</a:t>
                      </a:r>
                      <a:r>
                        <a:rPr lang="en-US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.</a:t>
                      </a:r>
                      <a:endParaRPr lang="en-US" sz="1600" dirty="0" smtClean="0"/>
                    </a:p>
                    <a:p>
                      <a:pPr marL="342900" lvl="0" indent="-342900">
                        <a:buFont typeface="+mj-lt"/>
                        <a:buAutoNum type="arabicPeriod"/>
                      </a:pPr>
                      <a:r>
                        <a:rPr lang="en-US" sz="16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Menguji</a:t>
                      </a:r>
                      <a:r>
                        <a:rPr lang="en-US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program </a:t>
                      </a:r>
                      <a:r>
                        <a:rPr lang="en-US" sz="16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tau</a:t>
                      </a:r>
                      <a:r>
                        <a:rPr lang="en-US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database, </a:t>
                      </a:r>
                      <a:r>
                        <a:rPr lang="en-US" sz="16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memperbaiki</a:t>
                      </a:r>
                      <a:r>
                        <a:rPr lang="en-US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6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kesalahan</a:t>
                      </a:r>
                      <a:r>
                        <a:rPr lang="en-US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6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dan</a:t>
                      </a:r>
                      <a:r>
                        <a:rPr lang="en-US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6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membuat</a:t>
                      </a:r>
                      <a:r>
                        <a:rPr lang="en-US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6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modifikasi</a:t>
                      </a:r>
                      <a:r>
                        <a:rPr lang="en-US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yang </a:t>
                      </a:r>
                      <a:r>
                        <a:rPr lang="en-US" sz="16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diperlukan</a:t>
                      </a:r>
                      <a:r>
                        <a:rPr lang="en-US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.</a:t>
                      </a:r>
                      <a:endParaRPr lang="en-US" sz="1600" dirty="0" smtClean="0"/>
                    </a:p>
                    <a:p>
                      <a:pPr marL="342900" lvl="0" indent="-342900">
                        <a:buFont typeface="+mj-lt"/>
                        <a:buAutoNum type="arabicPeriod"/>
                      </a:pPr>
                      <a:r>
                        <a:rPr lang="en-US" sz="16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Memodifikasi</a:t>
                      </a:r>
                      <a:r>
                        <a:rPr lang="en-US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database </a:t>
                      </a:r>
                      <a:r>
                        <a:rPr lang="en-US" sz="16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dan</a:t>
                      </a:r>
                      <a:r>
                        <a:rPr lang="en-US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6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istem</a:t>
                      </a:r>
                      <a:r>
                        <a:rPr lang="en-US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6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manajemen</a:t>
                      </a:r>
                      <a:r>
                        <a:rPr lang="en-US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database yang </a:t>
                      </a:r>
                      <a:r>
                        <a:rPr lang="en-US" sz="16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da</a:t>
                      </a:r>
                      <a:r>
                        <a:rPr lang="en-US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.</a:t>
                      </a:r>
                      <a:endParaRPr lang="en-US" sz="1600" dirty="0" smtClean="0"/>
                    </a:p>
                    <a:p>
                      <a:pPr marL="342900" lvl="0" indent="-342900">
                        <a:buFont typeface="+mj-lt"/>
                        <a:buAutoNum type="arabicPeriod"/>
                      </a:pPr>
                      <a:r>
                        <a:rPr lang="en-US" sz="16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Membantu</a:t>
                      </a:r>
                      <a:r>
                        <a:rPr lang="en-US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6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menyelesaikan</a:t>
                      </a:r>
                      <a:r>
                        <a:rPr lang="en-US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6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permasalahan-permasalahan</a:t>
                      </a:r>
                      <a:r>
                        <a:rPr lang="en-US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yang </a:t>
                      </a:r>
                      <a:r>
                        <a:rPr lang="en-US" sz="16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berhubungan</a:t>
                      </a:r>
                      <a:r>
                        <a:rPr lang="en-US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6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dengan</a:t>
                      </a:r>
                      <a:r>
                        <a:rPr lang="en-US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6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istem</a:t>
                      </a:r>
                      <a:r>
                        <a:rPr lang="en-US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.</a:t>
                      </a:r>
                      <a:endParaRPr lang="en-US" sz="1600" dirty="0"/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02730917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1925" y="243205"/>
            <a:ext cx="5821680" cy="648335"/>
          </a:xfrm>
        </p:spPr>
        <p:txBody>
          <a:bodyPr>
            <a:normAutofit fontScale="90000"/>
          </a:bodyPr>
          <a:lstStyle/>
          <a:p>
            <a:r>
              <a:rPr lang="en-AU" dirty="0" err="1" smtClean="0"/>
              <a:t>Widi</a:t>
            </a:r>
            <a:r>
              <a:rPr lang="en-AU" dirty="0" smtClean="0"/>
              <a:t> </a:t>
            </a:r>
            <a:r>
              <a:rPr lang="en-AU" dirty="0" err="1" smtClean="0"/>
              <a:t>Budianto</a:t>
            </a:r>
            <a:r>
              <a:rPr lang="en-AU" dirty="0" smtClean="0"/>
              <a:t> </a:t>
            </a:r>
            <a:r>
              <a:rPr lang="en-AU" dirty="0" err="1" smtClean="0"/>
              <a:t>ST,M.kom</a:t>
            </a:r>
            <a:endParaRPr lang="en-AU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86124" y="891540"/>
            <a:ext cx="7496175" cy="3048000"/>
          </a:xfrm>
        </p:spPr>
        <p:txBody>
          <a:bodyPr>
            <a:normAutofit/>
          </a:bodyPr>
          <a:lstStyle/>
          <a:p>
            <a:r>
              <a:rPr lang="en-AU" dirty="0" smtClean="0"/>
              <a:t>S2 Magister </a:t>
            </a:r>
            <a:r>
              <a:rPr lang="en-AU" dirty="0" err="1" smtClean="0"/>
              <a:t>Komputer</a:t>
            </a:r>
            <a:r>
              <a:rPr lang="en-AU" dirty="0" smtClean="0"/>
              <a:t> (</a:t>
            </a:r>
            <a:r>
              <a:rPr lang="en-AU" dirty="0" err="1" smtClean="0"/>
              <a:t>Universitas</a:t>
            </a:r>
            <a:r>
              <a:rPr lang="en-AU" dirty="0" smtClean="0"/>
              <a:t> Budi </a:t>
            </a:r>
            <a:r>
              <a:rPr lang="en-AU" dirty="0" err="1" smtClean="0"/>
              <a:t>Luhur</a:t>
            </a:r>
            <a:r>
              <a:rPr lang="en-AU" dirty="0" smtClean="0"/>
              <a:t>, MI 2018)</a:t>
            </a:r>
          </a:p>
          <a:p>
            <a:r>
              <a:rPr lang="en-AU" dirty="0" smtClean="0"/>
              <a:t>S1 </a:t>
            </a:r>
            <a:r>
              <a:rPr lang="en-AU" dirty="0" err="1" smtClean="0"/>
              <a:t>Sistem</a:t>
            </a:r>
            <a:r>
              <a:rPr lang="en-AU" dirty="0" smtClean="0"/>
              <a:t> </a:t>
            </a:r>
            <a:r>
              <a:rPr lang="en-AU" dirty="0" err="1" smtClean="0"/>
              <a:t>Informasi</a:t>
            </a:r>
            <a:r>
              <a:rPr lang="en-AU" dirty="0" smtClean="0"/>
              <a:t> ( </a:t>
            </a:r>
            <a:r>
              <a:rPr lang="en-AU" dirty="0" err="1"/>
              <a:t>U</a:t>
            </a:r>
            <a:r>
              <a:rPr lang="en-AU" dirty="0" err="1" smtClean="0"/>
              <a:t>niversitas</a:t>
            </a:r>
            <a:r>
              <a:rPr lang="en-AU" dirty="0" smtClean="0"/>
              <a:t> </a:t>
            </a:r>
            <a:r>
              <a:rPr lang="en-AU" dirty="0" err="1" smtClean="0"/>
              <a:t>Satya</a:t>
            </a:r>
            <a:r>
              <a:rPr lang="en-AU" dirty="0" smtClean="0"/>
              <a:t> Negara Indonesia 2005)</a:t>
            </a:r>
          </a:p>
          <a:p>
            <a:r>
              <a:rPr lang="en-AU" dirty="0" err="1" smtClean="0"/>
              <a:t>Kepala</a:t>
            </a:r>
            <a:r>
              <a:rPr lang="en-AU" dirty="0" smtClean="0"/>
              <a:t> </a:t>
            </a:r>
            <a:r>
              <a:rPr lang="en-AU" dirty="0" err="1" smtClean="0"/>
              <a:t>Instalasi</a:t>
            </a:r>
            <a:r>
              <a:rPr lang="en-AU" dirty="0" smtClean="0"/>
              <a:t> SIMRS </a:t>
            </a:r>
          </a:p>
          <a:p>
            <a:pPr marL="0" indent="0">
              <a:buNone/>
            </a:pPr>
            <a:r>
              <a:rPr lang="en-AU" dirty="0"/>
              <a:t> </a:t>
            </a:r>
            <a:r>
              <a:rPr lang="en-AU" dirty="0" smtClean="0"/>
              <a:t>  </a:t>
            </a:r>
            <a:r>
              <a:rPr lang="en-AU" dirty="0" err="1" smtClean="0"/>
              <a:t>Rumah</a:t>
            </a:r>
            <a:r>
              <a:rPr lang="en-AU" dirty="0" smtClean="0"/>
              <a:t> </a:t>
            </a:r>
            <a:r>
              <a:rPr lang="en-AU" dirty="0" err="1"/>
              <a:t>S</a:t>
            </a:r>
            <a:r>
              <a:rPr lang="en-AU" dirty="0" err="1" smtClean="0"/>
              <a:t>akit</a:t>
            </a:r>
            <a:r>
              <a:rPr lang="en-AU" dirty="0" smtClean="0"/>
              <a:t> </a:t>
            </a:r>
            <a:r>
              <a:rPr lang="en-AU" dirty="0" err="1" smtClean="0"/>
              <a:t>Kanker</a:t>
            </a:r>
            <a:r>
              <a:rPr lang="en-AU" dirty="0" smtClean="0"/>
              <a:t> </a:t>
            </a:r>
            <a:r>
              <a:rPr lang="en-AU" dirty="0" err="1" smtClean="0"/>
              <a:t>Dharmais</a:t>
            </a:r>
            <a:r>
              <a:rPr lang="en-AU" dirty="0" smtClean="0"/>
              <a:t> 2016 - </a:t>
            </a:r>
            <a:r>
              <a:rPr lang="en-AU" dirty="0" err="1"/>
              <a:t>S</a:t>
            </a:r>
            <a:r>
              <a:rPr lang="en-AU" dirty="0" err="1" smtClean="0"/>
              <a:t>ekarang</a:t>
            </a:r>
            <a:endParaRPr lang="en-AU" dirty="0" smtClean="0"/>
          </a:p>
          <a:p>
            <a:pPr marL="0" indent="0">
              <a:buNone/>
            </a:pPr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ECD629-4DA5-4EAE-B174-69948CAAE2CE}" type="slidenum">
              <a:rPr lang="en-US" smtClean="0"/>
              <a:pPr/>
              <a:t>2</a:t>
            </a:fld>
            <a:endParaRPr lang="en-US"/>
          </a:p>
        </p:txBody>
      </p:sp>
      <p:pic>
        <p:nvPicPr>
          <p:cNvPr id="5" name="Picture 2" descr="C:\Users\SIMRS\Pictures\widi budianto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37360" y="1028700"/>
            <a:ext cx="1556385" cy="19126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783658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356799" y="1705807"/>
            <a:ext cx="5536806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800" dirty="0" err="1" smtClean="0">
                <a:solidFill>
                  <a:schemeClr val="bg1"/>
                </a:solidFill>
                <a:latin typeface="+mj-lt"/>
              </a:rPr>
              <a:t>Daftar</a:t>
            </a:r>
            <a:r>
              <a:rPr lang="en-US" sz="4800" dirty="0" smtClean="0">
                <a:solidFill>
                  <a:schemeClr val="bg1"/>
                </a:solidFill>
                <a:latin typeface="+mj-lt"/>
              </a:rPr>
              <a:t> </a:t>
            </a:r>
            <a:r>
              <a:rPr lang="en-US" sz="4800" dirty="0" err="1" smtClean="0">
                <a:solidFill>
                  <a:schemeClr val="bg1"/>
                </a:solidFill>
                <a:latin typeface="+mj-lt"/>
              </a:rPr>
              <a:t>Modul</a:t>
            </a:r>
            <a:r>
              <a:rPr lang="en-US" sz="4800" dirty="0" smtClean="0">
                <a:solidFill>
                  <a:schemeClr val="bg1"/>
                </a:solidFill>
                <a:latin typeface="+mj-lt"/>
              </a:rPr>
              <a:t> SIMRS </a:t>
            </a:r>
            <a:r>
              <a:rPr lang="en-US" sz="4800" dirty="0" err="1" smtClean="0">
                <a:solidFill>
                  <a:schemeClr val="bg1"/>
                </a:solidFill>
                <a:latin typeface="+mj-lt"/>
              </a:rPr>
              <a:t>Terimplementasi</a:t>
            </a:r>
            <a:endParaRPr lang="en-US" sz="4800" dirty="0">
              <a:solidFill>
                <a:schemeClr val="bg1"/>
              </a:solidFill>
              <a:latin typeface="+mj-lt"/>
            </a:endParaRPr>
          </a:p>
        </p:txBody>
      </p:sp>
      <p:grpSp>
        <p:nvGrpSpPr>
          <p:cNvPr id="4" name="Group 17"/>
          <p:cNvGrpSpPr/>
          <p:nvPr/>
        </p:nvGrpSpPr>
        <p:grpSpPr>
          <a:xfrm>
            <a:off x="9180430" y="5869754"/>
            <a:ext cx="930275" cy="930275"/>
            <a:chOff x="9180430" y="5869754"/>
            <a:chExt cx="930275" cy="930275"/>
          </a:xfrm>
        </p:grpSpPr>
        <p:sp>
          <p:nvSpPr>
            <p:cNvPr id="511" name="Freeform 243"/>
            <p:cNvSpPr>
              <a:spLocks/>
            </p:cNvSpPr>
            <p:nvPr/>
          </p:nvSpPr>
          <p:spPr bwMode="auto">
            <a:xfrm>
              <a:off x="9515392" y="6214241"/>
              <a:ext cx="254000" cy="236537"/>
            </a:xfrm>
            <a:custGeom>
              <a:avLst/>
              <a:gdLst>
                <a:gd name="T0" fmla="*/ 127 w 202"/>
                <a:gd name="T1" fmla="*/ 3 h 188"/>
                <a:gd name="T2" fmla="*/ 104 w 202"/>
                <a:gd name="T3" fmla="*/ 0 h 188"/>
                <a:gd name="T4" fmla="*/ 12 w 202"/>
                <a:gd name="T5" fmla="*/ 72 h 188"/>
                <a:gd name="T6" fmla="*/ 81 w 202"/>
                <a:gd name="T7" fmla="*/ 186 h 188"/>
                <a:gd name="T8" fmla="*/ 104 w 202"/>
                <a:gd name="T9" fmla="*/ 188 h 188"/>
                <a:gd name="T10" fmla="*/ 104 w 202"/>
                <a:gd name="T11" fmla="*/ 188 h 188"/>
                <a:gd name="T12" fmla="*/ 196 w 202"/>
                <a:gd name="T13" fmla="*/ 117 h 188"/>
                <a:gd name="T14" fmla="*/ 185 w 202"/>
                <a:gd name="T15" fmla="*/ 46 h 188"/>
                <a:gd name="T16" fmla="*/ 127 w 202"/>
                <a:gd name="T17" fmla="*/ 3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2" h="188">
                  <a:moveTo>
                    <a:pt x="127" y="3"/>
                  </a:moveTo>
                  <a:cubicBezTo>
                    <a:pt x="119" y="1"/>
                    <a:pt x="112" y="0"/>
                    <a:pt x="104" y="0"/>
                  </a:cubicBezTo>
                  <a:cubicBezTo>
                    <a:pt x="60" y="0"/>
                    <a:pt x="23" y="30"/>
                    <a:pt x="12" y="72"/>
                  </a:cubicBezTo>
                  <a:cubicBezTo>
                    <a:pt x="0" y="122"/>
                    <a:pt x="30" y="173"/>
                    <a:pt x="81" y="186"/>
                  </a:cubicBezTo>
                  <a:cubicBezTo>
                    <a:pt x="89" y="188"/>
                    <a:pt x="96" y="188"/>
                    <a:pt x="104" y="188"/>
                  </a:cubicBezTo>
                  <a:cubicBezTo>
                    <a:pt x="104" y="188"/>
                    <a:pt x="104" y="188"/>
                    <a:pt x="104" y="188"/>
                  </a:cubicBezTo>
                  <a:cubicBezTo>
                    <a:pt x="147" y="188"/>
                    <a:pt x="185" y="159"/>
                    <a:pt x="196" y="117"/>
                  </a:cubicBezTo>
                  <a:cubicBezTo>
                    <a:pt x="202" y="93"/>
                    <a:pt x="198" y="68"/>
                    <a:pt x="185" y="46"/>
                  </a:cubicBezTo>
                  <a:cubicBezTo>
                    <a:pt x="172" y="24"/>
                    <a:pt x="151" y="9"/>
                    <a:pt x="127" y="3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12" name="Freeform 244"/>
            <p:cNvSpPr>
              <a:spLocks noEditPoints="1"/>
            </p:cNvSpPr>
            <p:nvPr/>
          </p:nvSpPr>
          <p:spPr bwMode="auto">
            <a:xfrm>
              <a:off x="9180430" y="5869754"/>
              <a:ext cx="930275" cy="930275"/>
            </a:xfrm>
            <a:custGeom>
              <a:avLst/>
              <a:gdLst>
                <a:gd name="T0" fmla="*/ 730 w 738"/>
                <a:gd name="T1" fmla="*/ 444 h 738"/>
                <a:gd name="T2" fmla="*/ 738 w 738"/>
                <a:gd name="T3" fmla="*/ 357 h 738"/>
                <a:gd name="T4" fmla="*/ 646 w 738"/>
                <a:gd name="T5" fmla="*/ 318 h 738"/>
                <a:gd name="T6" fmla="*/ 624 w 738"/>
                <a:gd name="T7" fmla="*/ 249 h 738"/>
                <a:gd name="T8" fmla="*/ 677 w 738"/>
                <a:gd name="T9" fmla="*/ 167 h 738"/>
                <a:gd name="T10" fmla="*/ 621 w 738"/>
                <a:gd name="T11" fmla="*/ 99 h 738"/>
                <a:gd name="T12" fmla="*/ 530 w 738"/>
                <a:gd name="T13" fmla="*/ 137 h 738"/>
                <a:gd name="T14" fmla="*/ 468 w 738"/>
                <a:gd name="T15" fmla="*/ 104 h 738"/>
                <a:gd name="T16" fmla="*/ 447 w 738"/>
                <a:gd name="T17" fmla="*/ 8 h 738"/>
                <a:gd name="T18" fmla="*/ 360 w 738"/>
                <a:gd name="T19" fmla="*/ 0 h 738"/>
                <a:gd name="T20" fmla="*/ 322 w 738"/>
                <a:gd name="T21" fmla="*/ 90 h 738"/>
                <a:gd name="T22" fmla="*/ 252 w 738"/>
                <a:gd name="T23" fmla="*/ 112 h 738"/>
                <a:gd name="T24" fmla="*/ 169 w 738"/>
                <a:gd name="T25" fmla="*/ 58 h 738"/>
                <a:gd name="T26" fmla="*/ 102 w 738"/>
                <a:gd name="T27" fmla="*/ 114 h 738"/>
                <a:gd name="T28" fmla="*/ 139 w 738"/>
                <a:gd name="T29" fmla="*/ 205 h 738"/>
                <a:gd name="T30" fmla="*/ 105 w 738"/>
                <a:gd name="T31" fmla="*/ 270 h 738"/>
                <a:gd name="T32" fmla="*/ 8 w 738"/>
                <a:gd name="T33" fmla="*/ 291 h 738"/>
                <a:gd name="T34" fmla="*/ 0 w 738"/>
                <a:gd name="T35" fmla="*/ 379 h 738"/>
                <a:gd name="T36" fmla="*/ 92 w 738"/>
                <a:gd name="T37" fmla="*/ 417 h 738"/>
                <a:gd name="T38" fmla="*/ 113 w 738"/>
                <a:gd name="T39" fmla="*/ 485 h 738"/>
                <a:gd name="T40" fmla="*/ 59 w 738"/>
                <a:gd name="T41" fmla="*/ 569 h 738"/>
                <a:gd name="T42" fmla="*/ 115 w 738"/>
                <a:gd name="T43" fmla="*/ 637 h 738"/>
                <a:gd name="T44" fmla="*/ 208 w 738"/>
                <a:gd name="T45" fmla="*/ 599 h 738"/>
                <a:gd name="T46" fmla="*/ 269 w 738"/>
                <a:gd name="T47" fmla="*/ 631 h 738"/>
                <a:gd name="T48" fmla="*/ 290 w 738"/>
                <a:gd name="T49" fmla="*/ 729 h 738"/>
                <a:gd name="T50" fmla="*/ 378 w 738"/>
                <a:gd name="T51" fmla="*/ 738 h 738"/>
                <a:gd name="T52" fmla="*/ 417 w 738"/>
                <a:gd name="T53" fmla="*/ 645 h 738"/>
                <a:gd name="T54" fmla="*/ 484 w 738"/>
                <a:gd name="T55" fmla="*/ 625 h 738"/>
                <a:gd name="T56" fmla="*/ 568 w 738"/>
                <a:gd name="T57" fmla="*/ 679 h 738"/>
                <a:gd name="T58" fmla="*/ 636 w 738"/>
                <a:gd name="T59" fmla="*/ 623 h 738"/>
                <a:gd name="T60" fmla="*/ 599 w 738"/>
                <a:gd name="T61" fmla="*/ 531 h 738"/>
                <a:gd name="T62" fmla="*/ 633 w 738"/>
                <a:gd name="T63" fmla="*/ 465 h 738"/>
                <a:gd name="T64" fmla="*/ 730 w 738"/>
                <a:gd name="T65" fmla="*/ 444 h 738"/>
                <a:gd name="T66" fmla="*/ 503 w 738"/>
                <a:gd name="T67" fmla="*/ 401 h 738"/>
                <a:gd name="T68" fmla="*/ 369 w 738"/>
                <a:gd name="T69" fmla="*/ 505 h 738"/>
                <a:gd name="T70" fmla="*/ 369 w 738"/>
                <a:gd name="T71" fmla="*/ 505 h 738"/>
                <a:gd name="T72" fmla="*/ 335 w 738"/>
                <a:gd name="T73" fmla="*/ 502 h 738"/>
                <a:gd name="T74" fmla="*/ 234 w 738"/>
                <a:gd name="T75" fmla="*/ 334 h 738"/>
                <a:gd name="T76" fmla="*/ 369 w 738"/>
                <a:gd name="T77" fmla="*/ 229 h 738"/>
                <a:gd name="T78" fmla="*/ 403 w 738"/>
                <a:gd name="T79" fmla="*/ 233 h 738"/>
                <a:gd name="T80" fmla="*/ 488 w 738"/>
                <a:gd name="T81" fmla="*/ 297 h 738"/>
                <a:gd name="T82" fmla="*/ 503 w 738"/>
                <a:gd name="T83" fmla="*/ 401 h 7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738" h="738">
                  <a:moveTo>
                    <a:pt x="730" y="444"/>
                  </a:moveTo>
                  <a:cubicBezTo>
                    <a:pt x="738" y="357"/>
                    <a:pt x="738" y="357"/>
                    <a:pt x="738" y="357"/>
                  </a:cubicBezTo>
                  <a:cubicBezTo>
                    <a:pt x="646" y="318"/>
                    <a:pt x="646" y="318"/>
                    <a:pt x="646" y="318"/>
                  </a:cubicBezTo>
                  <a:cubicBezTo>
                    <a:pt x="642" y="294"/>
                    <a:pt x="635" y="271"/>
                    <a:pt x="624" y="249"/>
                  </a:cubicBezTo>
                  <a:cubicBezTo>
                    <a:pt x="677" y="167"/>
                    <a:pt x="677" y="167"/>
                    <a:pt x="677" y="167"/>
                  </a:cubicBezTo>
                  <a:cubicBezTo>
                    <a:pt x="621" y="99"/>
                    <a:pt x="621" y="99"/>
                    <a:pt x="621" y="99"/>
                  </a:cubicBezTo>
                  <a:cubicBezTo>
                    <a:pt x="530" y="137"/>
                    <a:pt x="530" y="137"/>
                    <a:pt x="530" y="137"/>
                  </a:cubicBezTo>
                  <a:cubicBezTo>
                    <a:pt x="511" y="124"/>
                    <a:pt x="490" y="113"/>
                    <a:pt x="468" y="104"/>
                  </a:cubicBezTo>
                  <a:cubicBezTo>
                    <a:pt x="447" y="8"/>
                    <a:pt x="447" y="8"/>
                    <a:pt x="447" y="8"/>
                  </a:cubicBezTo>
                  <a:cubicBezTo>
                    <a:pt x="360" y="0"/>
                    <a:pt x="360" y="0"/>
                    <a:pt x="360" y="0"/>
                  </a:cubicBezTo>
                  <a:cubicBezTo>
                    <a:pt x="322" y="90"/>
                    <a:pt x="322" y="90"/>
                    <a:pt x="322" y="90"/>
                  </a:cubicBezTo>
                  <a:cubicBezTo>
                    <a:pt x="298" y="94"/>
                    <a:pt x="274" y="102"/>
                    <a:pt x="252" y="112"/>
                  </a:cubicBezTo>
                  <a:cubicBezTo>
                    <a:pt x="169" y="58"/>
                    <a:pt x="169" y="58"/>
                    <a:pt x="169" y="58"/>
                  </a:cubicBezTo>
                  <a:cubicBezTo>
                    <a:pt x="102" y="114"/>
                    <a:pt x="102" y="114"/>
                    <a:pt x="102" y="114"/>
                  </a:cubicBezTo>
                  <a:cubicBezTo>
                    <a:pt x="139" y="205"/>
                    <a:pt x="139" y="205"/>
                    <a:pt x="139" y="205"/>
                  </a:cubicBezTo>
                  <a:cubicBezTo>
                    <a:pt x="125" y="225"/>
                    <a:pt x="113" y="247"/>
                    <a:pt x="105" y="270"/>
                  </a:cubicBezTo>
                  <a:cubicBezTo>
                    <a:pt x="8" y="291"/>
                    <a:pt x="8" y="291"/>
                    <a:pt x="8" y="291"/>
                  </a:cubicBezTo>
                  <a:cubicBezTo>
                    <a:pt x="0" y="379"/>
                    <a:pt x="0" y="379"/>
                    <a:pt x="0" y="379"/>
                  </a:cubicBezTo>
                  <a:cubicBezTo>
                    <a:pt x="92" y="417"/>
                    <a:pt x="92" y="417"/>
                    <a:pt x="92" y="417"/>
                  </a:cubicBezTo>
                  <a:cubicBezTo>
                    <a:pt x="96" y="441"/>
                    <a:pt x="103" y="464"/>
                    <a:pt x="113" y="485"/>
                  </a:cubicBezTo>
                  <a:cubicBezTo>
                    <a:pt x="59" y="569"/>
                    <a:pt x="59" y="569"/>
                    <a:pt x="59" y="569"/>
                  </a:cubicBezTo>
                  <a:cubicBezTo>
                    <a:pt x="115" y="637"/>
                    <a:pt x="115" y="637"/>
                    <a:pt x="115" y="637"/>
                  </a:cubicBezTo>
                  <a:cubicBezTo>
                    <a:pt x="208" y="599"/>
                    <a:pt x="208" y="599"/>
                    <a:pt x="208" y="599"/>
                  </a:cubicBezTo>
                  <a:cubicBezTo>
                    <a:pt x="226" y="612"/>
                    <a:pt x="247" y="623"/>
                    <a:pt x="269" y="631"/>
                  </a:cubicBezTo>
                  <a:cubicBezTo>
                    <a:pt x="290" y="729"/>
                    <a:pt x="290" y="729"/>
                    <a:pt x="290" y="729"/>
                  </a:cubicBezTo>
                  <a:cubicBezTo>
                    <a:pt x="378" y="738"/>
                    <a:pt x="378" y="738"/>
                    <a:pt x="378" y="738"/>
                  </a:cubicBezTo>
                  <a:cubicBezTo>
                    <a:pt x="417" y="645"/>
                    <a:pt x="417" y="645"/>
                    <a:pt x="417" y="645"/>
                  </a:cubicBezTo>
                  <a:cubicBezTo>
                    <a:pt x="440" y="641"/>
                    <a:pt x="463" y="634"/>
                    <a:pt x="484" y="625"/>
                  </a:cubicBezTo>
                  <a:cubicBezTo>
                    <a:pt x="568" y="679"/>
                    <a:pt x="568" y="679"/>
                    <a:pt x="568" y="679"/>
                  </a:cubicBezTo>
                  <a:cubicBezTo>
                    <a:pt x="636" y="623"/>
                    <a:pt x="636" y="623"/>
                    <a:pt x="636" y="623"/>
                  </a:cubicBezTo>
                  <a:cubicBezTo>
                    <a:pt x="599" y="531"/>
                    <a:pt x="599" y="531"/>
                    <a:pt x="599" y="531"/>
                  </a:cubicBezTo>
                  <a:cubicBezTo>
                    <a:pt x="613" y="511"/>
                    <a:pt x="624" y="489"/>
                    <a:pt x="633" y="465"/>
                  </a:cubicBezTo>
                  <a:lnTo>
                    <a:pt x="730" y="444"/>
                  </a:lnTo>
                  <a:close/>
                  <a:moveTo>
                    <a:pt x="503" y="401"/>
                  </a:moveTo>
                  <a:cubicBezTo>
                    <a:pt x="488" y="463"/>
                    <a:pt x="433" y="505"/>
                    <a:pt x="369" y="505"/>
                  </a:cubicBezTo>
                  <a:cubicBezTo>
                    <a:pt x="369" y="505"/>
                    <a:pt x="369" y="505"/>
                    <a:pt x="369" y="505"/>
                  </a:cubicBezTo>
                  <a:cubicBezTo>
                    <a:pt x="358" y="505"/>
                    <a:pt x="346" y="504"/>
                    <a:pt x="335" y="502"/>
                  </a:cubicBezTo>
                  <a:cubicBezTo>
                    <a:pt x="261" y="483"/>
                    <a:pt x="216" y="408"/>
                    <a:pt x="234" y="334"/>
                  </a:cubicBezTo>
                  <a:cubicBezTo>
                    <a:pt x="250" y="272"/>
                    <a:pt x="305" y="229"/>
                    <a:pt x="369" y="229"/>
                  </a:cubicBezTo>
                  <a:cubicBezTo>
                    <a:pt x="380" y="229"/>
                    <a:pt x="392" y="231"/>
                    <a:pt x="403" y="233"/>
                  </a:cubicBezTo>
                  <a:cubicBezTo>
                    <a:pt x="439" y="242"/>
                    <a:pt x="469" y="265"/>
                    <a:pt x="488" y="297"/>
                  </a:cubicBezTo>
                  <a:cubicBezTo>
                    <a:pt x="507" y="328"/>
                    <a:pt x="512" y="365"/>
                    <a:pt x="503" y="40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5" name="Group 15"/>
          <p:cNvGrpSpPr/>
          <p:nvPr/>
        </p:nvGrpSpPr>
        <p:grpSpPr>
          <a:xfrm>
            <a:off x="10874515" y="2395387"/>
            <a:ext cx="930275" cy="930275"/>
            <a:chOff x="10874515" y="2395387"/>
            <a:chExt cx="930275" cy="930275"/>
          </a:xfrm>
        </p:grpSpPr>
        <p:sp>
          <p:nvSpPr>
            <p:cNvPr id="531" name="Freeform 245"/>
            <p:cNvSpPr>
              <a:spLocks/>
            </p:cNvSpPr>
            <p:nvPr/>
          </p:nvSpPr>
          <p:spPr bwMode="auto">
            <a:xfrm>
              <a:off x="11209477" y="2741462"/>
              <a:ext cx="254000" cy="238125"/>
            </a:xfrm>
            <a:custGeom>
              <a:avLst/>
              <a:gdLst>
                <a:gd name="T0" fmla="*/ 128 w 202"/>
                <a:gd name="T1" fmla="*/ 3 h 189"/>
                <a:gd name="T2" fmla="*/ 104 w 202"/>
                <a:gd name="T3" fmla="*/ 0 h 189"/>
                <a:gd name="T4" fmla="*/ 13 w 202"/>
                <a:gd name="T5" fmla="*/ 71 h 189"/>
                <a:gd name="T6" fmla="*/ 82 w 202"/>
                <a:gd name="T7" fmla="*/ 186 h 189"/>
                <a:gd name="T8" fmla="*/ 105 w 202"/>
                <a:gd name="T9" fmla="*/ 189 h 189"/>
                <a:gd name="T10" fmla="*/ 196 w 202"/>
                <a:gd name="T11" fmla="*/ 117 h 189"/>
                <a:gd name="T12" fmla="*/ 186 w 202"/>
                <a:gd name="T13" fmla="*/ 46 h 189"/>
                <a:gd name="T14" fmla="*/ 128 w 202"/>
                <a:gd name="T15" fmla="*/ 3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02" h="189">
                  <a:moveTo>
                    <a:pt x="128" y="3"/>
                  </a:moveTo>
                  <a:cubicBezTo>
                    <a:pt x="120" y="1"/>
                    <a:pt x="112" y="0"/>
                    <a:pt x="104" y="0"/>
                  </a:cubicBezTo>
                  <a:cubicBezTo>
                    <a:pt x="61" y="0"/>
                    <a:pt x="23" y="29"/>
                    <a:pt x="13" y="71"/>
                  </a:cubicBezTo>
                  <a:cubicBezTo>
                    <a:pt x="0" y="122"/>
                    <a:pt x="31" y="173"/>
                    <a:pt x="82" y="186"/>
                  </a:cubicBezTo>
                  <a:cubicBezTo>
                    <a:pt x="89" y="188"/>
                    <a:pt x="97" y="189"/>
                    <a:pt x="105" y="189"/>
                  </a:cubicBezTo>
                  <a:cubicBezTo>
                    <a:pt x="148" y="189"/>
                    <a:pt x="186" y="160"/>
                    <a:pt x="196" y="117"/>
                  </a:cubicBezTo>
                  <a:cubicBezTo>
                    <a:pt x="202" y="93"/>
                    <a:pt x="199" y="67"/>
                    <a:pt x="186" y="46"/>
                  </a:cubicBezTo>
                  <a:cubicBezTo>
                    <a:pt x="173" y="24"/>
                    <a:pt x="152" y="9"/>
                    <a:pt x="128" y="3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32" name="Freeform 246"/>
            <p:cNvSpPr>
              <a:spLocks noEditPoints="1"/>
            </p:cNvSpPr>
            <p:nvPr/>
          </p:nvSpPr>
          <p:spPr bwMode="auto">
            <a:xfrm>
              <a:off x="10874515" y="2395387"/>
              <a:ext cx="930275" cy="930275"/>
            </a:xfrm>
            <a:custGeom>
              <a:avLst/>
              <a:gdLst>
                <a:gd name="T0" fmla="*/ 730 w 738"/>
                <a:gd name="T1" fmla="*/ 445 h 738"/>
                <a:gd name="T2" fmla="*/ 738 w 738"/>
                <a:gd name="T3" fmla="*/ 357 h 738"/>
                <a:gd name="T4" fmla="*/ 647 w 738"/>
                <a:gd name="T5" fmla="*/ 319 h 738"/>
                <a:gd name="T6" fmla="*/ 625 w 738"/>
                <a:gd name="T7" fmla="*/ 250 h 738"/>
                <a:gd name="T8" fmla="*/ 678 w 738"/>
                <a:gd name="T9" fmla="*/ 168 h 738"/>
                <a:gd name="T10" fmla="*/ 622 w 738"/>
                <a:gd name="T11" fmla="*/ 100 h 738"/>
                <a:gd name="T12" fmla="*/ 530 w 738"/>
                <a:gd name="T13" fmla="*/ 137 h 738"/>
                <a:gd name="T14" fmla="*/ 469 w 738"/>
                <a:gd name="T15" fmla="*/ 105 h 738"/>
                <a:gd name="T16" fmla="*/ 448 w 738"/>
                <a:gd name="T17" fmla="*/ 9 h 738"/>
                <a:gd name="T18" fmla="*/ 360 w 738"/>
                <a:gd name="T19" fmla="*/ 0 h 738"/>
                <a:gd name="T20" fmla="*/ 322 w 738"/>
                <a:gd name="T21" fmla="*/ 91 h 738"/>
                <a:gd name="T22" fmla="*/ 253 w 738"/>
                <a:gd name="T23" fmla="*/ 112 h 738"/>
                <a:gd name="T24" fmla="*/ 170 w 738"/>
                <a:gd name="T25" fmla="*/ 59 h 738"/>
                <a:gd name="T26" fmla="*/ 102 w 738"/>
                <a:gd name="T27" fmla="*/ 115 h 738"/>
                <a:gd name="T28" fmla="*/ 139 w 738"/>
                <a:gd name="T29" fmla="*/ 206 h 738"/>
                <a:gd name="T30" fmla="*/ 105 w 738"/>
                <a:gd name="T31" fmla="*/ 271 h 738"/>
                <a:gd name="T32" fmla="*/ 8 w 738"/>
                <a:gd name="T33" fmla="*/ 292 h 738"/>
                <a:gd name="T34" fmla="*/ 0 w 738"/>
                <a:gd name="T35" fmla="*/ 379 h 738"/>
                <a:gd name="T36" fmla="*/ 92 w 738"/>
                <a:gd name="T37" fmla="*/ 418 h 738"/>
                <a:gd name="T38" fmla="*/ 113 w 738"/>
                <a:gd name="T39" fmla="*/ 486 h 738"/>
                <a:gd name="T40" fmla="*/ 59 w 738"/>
                <a:gd name="T41" fmla="*/ 570 h 738"/>
                <a:gd name="T42" fmla="*/ 116 w 738"/>
                <a:gd name="T43" fmla="*/ 637 h 738"/>
                <a:gd name="T44" fmla="*/ 208 w 738"/>
                <a:gd name="T45" fmla="*/ 599 h 738"/>
                <a:gd name="T46" fmla="*/ 270 w 738"/>
                <a:gd name="T47" fmla="*/ 632 h 738"/>
                <a:gd name="T48" fmla="*/ 291 w 738"/>
                <a:gd name="T49" fmla="*/ 730 h 738"/>
                <a:gd name="T50" fmla="*/ 379 w 738"/>
                <a:gd name="T51" fmla="*/ 738 h 738"/>
                <a:gd name="T52" fmla="*/ 417 w 738"/>
                <a:gd name="T53" fmla="*/ 646 h 738"/>
                <a:gd name="T54" fmla="*/ 485 w 738"/>
                <a:gd name="T55" fmla="*/ 625 h 738"/>
                <a:gd name="T56" fmla="*/ 569 w 738"/>
                <a:gd name="T57" fmla="*/ 680 h 738"/>
                <a:gd name="T58" fmla="*/ 637 w 738"/>
                <a:gd name="T59" fmla="*/ 623 h 738"/>
                <a:gd name="T60" fmla="*/ 599 w 738"/>
                <a:gd name="T61" fmla="*/ 532 h 738"/>
                <a:gd name="T62" fmla="*/ 634 w 738"/>
                <a:gd name="T63" fmla="*/ 466 h 738"/>
                <a:gd name="T64" fmla="*/ 730 w 738"/>
                <a:gd name="T65" fmla="*/ 445 h 738"/>
                <a:gd name="T66" fmla="*/ 504 w 738"/>
                <a:gd name="T67" fmla="*/ 402 h 738"/>
                <a:gd name="T68" fmla="*/ 370 w 738"/>
                <a:gd name="T69" fmla="*/ 507 h 738"/>
                <a:gd name="T70" fmla="*/ 336 w 738"/>
                <a:gd name="T71" fmla="*/ 503 h 738"/>
                <a:gd name="T72" fmla="*/ 235 w 738"/>
                <a:gd name="T73" fmla="*/ 335 h 738"/>
                <a:gd name="T74" fmla="*/ 369 w 738"/>
                <a:gd name="T75" fmla="*/ 230 h 738"/>
                <a:gd name="T76" fmla="*/ 403 w 738"/>
                <a:gd name="T77" fmla="*/ 234 h 738"/>
                <a:gd name="T78" fmla="*/ 488 w 738"/>
                <a:gd name="T79" fmla="*/ 297 h 738"/>
                <a:gd name="T80" fmla="*/ 504 w 738"/>
                <a:gd name="T81" fmla="*/ 402 h 7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738" h="738">
                  <a:moveTo>
                    <a:pt x="730" y="445"/>
                  </a:moveTo>
                  <a:cubicBezTo>
                    <a:pt x="738" y="357"/>
                    <a:pt x="738" y="357"/>
                    <a:pt x="738" y="357"/>
                  </a:cubicBezTo>
                  <a:cubicBezTo>
                    <a:pt x="647" y="319"/>
                    <a:pt x="647" y="319"/>
                    <a:pt x="647" y="319"/>
                  </a:cubicBezTo>
                  <a:cubicBezTo>
                    <a:pt x="643" y="295"/>
                    <a:pt x="635" y="272"/>
                    <a:pt x="625" y="250"/>
                  </a:cubicBezTo>
                  <a:cubicBezTo>
                    <a:pt x="678" y="168"/>
                    <a:pt x="678" y="168"/>
                    <a:pt x="678" y="168"/>
                  </a:cubicBezTo>
                  <a:cubicBezTo>
                    <a:pt x="622" y="100"/>
                    <a:pt x="622" y="100"/>
                    <a:pt x="622" y="100"/>
                  </a:cubicBezTo>
                  <a:cubicBezTo>
                    <a:pt x="530" y="137"/>
                    <a:pt x="530" y="137"/>
                    <a:pt x="530" y="137"/>
                  </a:cubicBezTo>
                  <a:cubicBezTo>
                    <a:pt x="512" y="124"/>
                    <a:pt x="491" y="113"/>
                    <a:pt x="469" y="105"/>
                  </a:cubicBezTo>
                  <a:cubicBezTo>
                    <a:pt x="448" y="9"/>
                    <a:pt x="448" y="9"/>
                    <a:pt x="448" y="9"/>
                  </a:cubicBezTo>
                  <a:cubicBezTo>
                    <a:pt x="360" y="0"/>
                    <a:pt x="360" y="0"/>
                    <a:pt x="360" y="0"/>
                  </a:cubicBezTo>
                  <a:cubicBezTo>
                    <a:pt x="322" y="91"/>
                    <a:pt x="322" y="91"/>
                    <a:pt x="322" y="91"/>
                  </a:cubicBezTo>
                  <a:cubicBezTo>
                    <a:pt x="298" y="95"/>
                    <a:pt x="275" y="102"/>
                    <a:pt x="253" y="112"/>
                  </a:cubicBezTo>
                  <a:cubicBezTo>
                    <a:pt x="170" y="59"/>
                    <a:pt x="170" y="59"/>
                    <a:pt x="170" y="59"/>
                  </a:cubicBezTo>
                  <a:cubicBezTo>
                    <a:pt x="102" y="115"/>
                    <a:pt x="102" y="115"/>
                    <a:pt x="102" y="115"/>
                  </a:cubicBezTo>
                  <a:cubicBezTo>
                    <a:pt x="139" y="206"/>
                    <a:pt x="139" y="206"/>
                    <a:pt x="139" y="206"/>
                  </a:cubicBezTo>
                  <a:cubicBezTo>
                    <a:pt x="125" y="226"/>
                    <a:pt x="114" y="247"/>
                    <a:pt x="105" y="271"/>
                  </a:cubicBezTo>
                  <a:cubicBezTo>
                    <a:pt x="8" y="292"/>
                    <a:pt x="8" y="292"/>
                    <a:pt x="8" y="292"/>
                  </a:cubicBezTo>
                  <a:cubicBezTo>
                    <a:pt x="0" y="379"/>
                    <a:pt x="0" y="379"/>
                    <a:pt x="0" y="379"/>
                  </a:cubicBezTo>
                  <a:cubicBezTo>
                    <a:pt x="92" y="418"/>
                    <a:pt x="92" y="418"/>
                    <a:pt x="92" y="418"/>
                  </a:cubicBezTo>
                  <a:cubicBezTo>
                    <a:pt x="97" y="441"/>
                    <a:pt x="104" y="464"/>
                    <a:pt x="113" y="486"/>
                  </a:cubicBezTo>
                  <a:cubicBezTo>
                    <a:pt x="59" y="570"/>
                    <a:pt x="59" y="570"/>
                    <a:pt x="59" y="570"/>
                  </a:cubicBezTo>
                  <a:cubicBezTo>
                    <a:pt x="116" y="637"/>
                    <a:pt x="116" y="637"/>
                    <a:pt x="116" y="637"/>
                  </a:cubicBezTo>
                  <a:cubicBezTo>
                    <a:pt x="208" y="599"/>
                    <a:pt x="208" y="599"/>
                    <a:pt x="208" y="599"/>
                  </a:cubicBezTo>
                  <a:cubicBezTo>
                    <a:pt x="227" y="612"/>
                    <a:pt x="248" y="623"/>
                    <a:pt x="270" y="632"/>
                  </a:cubicBezTo>
                  <a:cubicBezTo>
                    <a:pt x="291" y="730"/>
                    <a:pt x="291" y="730"/>
                    <a:pt x="291" y="730"/>
                  </a:cubicBezTo>
                  <a:cubicBezTo>
                    <a:pt x="379" y="738"/>
                    <a:pt x="379" y="738"/>
                    <a:pt x="379" y="738"/>
                  </a:cubicBezTo>
                  <a:cubicBezTo>
                    <a:pt x="417" y="646"/>
                    <a:pt x="417" y="646"/>
                    <a:pt x="417" y="646"/>
                  </a:cubicBezTo>
                  <a:cubicBezTo>
                    <a:pt x="441" y="642"/>
                    <a:pt x="463" y="635"/>
                    <a:pt x="485" y="625"/>
                  </a:cubicBezTo>
                  <a:cubicBezTo>
                    <a:pt x="569" y="680"/>
                    <a:pt x="569" y="680"/>
                    <a:pt x="569" y="680"/>
                  </a:cubicBezTo>
                  <a:cubicBezTo>
                    <a:pt x="637" y="623"/>
                    <a:pt x="637" y="623"/>
                    <a:pt x="637" y="623"/>
                  </a:cubicBezTo>
                  <a:cubicBezTo>
                    <a:pt x="599" y="532"/>
                    <a:pt x="599" y="532"/>
                    <a:pt x="599" y="532"/>
                  </a:cubicBezTo>
                  <a:cubicBezTo>
                    <a:pt x="613" y="512"/>
                    <a:pt x="625" y="490"/>
                    <a:pt x="634" y="466"/>
                  </a:cubicBezTo>
                  <a:lnTo>
                    <a:pt x="730" y="445"/>
                  </a:lnTo>
                  <a:close/>
                  <a:moveTo>
                    <a:pt x="504" y="402"/>
                  </a:moveTo>
                  <a:cubicBezTo>
                    <a:pt x="489" y="464"/>
                    <a:pt x="433" y="507"/>
                    <a:pt x="370" y="507"/>
                  </a:cubicBezTo>
                  <a:cubicBezTo>
                    <a:pt x="358" y="507"/>
                    <a:pt x="347" y="506"/>
                    <a:pt x="336" y="503"/>
                  </a:cubicBezTo>
                  <a:cubicBezTo>
                    <a:pt x="262" y="484"/>
                    <a:pt x="217" y="409"/>
                    <a:pt x="235" y="335"/>
                  </a:cubicBezTo>
                  <a:cubicBezTo>
                    <a:pt x="251" y="273"/>
                    <a:pt x="306" y="230"/>
                    <a:pt x="369" y="230"/>
                  </a:cubicBezTo>
                  <a:cubicBezTo>
                    <a:pt x="381" y="230"/>
                    <a:pt x="392" y="231"/>
                    <a:pt x="403" y="234"/>
                  </a:cubicBezTo>
                  <a:cubicBezTo>
                    <a:pt x="439" y="243"/>
                    <a:pt x="469" y="265"/>
                    <a:pt x="488" y="297"/>
                  </a:cubicBezTo>
                  <a:cubicBezTo>
                    <a:pt x="508" y="329"/>
                    <a:pt x="513" y="366"/>
                    <a:pt x="504" y="402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6" name="Group 19"/>
          <p:cNvGrpSpPr/>
          <p:nvPr/>
        </p:nvGrpSpPr>
        <p:grpSpPr>
          <a:xfrm>
            <a:off x="7488377" y="2179487"/>
            <a:ext cx="2319338" cy="2319337"/>
            <a:chOff x="7488377" y="2179487"/>
            <a:chExt cx="2319338" cy="2319337"/>
          </a:xfrm>
        </p:grpSpPr>
        <p:sp>
          <p:nvSpPr>
            <p:cNvPr id="508" name="Freeform 240"/>
            <p:cNvSpPr>
              <a:spLocks noEditPoints="1"/>
            </p:cNvSpPr>
            <p:nvPr/>
          </p:nvSpPr>
          <p:spPr bwMode="auto">
            <a:xfrm>
              <a:off x="7488377" y="2179487"/>
              <a:ext cx="2319338" cy="2319337"/>
            </a:xfrm>
            <a:custGeom>
              <a:avLst/>
              <a:gdLst>
                <a:gd name="T0" fmla="*/ 1840 w 1840"/>
                <a:gd name="T1" fmla="*/ 964 h 1840"/>
                <a:gd name="T2" fmla="*/ 1682 w 1840"/>
                <a:gd name="T3" fmla="*/ 808 h 1840"/>
                <a:gd name="T4" fmla="*/ 1791 w 1840"/>
                <a:gd name="T5" fmla="*/ 614 h 1840"/>
                <a:gd name="T6" fmla="*/ 1578 w 1840"/>
                <a:gd name="T7" fmla="*/ 521 h 1840"/>
                <a:gd name="T8" fmla="*/ 1602 w 1840"/>
                <a:gd name="T9" fmla="*/ 301 h 1840"/>
                <a:gd name="T10" fmla="*/ 1379 w 1840"/>
                <a:gd name="T11" fmla="*/ 303 h 1840"/>
                <a:gd name="T12" fmla="*/ 1318 w 1840"/>
                <a:gd name="T13" fmla="*/ 90 h 1840"/>
                <a:gd name="T14" fmla="*/ 1103 w 1840"/>
                <a:gd name="T15" fmla="*/ 173 h 1840"/>
                <a:gd name="T16" fmla="*/ 964 w 1840"/>
                <a:gd name="T17" fmla="*/ 0 h 1840"/>
                <a:gd name="T18" fmla="*/ 808 w 1840"/>
                <a:gd name="T19" fmla="*/ 159 h 1840"/>
                <a:gd name="T20" fmla="*/ 613 w 1840"/>
                <a:gd name="T21" fmla="*/ 49 h 1840"/>
                <a:gd name="T22" fmla="*/ 521 w 1840"/>
                <a:gd name="T23" fmla="*/ 262 h 1840"/>
                <a:gd name="T24" fmla="*/ 301 w 1840"/>
                <a:gd name="T25" fmla="*/ 239 h 1840"/>
                <a:gd name="T26" fmla="*/ 303 w 1840"/>
                <a:gd name="T27" fmla="*/ 461 h 1840"/>
                <a:gd name="T28" fmla="*/ 89 w 1840"/>
                <a:gd name="T29" fmla="*/ 522 h 1840"/>
                <a:gd name="T30" fmla="*/ 173 w 1840"/>
                <a:gd name="T31" fmla="*/ 737 h 1840"/>
                <a:gd name="T32" fmla="*/ 0 w 1840"/>
                <a:gd name="T33" fmla="*/ 877 h 1840"/>
                <a:gd name="T34" fmla="*/ 159 w 1840"/>
                <a:gd name="T35" fmla="*/ 1032 h 1840"/>
                <a:gd name="T36" fmla="*/ 49 w 1840"/>
                <a:gd name="T37" fmla="*/ 1227 h 1840"/>
                <a:gd name="T38" fmla="*/ 262 w 1840"/>
                <a:gd name="T39" fmla="*/ 1320 h 1840"/>
                <a:gd name="T40" fmla="*/ 239 w 1840"/>
                <a:gd name="T41" fmla="*/ 1540 h 1840"/>
                <a:gd name="T42" fmla="*/ 461 w 1840"/>
                <a:gd name="T43" fmla="*/ 1538 h 1840"/>
                <a:gd name="T44" fmla="*/ 522 w 1840"/>
                <a:gd name="T45" fmla="*/ 1751 h 1840"/>
                <a:gd name="T46" fmla="*/ 737 w 1840"/>
                <a:gd name="T47" fmla="*/ 1668 h 1840"/>
                <a:gd name="T48" fmla="*/ 876 w 1840"/>
                <a:gd name="T49" fmla="*/ 1840 h 1840"/>
                <a:gd name="T50" fmla="*/ 1032 w 1840"/>
                <a:gd name="T51" fmla="*/ 1682 h 1840"/>
                <a:gd name="T52" fmla="*/ 1227 w 1840"/>
                <a:gd name="T53" fmla="*/ 1791 h 1840"/>
                <a:gd name="T54" fmla="*/ 1319 w 1840"/>
                <a:gd name="T55" fmla="*/ 1579 h 1840"/>
                <a:gd name="T56" fmla="*/ 1540 w 1840"/>
                <a:gd name="T57" fmla="*/ 1602 h 1840"/>
                <a:gd name="T58" fmla="*/ 1538 w 1840"/>
                <a:gd name="T59" fmla="*/ 1380 h 1840"/>
                <a:gd name="T60" fmla="*/ 1751 w 1840"/>
                <a:gd name="T61" fmla="*/ 1318 h 1840"/>
                <a:gd name="T62" fmla="*/ 1668 w 1840"/>
                <a:gd name="T63" fmla="*/ 1104 h 1840"/>
                <a:gd name="T64" fmla="*/ 1081 w 1840"/>
                <a:gd name="T65" fmla="*/ 1490 h 1840"/>
                <a:gd name="T66" fmla="*/ 759 w 1840"/>
                <a:gd name="T67" fmla="*/ 351 h 1840"/>
                <a:gd name="T68" fmla="*/ 1081 w 1840"/>
                <a:gd name="T69" fmla="*/ 1490 h 1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840" h="1840">
                  <a:moveTo>
                    <a:pt x="1827" y="1080"/>
                  </a:moveTo>
                  <a:cubicBezTo>
                    <a:pt x="1840" y="964"/>
                    <a:pt x="1840" y="964"/>
                    <a:pt x="1840" y="964"/>
                  </a:cubicBezTo>
                  <a:cubicBezTo>
                    <a:pt x="1690" y="906"/>
                    <a:pt x="1690" y="906"/>
                    <a:pt x="1690" y="906"/>
                  </a:cubicBezTo>
                  <a:cubicBezTo>
                    <a:pt x="1689" y="874"/>
                    <a:pt x="1687" y="841"/>
                    <a:pt x="1682" y="808"/>
                  </a:cubicBezTo>
                  <a:cubicBezTo>
                    <a:pt x="1823" y="726"/>
                    <a:pt x="1823" y="726"/>
                    <a:pt x="1823" y="726"/>
                  </a:cubicBezTo>
                  <a:cubicBezTo>
                    <a:pt x="1791" y="614"/>
                    <a:pt x="1791" y="614"/>
                    <a:pt x="1791" y="614"/>
                  </a:cubicBezTo>
                  <a:cubicBezTo>
                    <a:pt x="1628" y="618"/>
                    <a:pt x="1628" y="618"/>
                    <a:pt x="1628" y="618"/>
                  </a:cubicBezTo>
                  <a:cubicBezTo>
                    <a:pt x="1614" y="584"/>
                    <a:pt x="1597" y="552"/>
                    <a:pt x="1578" y="521"/>
                  </a:cubicBezTo>
                  <a:cubicBezTo>
                    <a:pt x="1675" y="392"/>
                    <a:pt x="1675" y="392"/>
                    <a:pt x="1675" y="392"/>
                  </a:cubicBezTo>
                  <a:cubicBezTo>
                    <a:pt x="1602" y="301"/>
                    <a:pt x="1602" y="301"/>
                    <a:pt x="1602" y="301"/>
                  </a:cubicBezTo>
                  <a:cubicBezTo>
                    <a:pt x="1455" y="366"/>
                    <a:pt x="1455" y="366"/>
                    <a:pt x="1455" y="366"/>
                  </a:cubicBezTo>
                  <a:cubicBezTo>
                    <a:pt x="1431" y="344"/>
                    <a:pt x="1406" y="322"/>
                    <a:pt x="1379" y="303"/>
                  </a:cubicBezTo>
                  <a:cubicBezTo>
                    <a:pt x="1420" y="147"/>
                    <a:pt x="1420" y="147"/>
                    <a:pt x="1420" y="147"/>
                  </a:cubicBezTo>
                  <a:cubicBezTo>
                    <a:pt x="1318" y="90"/>
                    <a:pt x="1318" y="90"/>
                    <a:pt x="1318" y="90"/>
                  </a:cubicBezTo>
                  <a:cubicBezTo>
                    <a:pt x="1206" y="206"/>
                    <a:pt x="1206" y="206"/>
                    <a:pt x="1206" y="206"/>
                  </a:cubicBezTo>
                  <a:cubicBezTo>
                    <a:pt x="1173" y="193"/>
                    <a:pt x="1139" y="181"/>
                    <a:pt x="1103" y="173"/>
                  </a:cubicBezTo>
                  <a:cubicBezTo>
                    <a:pt x="1080" y="13"/>
                    <a:pt x="1080" y="13"/>
                    <a:pt x="1080" y="13"/>
                  </a:cubicBezTo>
                  <a:cubicBezTo>
                    <a:pt x="964" y="0"/>
                    <a:pt x="964" y="0"/>
                    <a:pt x="964" y="0"/>
                  </a:cubicBezTo>
                  <a:cubicBezTo>
                    <a:pt x="906" y="151"/>
                    <a:pt x="906" y="151"/>
                    <a:pt x="906" y="151"/>
                  </a:cubicBezTo>
                  <a:cubicBezTo>
                    <a:pt x="874" y="151"/>
                    <a:pt x="841" y="154"/>
                    <a:pt x="808" y="159"/>
                  </a:cubicBezTo>
                  <a:cubicBezTo>
                    <a:pt x="726" y="17"/>
                    <a:pt x="726" y="17"/>
                    <a:pt x="726" y="17"/>
                  </a:cubicBezTo>
                  <a:cubicBezTo>
                    <a:pt x="613" y="49"/>
                    <a:pt x="613" y="49"/>
                    <a:pt x="613" y="49"/>
                  </a:cubicBezTo>
                  <a:cubicBezTo>
                    <a:pt x="617" y="213"/>
                    <a:pt x="617" y="213"/>
                    <a:pt x="617" y="213"/>
                  </a:cubicBezTo>
                  <a:cubicBezTo>
                    <a:pt x="584" y="227"/>
                    <a:pt x="552" y="244"/>
                    <a:pt x="521" y="262"/>
                  </a:cubicBezTo>
                  <a:cubicBezTo>
                    <a:pt x="392" y="166"/>
                    <a:pt x="392" y="166"/>
                    <a:pt x="392" y="166"/>
                  </a:cubicBezTo>
                  <a:cubicBezTo>
                    <a:pt x="301" y="239"/>
                    <a:pt x="301" y="239"/>
                    <a:pt x="301" y="239"/>
                  </a:cubicBezTo>
                  <a:cubicBezTo>
                    <a:pt x="366" y="386"/>
                    <a:pt x="366" y="386"/>
                    <a:pt x="366" y="386"/>
                  </a:cubicBezTo>
                  <a:cubicBezTo>
                    <a:pt x="343" y="410"/>
                    <a:pt x="322" y="435"/>
                    <a:pt x="303" y="461"/>
                  </a:cubicBezTo>
                  <a:cubicBezTo>
                    <a:pt x="147" y="420"/>
                    <a:pt x="147" y="420"/>
                    <a:pt x="147" y="420"/>
                  </a:cubicBezTo>
                  <a:cubicBezTo>
                    <a:pt x="89" y="522"/>
                    <a:pt x="89" y="522"/>
                    <a:pt x="89" y="522"/>
                  </a:cubicBezTo>
                  <a:cubicBezTo>
                    <a:pt x="206" y="634"/>
                    <a:pt x="206" y="634"/>
                    <a:pt x="206" y="634"/>
                  </a:cubicBezTo>
                  <a:cubicBezTo>
                    <a:pt x="192" y="668"/>
                    <a:pt x="181" y="702"/>
                    <a:pt x="173" y="737"/>
                  </a:cubicBezTo>
                  <a:cubicBezTo>
                    <a:pt x="13" y="760"/>
                    <a:pt x="13" y="760"/>
                    <a:pt x="13" y="760"/>
                  </a:cubicBezTo>
                  <a:cubicBezTo>
                    <a:pt x="0" y="877"/>
                    <a:pt x="0" y="877"/>
                    <a:pt x="0" y="877"/>
                  </a:cubicBezTo>
                  <a:cubicBezTo>
                    <a:pt x="151" y="934"/>
                    <a:pt x="151" y="934"/>
                    <a:pt x="151" y="934"/>
                  </a:cubicBezTo>
                  <a:cubicBezTo>
                    <a:pt x="151" y="967"/>
                    <a:pt x="154" y="1000"/>
                    <a:pt x="159" y="1032"/>
                  </a:cubicBezTo>
                  <a:cubicBezTo>
                    <a:pt x="17" y="1115"/>
                    <a:pt x="17" y="1115"/>
                    <a:pt x="17" y="1115"/>
                  </a:cubicBezTo>
                  <a:cubicBezTo>
                    <a:pt x="49" y="1227"/>
                    <a:pt x="49" y="1227"/>
                    <a:pt x="49" y="1227"/>
                  </a:cubicBezTo>
                  <a:cubicBezTo>
                    <a:pt x="212" y="1223"/>
                    <a:pt x="212" y="1223"/>
                    <a:pt x="212" y="1223"/>
                  </a:cubicBezTo>
                  <a:cubicBezTo>
                    <a:pt x="227" y="1257"/>
                    <a:pt x="243" y="1289"/>
                    <a:pt x="262" y="1320"/>
                  </a:cubicBezTo>
                  <a:cubicBezTo>
                    <a:pt x="166" y="1449"/>
                    <a:pt x="166" y="1449"/>
                    <a:pt x="166" y="1449"/>
                  </a:cubicBezTo>
                  <a:cubicBezTo>
                    <a:pt x="239" y="1540"/>
                    <a:pt x="239" y="1540"/>
                    <a:pt x="239" y="1540"/>
                  </a:cubicBezTo>
                  <a:cubicBezTo>
                    <a:pt x="386" y="1474"/>
                    <a:pt x="386" y="1474"/>
                    <a:pt x="386" y="1474"/>
                  </a:cubicBezTo>
                  <a:cubicBezTo>
                    <a:pt x="410" y="1497"/>
                    <a:pt x="435" y="1518"/>
                    <a:pt x="461" y="1538"/>
                  </a:cubicBezTo>
                  <a:cubicBezTo>
                    <a:pt x="420" y="1694"/>
                    <a:pt x="420" y="1694"/>
                    <a:pt x="420" y="1694"/>
                  </a:cubicBezTo>
                  <a:cubicBezTo>
                    <a:pt x="522" y="1751"/>
                    <a:pt x="522" y="1751"/>
                    <a:pt x="522" y="1751"/>
                  </a:cubicBezTo>
                  <a:cubicBezTo>
                    <a:pt x="634" y="1635"/>
                    <a:pt x="634" y="1635"/>
                    <a:pt x="634" y="1635"/>
                  </a:cubicBezTo>
                  <a:cubicBezTo>
                    <a:pt x="667" y="1648"/>
                    <a:pt x="702" y="1659"/>
                    <a:pt x="737" y="1668"/>
                  </a:cubicBezTo>
                  <a:cubicBezTo>
                    <a:pt x="760" y="1827"/>
                    <a:pt x="760" y="1827"/>
                    <a:pt x="760" y="1827"/>
                  </a:cubicBezTo>
                  <a:cubicBezTo>
                    <a:pt x="876" y="1840"/>
                    <a:pt x="876" y="1840"/>
                    <a:pt x="876" y="1840"/>
                  </a:cubicBezTo>
                  <a:cubicBezTo>
                    <a:pt x="934" y="1690"/>
                    <a:pt x="934" y="1690"/>
                    <a:pt x="934" y="1690"/>
                  </a:cubicBezTo>
                  <a:cubicBezTo>
                    <a:pt x="967" y="1689"/>
                    <a:pt x="1000" y="1687"/>
                    <a:pt x="1032" y="1682"/>
                  </a:cubicBezTo>
                  <a:cubicBezTo>
                    <a:pt x="1114" y="1823"/>
                    <a:pt x="1114" y="1823"/>
                    <a:pt x="1114" y="1823"/>
                  </a:cubicBezTo>
                  <a:cubicBezTo>
                    <a:pt x="1227" y="1791"/>
                    <a:pt x="1227" y="1791"/>
                    <a:pt x="1227" y="1791"/>
                  </a:cubicBezTo>
                  <a:cubicBezTo>
                    <a:pt x="1223" y="1628"/>
                    <a:pt x="1223" y="1628"/>
                    <a:pt x="1223" y="1628"/>
                  </a:cubicBezTo>
                  <a:cubicBezTo>
                    <a:pt x="1256" y="1614"/>
                    <a:pt x="1289" y="1597"/>
                    <a:pt x="1319" y="1579"/>
                  </a:cubicBezTo>
                  <a:cubicBezTo>
                    <a:pt x="1448" y="1675"/>
                    <a:pt x="1448" y="1675"/>
                    <a:pt x="1448" y="1675"/>
                  </a:cubicBezTo>
                  <a:cubicBezTo>
                    <a:pt x="1540" y="1602"/>
                    <a:pt x="1540" y="1602"/>
                    <a:pt x="1540" y="1602"/>
                  </a:cubicBezTo>
                  <a:cubicBezTo>
                    <a:pt x="1474" y="1455"/>
                    <a:pt x="1474" y="1455"/>
                    <a:pt x="1474" y="1455"/>
                  </a:cubicBezTo>
                  <a:cubicBezTo>
                    <a:pt x="1497" y="1431"/>
                    <a:pt x="1518" y="1406"/>
                    <a:pt x="1538" y="1380"/>
                  </a:cubicBezTo>
                  <a:cubicBezTo>
                    <a:pt x="1694" y="1420"/>
                    <a:pt x="1694" y="1420"/>
                    <a:pt x="1694" y="1420"/>
                  </a:cubicBezTo>
                  <a:cubicBezTo>
                    <a:pt x="1751" y="1318"/>
                    <a:pt x="1751" y="1318"/>
                    <a:pt x="1751" y="1318"/>
                  </a:cubicBezTo>
                  <a:cubicBezTo>
                    <a:pt x="1635" y="1207"/>
                    <a:pt x="1635" y="1207"/>
                    <a:pt x="1635" y="1207"/>
                  </a:cubicBezTo>
                  <a:cubicBezTo>
                    <a:pt x="1648" y="1173"/>
                    <a:pt x="1659" y="1139"/>
                    <a:pt x="1668" y="1104"/>
                  </a:cubicBezTo>
                  <a:lnTo>
                    <a:pt x="1827" y="1080"/>
                  </a:lnTo>
                  <a:close/>
                  <a:moveTo>
                    <a:pt x="1081" y="1490"/>
                  </a:moveTo>
                  <a:cubicBezTo>
                    <a:pt x="766" y="1579"/>
                    <a:pt x="439" y="1396"/>
                    <a:pt x="350" y="1081"/>
                  </a:cubicBezTo>
                  <a:cubicBezTo>
                    <a:pt x="262" y="767"/>
                    <a:pt x="445" y="439"/>
                    <a:pt x="759" y="351"/>
                  </a:cubicBezTo>
                  <a:cubicBezTo>
                    <a:pt x="1074" y="262"/>
                    <a:pt x="1401" y="445"/>
                    <a:pt x="1490" y="760"/>
                  </a:cubicBezTo>
                  <a:cubicBezTo>
                    <a:pt x="1579" y="1074"/>
                    <a:pt x="1396" y="1401"/>
                    <a:pt x="1081" y="149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33" name="Freeform 247"/>
            <p:cNvSpPr>
              <a:spLocks noEditPoints="1"/>
            </p:cNvSpPr>
            <p:nvPr/>
          </p:nvSpPr>
          <p:spPr bwMode="auto">
            <a:xfrm>
              <a:off x="8332927" y="3025625"/>
              <a:ext cx="630238" cy="628650"/>
            </a:xfrm>
            <a:custGeom>
              <a:avLst/>
              <a:gdLst>
                <a:gd name="T0" fmla="*/ 250 w 500"/>
                <a:gd name="T1" fmla="*/ 499 h 499"/>
                <a:gd name="T2" fmla="*/ 0 w 500"/>
                <a:gd name="T3" fmla="*/ 249 h 499"/>
                <a:gd name="T4" fmla="*/ 250 w 500"/>
                <a:gd name="T5" fmla="*/ 0 h 499"/>
                <a:gd name="T6" fmla="*/ 500 w 500"/>
                <a:gd name="T7" fmla="*/ 249 h 499"/>
                <a:gd name="T8" fmla="*/ 250 w 500"/>
                <a:gd name="T9" fmla="*/ 499 h 499"/>
                <a:gd name="T10" fmla="*/ 250 w 500"/>
                <a:gd name="T11" fmla="*/ 140 h 499"/>
                <a:gd name="T12" fmla="*/ 140 w 500"/>
                <a:gd name="T13" fmla="*/ 249 h 499"/>
                <a:gd name="T14" fmla="*/ 250 w 500"/>
                <a:gd name="T15" fmla="*/ 359 h 499"/>
                <a:gd name="T16" fmla="*/ 360 w 500"/>
                <a:gd name="T17" fmla="*/ 249 h 499"/>
                <a:gd name="T18" fmla="*/ 250 w 500"/>
                <a:gd name="T19" fmla="*/ 140 h 4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00" h="499">
                  <a:moveTo>
                    <a:pt x="250" y="499"/>
                  </a:moveTo>
                  <a:cubicBezTo>
                    <a:pt x="112" y="499"/>
                    <a:pt x="0" y="387"/>
                    <a:pt x="0" y="249"/>
                  </a:cubicBezTo>
                  <a:cubicBezTo>
                    <a:pt x="0" y="112"/>
                    <a:pt x="112" y="0"/>
                    <a:pt x="250" y="0"/>
                  </a:cubicBezTo>
                  <a:cubicBezTo>
                    <a:pt x="388" y="0"/>
                    <a:pt x="500" y="112"/>
                    <a:pt x="500" y="249"/>
                  </a:cubicBezTo>
                  <a:cubicBezTo>
                    <a:pt x="500" y="387"/>
                    <a:pt x="388" y="499"/>
                    <a:pt x="250" y="499"/>
                  </a:cubicBezTo>
                  <a:close/>
                  <a:moveTo>
                    <a:pt x="250" y="140"/>
                  </a:moveTo>
                  <a:cubicBezTo>
                    <a:pt x="190" y="140"/>
                    <a:pt x="140" y="189"/>
                    <a:pt x="140" y="249"/>
                  </a:cubicBezTo>
                  <a:cubicBezTo>
                    <a:pt x="140" y="310"/>
                    <a:pt x="190" y="359"/>
                    <a:pt x="250" y="359"/>
                  </a:cubicBezTo>
                  <a:cubicBezTo>
                    <a:pt x="311" y="359"/>
                    <a:pt x="360" y="310"/>
                    <a:pt x="360" y="249"/>
                  </a:cubicBezTo>
                  <a:cubicBezTo>
                    <a:pt x="360" y="189"/>
                    <a:pt x="311" y="140"/>
                    <a:pt x="250" y="14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7" name="Group 16"/>
          <p:cNvGrpSpPr/>
          <p:nvPr/>
        </p:nvGrpSpPr>
        <p:grpSpPr>
          <a:xfrm>
            <a:off x="9367977" y="3165325"/>
            <a:ext cx="2667000" cy="2667000"/>
            <a:chOff x="9367977" y="3165325"/>
            <a:chExt cx="2667000" cy="2667000"/>
          </a:xfrm>
        </p:grpSpPr>
        <p:sp>
          <p:nvSpPr>
            <p:cNvPr id="507" name="Freeform 239"/>
            <p:cNvSpPr>
              <a:spLocks noEditPoints="1"/>
            </p:cNvSpPr>
            <p:nvPr/>
          </p:nvSpPr>
          <p:spPr bwMode="auto">
            <a:xfrm>
              <a:off x="9367977" y="3165325"/>
              <a:ext cx="2667000" cy="2667000"/>
            </a:xfrm>
            <a:custGeom>
              <a:avLst/>
              <a:gdLst>
                <a:gd name="T0" fmla="*/ 2116 w 2116"/>
                <a:gd name="T1" fmla="*/ 1052 h 2116"/>
                <a:gd name="T2" fmla="*/ 1925 w 2116"/>
                <a:gd name="T3" fmla="*/ 883 h 2116"/>
                <a:gd name="T4" fmla="*/ 2038 w 2116"/>
                <a:gd name="T5" fmla="*/ 652 h 2116"/>
                <a:gd name="T6" fmla="*/ 1795 w 2116"/>
                <a:gd name="T7" fmla="*/ 570 h 2116"/>
                <a:gd name="T8" fmla="*/ 1802 w 2116"/>
                <a:gd name="T9" fmla="*/ 305 h 2116"/>
                <a:gd name="T10" fmla="*/ 1548 w 2116"/>
                <a:gd name="T11" fmla="*/ 321 h 2116"/>
                <a:gd name="T12" fmla="*/ 1464 w 2116"/>
                <a:gd name="T13" fmla="*/ 80 h 2116"/>
                <a:gd name="T14" fmla="*/ 1234 w 2116"/>
                <a:gd name="T15" fmla="*/ 191 h 2116"/>
                <a:gd name="T16" fmla="*/ 1052 w 2116"/>
                <a:gd name="T17" fmla="*/ 0 h 2116"/>
                <a:gd name="T18" fmla="*/ 884 w 2116"/>
                <a:gd name="T19" fmla="*/ 191 h 2116"/>
                <a:gd name="T20" fmla="*/ 653 w 2116"/>
                <a:gd name="T21" fmla="*/ 78 h 2116"/>
                <a:gd name="T22" fmla="*/ 570 w 2116"/>
                <a:gd name="T23" fmla="*/ 321 h 2116"/>
                <a:gd name="T24" fmla="*/ 305 w 2116"/>
                <a:gd name="T25" fmla="*/ 314 h 2116"/>
                <a:gd name="T26" fmla="*/ 322 w 2116"/>
                <a:gd name="T27" fmla="*/ 568 h 2116"/>
                <a:gd name="T28" fmla="*/ 81 w 2116"/>
                <a:gd name="T29" fmla="*/ 652 h 2116"/>
                <a:gd name="T30" fmla="*/ 192 w 2116"/>
                <a:gd name="T31" fmla="*/ 882 h 2116"/>
                <a:gd name="T32" fmla="*/ 0 w 2116"/>
                <a:gd name="T33" fmla="*/ 1064 h 2116"/>
                <a:gd name="T34" fmla="*/ 191 w 2116"/>
                <a:gd name="T35" fmla="*/ 1233 h 2116"/>
                <a:gd name="T36" fmla="*/ 78 w 2116"/>
                <a:gd name="T37" fmla="*/ 1463 h 2116"/>
                <a:gd name="T38" fmla="*/ 321 w 2116"/>
                <a:gd name="T39" fmla="*/ 1546 h 2116"/>
                <a:gd name="T40" fmla="*/ 314 w 2116"/>
                <a:gd name="T41" fmla="*/ 1811 h 2116"/>
                <a:gd name="T42" fmla="*/ 569 w 2116"/>
                <a:gd name="T43" fmla="*/ 1794 h 2116"/>
                <a:gd name="T44" fmla="*/ 653 w 2116"/>
                <a:gd name="T45" fmla="*/ 2035 h 2116"/>
                <a:gd name="T46" fmla="*/ 882 w 2116"/>
                <a:gd name="T47" fmla="*/ 1925 h 2116"/>
                <a:gd name="T48" fmla="*/ 1064 w 2116"/>
                <a:gd name="T49" fmla="*/ 2116 h 2116"/>
                <a:gd name="T50" fmla="*/ 1233 w 2116"/>
                <a:gd name="T51" fmla="*/ 1925 h 2116"/>
                <a:gd name="T52" fmla="*/ 1464 w 2116"/>
                <a:gd name="T53" fmla="*/ 2038 h 2116"/>
                <a:gd name="T54" fmla="*/ 1546 w 2116"/>
                <a:gd name="T55" fmla="*/ 1795 h 2116"/>
                <a:gd name="T56" fmla="*/ 1811 w 2116"/>
                <a:gd name="T57" fmla="*/ 1802 h 2116"/>
                <a:gd name="T58" fmla="*/ 1795 w 2116"/>
                <a:gd name="T59" fmla="*/ 1547 h 2116"/>
                <a:gd name="T60" fmla="*/ 2036 w 2116"/>
                <a:gd name="T61" fmla="*/ 1463 h 2116"/>
                <a:gd name="T62" fmla="*/ 1925 w 2116"/>
                <a:gd name="T63" fmla="*/ 1234 h 2116"/>
                <a:gd name="T64" fmla="*/ 1358 w 2116"/>
                <a:gd name="T65" fmla="*/ 1669 h 2116"/>
                <a:gd name="T66" fmla="*/ 759 w 2116"/>
                <a:gd name="T67" fmla="*/ 447 h 2116"/>
                <a:gd name="T68" fmla="*/ 1358 w 2116"/>
                <a:gd name="T69" fmla="*/ 1669 h 2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116" h="2116">
                  <a:moveTo>
                    <a:pt x="1941" y="1111"/>
                  </a:moveTo>
                  <a:cubicBezTo>
                    <a:pt x="2116" y="1052"/>
                    <a:pt x="2116" y="1052"/>
                    <a:pt x="2116" y="1052"/>
                  </a:cubicBezTo>
                  <a:cubicBezTo>
                    <a:pt x="2107" y="917"/>
                    <a:pt x="2107" y="917"/>
                    <a:pt x="2107" y="917"/>
                  </a:cubicBezTo>
                  <a:cubicBezTo>
                    <a:pt x="1925" y="883"/>
                    <a:pt x="1925" y="883"/>
                    <a:pt x="1925" y="883"/>
                  </a:cubicBezTo>
                  <a:cubicBezTo>
                    <a:pt x="1918" y="847"/>
                    <a:pt x="1908" y="810"/>
                    <a:pt x="1896" y="774"/>
                  </a:cubicBezTo>
                  <a:cubicBezTo>
                    <a:pt x="2038" y="652"/>
                    <a:pt x="2038" y="652"/>
                    <a:pt x="2038" y="652"/>
                  </a:cubicBezTo>
                  <a:cubicBezTo>
                    <a:pt x="1979" y="532"/>
                    <a:pt x="1979" y="532"/>
                    <a:pt x="1979" y="532"/>
                  </a:cubicBezTo>
                  <a:cubicBezTo>
                    <a:pt x="1795" y="570"/>
                    <a:pt x="1795" y="570"/>
                    <a:pt x="1795" y="570"/>
                  </a:cubicBezTo>
                  <a:cubicBezTo>
                    <a:pt x="1772" y="535"/>
                    <a:pt x="1747" y="502"/>
                    <a:pt x="1720" y="471"/>
                  </a:cubicBezTo>
                  <a:cubicBezTo>
                    <a:pt x="1802" y="305"/>
                    <a:pt x="1802" y="305"/>
                    <a:pt x="1802" y="305"/>
                  </a:cubicBezTo>
                  <a:cubicBezTo>
                    <a:pt x="1700" y="217"/>
                    <a:pt x="1700" y="217"/>
                    <a:pt x="1700" y="217"/>
                  </a:cubicBezTo>
                  <a:cubicBezTo>
                    <a:pt x="1548" y="321"/>
                    <a:pt x="1548" y="321"/>
                    <a:pt x="1548" y="321"/>
                  </a:cubicBezTo>
                  <a:cubicBezTo>
                    <a:pt x="1516" y="301"/>
                    <a:pt x="1483" y="282"/>
                    <a:pt x="1450" y="265"/>
                  </a:cubicBezTo>
                  <a:cubicBezTo>
                    <a:pt x="1464" y="80"/>
                    <a:pt x="1464" y="80"/>
                    <a:pt x="1464" y="80"/>
                  </a:cubicBezTo>
                  <a:cubicBezTo>
                    <a:pt x="1336" y="37"/>
                    <a:pt x="1336" y="37"/>
                    <a:pt x="1336" y="37"/>
                  </a:cubicBezTo>
                  <a:cubicBezTo>
                    <a:pt x="1234" y="191"/>
                    <a:pt x="1234" y="191"/>
                    <a:pt x="1234" y="191"/>
                  </a:cubicBezTo>
                  <a:cubicBezTo>
                    <a:pt x="1194" y="183"/>
                    <a:pt x="1152" y="178"/>
                    <a:pt x="1111" y="175"/>
                  </a:cubicBezTo>
                  <a:cubicBezTo>
                    <a:pt x="1052" y="0"/>
                    <a:pt x="1052" y="0"/>
                    <a:pt x="1052" y="0"/>
                  </a:cubicBezTo>
                  <a:cubicBezTo>
                    <a:pt x="918" y="9"/>
                    <a:pt x="918" y="9"/>
                    <a:pt x="918" y="9"/>
                  </a:cubicBezTo>
                  <a:cubicBezTo>
                    <a:pt x="884" y="191"/>
                    <a:pt x="884" y="191"/>
                    <a:pt x="884" y="191"/>
                  </a:cubicBezTo>
                  <a:cubicBezTo>
                    <a:pt x="847" y="198"/>
                    <a:pt x="810" y="208"/>
                    <a:pt x="774" y="220"/>
                  </a:cubicBezTo>
                  <a:cubicBezTo>
                    <a:pt x="653" y="78"/>
                    <a:pt x="653" y="78"/>
                    <a:pt x="653" y="78"/>
                  </a:cubicBezTo>
                  <a:cubicBezTo>
                    <a:pt x="532" y="137"/>
                    <a:pt x="532" y="137"/>
                    <a:pt x="532" y="137"/>
                  </a:cubicBezTo>
                  <a:cubicBezTo>
                    <a:pt x="570" y="321"/>
                    <a:pt x="570" y="321"/>
                    <a:pt x="570" y="321"/>
                  </a:cubicBezTo>
                  <a:cubicBezTo>
                    <a:pt x="535" y="344"/>
                    <a:pt x="502" y="369"/>
                    <a:pt x="471" y="396"/>
                  </a:cubicBezTo>
                  <a:cubicBezTo>
                    <a:pt x="305" y="314"/>
                    <a:pt x="305" y="314"/>
                    <a:pt x="305" y="314"/>
                  </a:cubicBezTo>
                  <a:cubicBezTo>
                    <a:pt x="217" y="416"/>
                    <a:pt x="217" y="416"/>
                    <a:pt x="217" y="416"/>
                  </a:cubicBezTo>
                  <a:cubicBezTo>
                    <a:pt x="322" y="568"/>
                    <a:pt x="322" y="568"/>
                    <a:pt x="322" y="568"/>
                  </a:cubicBezTo>
                  <a:cubicBezTo>
                    <a:pt x="301" y="600"/>
                    <a:pt x="282" y="633"/>
                    <a:pt x="265" y="666"/>
                  </a:cubicBezTo>
                  <a:cubicBezTo>
                    <a:pt x="81" y="652"/>
                    <a:pt x="81" y="652"/>
                    <a:pt x="81" y="652"/>
                  </a:cubicBezTo>
                  <a:cubicBezTo>
                    <a:pt x="37" y="780"/>
                    <a:pt x="37" y="780"/>
                    <a:pt x="37" y="780"/>
                  </a:cubicBezTo>
                  <a:cubicBezTo>
                    <a:pt x="192" y="882"/>
                    <a:pt x="192" y="882"/>
                    <a:pt x="192" y="882"/>
                  </a:cubicBezTo>
                  <a:cubicBezTo>
                    <a:pt x="183" y="923"/>
                    <a:pt x="178" y="964"/>
                    <a:pt x="175" y="1005"/>
                  </a:cubicBezTo>
                  <a:cubicBezTo>
                    <a:pt x="0" y="1064"/>
                    <a:pt x="0" y="1064"/>
                    <a:pt x="0" y="1064"/>
                  </a:cubicBezTo>
                  <a:cubicBezTo>
                    <a:pt x="9" y="1198"/>
                    <a:pt x="9" y="1198"/>
                    <a:pt x="9" y="1198"/>
                  </a:cubicBezTo>
                  <a:cubicBezTo>
                    <a:pt x="191" y="1233"/>
                    <a:pt x="191" y="1233"/>
                    <a:pt x="191" y="1233"/>
                  </a:cubicBezTo>
                  <a:cubicBezTo>
                    <a:pt x="199" y="1269"/>
                    <a:pt x="208" y="1306"/>
                    <a:pt x="221" y="1342"/>
                  </a:cubicBezTo>
                  <a:cubicBezTo>
                    <a:pt x="78" y="1463"/>
                    <a:pt x="78" y="1463"/>
                    <a:pt x="78" y="1463"/>
                  </a:cubicBezTo>
                  <a:cubicBezTo>
                    <a:pt x="138" y="1584"/>
                    <a:pt x="138" y="1584"/>
                    <a:pt x="138" y="1584"/>
                  </a:cubicBezTo>
                  <a:cubicBezTo>
                    <a:pt x="321" y="1546"/>
                    <a:pt x="321" y="1546"/>
                    <a:pt x="321" y="1546"/>
                  </a:cubicBezTo>
                  <a:cubicBezTo>
                    <a:pt x="344" y="1581"/>
                    <a:pt x="369" y="1614"/>
                    <a:pt x="397" y="1645"/>
                  </a:cubicBezTo>
                  <a:cubicBezTo>
                    <a:pt x="314" y="1811"/>
                    <a:pt x="314" y="1811"/>
                    <a:pt x="314" y="1811"/>
                  </a:cubicBezTo>
                  <a:cubicBezTo>
                    <a:pt x="416" y="1899"/>
                    <a:pt x="416" y="1899"/>
                    <a:pt x="416" y="1899"/>
                  </a:cubicBezTo>
                  <a:cubicBezTo>
                    <a:pt x="569" y="1794"/>
                    <a:pt x="569" y="1794"/>
                    <a:pt x="569" y="1794"/>
                  </a:cubicBezTo>
                  <a:cubicBezTo>
                    <a:pt x="600" y="1815"/>
                    <a:pt x="633" y="1834"/>
                    <a:pt x="667" y="1851"/>
                  </a:cubicBezTo>
                  <a:cubicBezTo>
                    <a:pt x="653" y="2035"/>
                    <a:pt x="653" y="2035"/>
                    <a:pt x="653" y="2035"/>
                  </a:cubicBezTo>
                  <a:cubicBezTo>
                    <a:pt x="780" y="2079"/>
                    <a:pt x="780" y="2079"/>
                    <a:pt x="780" y="2079"/>
                  </a:cubicBezTo>
                  <a:cubicBezTo>
                    <a:pt x="882" y="1925"/>
                    <a:pt x="882" y="1925"/>
                    <a:pt x="882" y="1925"/>
                  </a:cubicBezTo>
                  <a:cubicBezTo>
                    <a:pt x="923" y="1933"/>
                    <a:pt x="964" y="1938"/>
                    <a:pt x="1005" y="1941"/>
                  </a:cubicBezTo>
                  <a:cubicBezTo>
                    <a:pt x="1064" y="2116"/>
                    <a:pt x="1064" y="2116"/>
                    <a:pt x="1064" y="2116"/>
                  </a:cubicBezTo>
                  <a:cubicBezTo>
                    <a:pt x="1199" y="2107"/>
                    <a:pt x="1199" y="2107"/>
                    <a:pt x="1199" y="2107"/>
                  </a:cubicBezTo>
                  <a:cubicBezTo>
                    <a:pt x="1233" y="1925"/>
                    <a:pt x="1233" y="1925"/>
                    <a:pt x="1233" y="1925"/>
                  </a:cubicBezTo>
                  <a:cubicBezTo>
                    <a:pt x="1269" y="1918"/>
                    <a:pt x="1306" y="1908"/>
                    <a:pt x="1342" y="1896"/>
                  </a:cubicBezTo>
                  <a:cubicBezTo>
                    <a:pt x="1464" y="2038"/>
                    <a:pt x="1464" y="2038"/>
                    <a:pt x="1464" y="2038"/>
                  </a:cubicBezTo>
                  <a:cubicBezTo>
                    <a:pt x="1584" y="1979"/>
                    <a:pt x="1584" y="1979"/>
                    <a:pt x="1584" y="1979"/>
                  </a:cubicBezTo>
                  <a:cubicBezTo>
                    <a:pt x="1546" y="1795"/>
                    <a:pt x="1546" y="1795"/>
                    <a:pt x="1546" y="1795"/>
                  </a:cubicBezTo>
                  <a:cubicBezTo>
                    <a:pt x="1581" y="1772"/>
                    <a:pt x="1614" y="1747"/>
                    <a:pt x="1645" y="1719"/>
                  </a:cubicBezTo>
                  <a:cubicBezTo>
                    <a:pt x="1811" y="1802"/>
                    <a:pt x="1811" y="1802"/>
                    <a:pt x="1811" y="1802"/>
                  </a:cubicBezTo>
                  <a:cubicBezTo>
                    <a:pt x="1899" y="1700"/>
                    <a:pt x="1899" y="1700"/>
                    <a:pt x="1899" y="1700"/>
                  </a:cubicBezTo>
                  <a:cubicBezTo>
                    <a:pt x="1795" y="1547"/>
                    <a:pt x="1795" y="1547"/>
                    <a:pt x="1795" y="1547"/>
                  </a:cubicBezTo>
                  <a:cubicBezTo>
                    <a:pt x="1816" y="1516"/>
                    <a:pt x="1834" y="1483"/>
                    <a:pt x="1851" y="1450"/>
                  </a:cubicBezTo>
                  <a:cubicBezTo>
                    <a:pt x="2036" y="1463"/>
                    <a:pt x="2036" y="1463"/>
                    <a:pt x="2036" y="1463"/>
                  </a:cubicBezTo>
                  <a:cubicBezTo>
                    <a:pt x="2079" y="1336"/>
                    <a:pt x="2079" y="1336"/>
                    <a:pt x="2079" y="1336"/>
                  </a:cubicBezTo>
                  <a:cubicBezTo>
                    <a:pt x="1925" y="1234"/>
                    <a:pt x="1925" y="1234"/>
                    <a:pt x="1925" y="1234"/>
                  </a:cubicBezTo>
                  <a:cubicBezTo>
                    <a:pt x="1933" y="1193"/>
                    <a:pt x="1938" y="1152"/>
                    <a:pt x="1941" y="1111"/>
                  </a:cubicBezTo>
                  <a:close/>
                  <a:moveTo>
                    <a:pt x="1358" y="1669"/>
                  </a:moveTo>
                  <a:cubicBezTo>
                    <a:pt x="1020" y="1834"/>
                    <a:pt x="613" y="1695"/>
                    <a:pt x="447" y="1357"/>
                  </a:cubicBezTo>
                  <a:cubicBezTo>
                    <a:pt x="282" y="1020"/>
                    <a:pt x="421" y="613"/>
                    <a:pt x="759" y="447"/>
                  </a:cubicBezTo>
                  <a:cubicBezTo>
                    <a:pt x="1096" y="282"/>
                    <a:pt x="1504" y="421"/>
                    <a:pt x="1669" y="759"/>
                  </a:cubicBezTo>
                  <a:cubicBezTo>
                    <a:pt x="1834" y="1096"/>
                    <a:pt x="1695" y="1503"/>
                    <a:pt x="1358" y="1669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34" name="Freeform 248"/>
            <p:cNvSpPr>
              <a:spLocks noEditPoints="1"/>
            </p:cNvSpPr>
            <p:nvPr/>
          </p:nvSpPr>
          <p:spPr bwMode="auto">
            <a:xfrm>
              <a:off x="10353815" y="4136875"/>
              <a:ext cx="722313" cy="725487"/>
            </a:xfrm>
            <a:custGeom>
              <a:avLst/>
              <a:gdLst>
                <a:gd name="T0" fmla="*/ 287 w 574"/>
                <a:gd name="T1" fmla="*/ 575 h 575"/>
                <a:gd name="T2" fmla="*/ 0 w 574"/>
                <a:gd name="T3" fmla="*/ 287 h 575"/>
                <a:gd name="T4" fmla="*/ 287 w 574"/>
                <a:gd name="T5" fmla="*/ 0 h 575"/>
                <a:gd name="T6" fmla="*/ 574 w 574"/>
                <a:gd name="T7" fmla="*/ 287 h 575"/>
                <a:gd name="T8" fmla="*/ 287 w 574"/>
                <a:gd name="T9" fmla="*/ 575 h 575"/>
                <a:gd name="T10" fmla="*/ 287 w 574"/>
                <a:gd name="T11" fmla="*/ 160 h 575"/>
                <a:gd name="T12" fmla="*/ 160 w 574"/>
                <a:gd name="T13" fmla="*/ 287 h 575"/>
                <a:gd name="T14" fmla="*/ 287 w 574"/>
                <a:gd name="T15" fmla="*/ 415 h 575"/>
                <a:gd name="T16" fmla="*/ 414 w 574"/>
                <a:gd name="T17" fmla="*/ 287 h 575"/>
                <a:gd name="T18" fmla="*/ 287 w 574"/>
                <a:gd name="T19" fmla="*/ 160 h 5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74" h="575">
                  <a:moveTo>
                    <a:pt x="287" y="575"/>
                  </a:moveTo>
                  <a:cubicBezTo>
                    <a:pt x="129" y="575"/>
                    <a:pt x="0" y="446"/>
                    <a:pt x="0" y="287"/>
                  </a:cubicBezTo>
                  <a:cubicBezTo>
                    <a:pt x="0" y="129"/>
                    <a:pt x="129" y="0"/>
                    <a:pt x="287" y="0"/>
                  </a:cubicBezTo>
                  <a:cubicBezTo>
                    <a:pt x="446" y="0"/>
                    <a:pt x="574" y="129"/>
                    <a:pt x="574" y="287"/>
                  </a:cubicBezTo>
                  <a:cubicBezTo>
                    <a:pt x="574" y="446"/>
                    <a:pt x="446" y="575"/>
                    <a:pt x="287" y="575"/>
                  </a:cubicBezTo>
                  <a:close/>
                  <a:moveTo>
                    <a:pt x="287" y="160"/>
                  </a:moveTo>
                  <a:cubicBezTo>
                    <a:pt x="217" y="160"/>
                    <a:pt x="160" y="217"/>
                    <a:pt x="160" y="287"/>
                  </a:cubicBezTo>
                  <a:cubicBezTo>
                    <a:pt x="160" y="358"/>
                    <a:pt x="217" y="415"/>
                    <a:pt x="287" y="415"/>
                  </a:cubicBezTo>
                  <a:cubicBezTo>
                    <a:pt x="357" y="415"/>
                    <a:pt x="414" y="358"/>
                    <a:pt x="414" y="287"/>
                  </a:cubicBezTo>
                  <a:cubicBezTo>
                    <a:pt x="414" y="217"/>
                    <a:pt x="357" y="160"/>
                    <a:pt x="287" y="160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8" name="Group 8"/>
          <p:cNvGrpSpPr/>
          <p:nvPr/>
        </p:nvGrpSpPr>
        <p:grpSpPr>
          <a:xfrm>
            <a:off x="9418777" y="1417488"/>
            <a:ext cx="1682750" cy="1682750"/>
            <a:chOff x="9418777" y="1417488"/>
            <a:chExt cx="1682750" cy="1682750"/>
          </a:xfrm>
        </p:grpSpPr>
        <p:sp>
          <p:nvSpPr>
            <p:cNvPr id="509" name="Freeform 241"/>
            <p:cNvSpPr>
              <a:spLocks noEditPoints="1"/>
            </p:cNvSpPr>
            <p:nvPr/>
          </p:nvSpPr>
          <p:spPr bwMode="auto">
            <a:xfrm>
              <a:off x="9418777" y="1417488"/>
              <a:ext cx="1682750" cy="1682750"/>
            </a:xfrm>
            <a:custGeom>
              <a:avLst/>
              <a:gdLst>
                <a:gd name="T0" fmla="*/ 1335 w 1335"/>
                <a:gd name="T1" fmla="*/ 699 h 1335"/>
                <a:gd name="T2" fmla="*/ 1220 w 1335"/>
                <a:gd name="T3" fmla="*/ 586 h 1335"/>
                <a:gd name="T4" fmla="*/ 1300 w 1335"/>
                <a:gd name="T5" fmla="*/ 445 h 1335"/>
                <a:gd name="T6" fmla="*/ 1145 w 1335"/>
                <a:gd name="T7" fmla="*/ 378 h 1335"/>
                <a:gd name="T8" fmla="*/ 1162 w 1335"/>
                <a:gd name="T9" fmla="*/ 218 h 1335"/>
                <a:gd name="T10" fmla="*/ 1001 w 1335"/>
                <a:gd name="T11" fmla="*/ 219 h 1335"/>
                <a:gd name="T12" fmla="*/ 956 w 1335"/>
                <a:gd name="T13" fmla="*/ 65 h 1335"/>
                <a:gd name="T14" fmla="*/ 801 w 1335"/>
                <a:gd name="T15" fmla="*/ 125 h 1335"/>
                <a:gd name="T16" fmla="*/ 699 w 1335"/>
                <a:gd name="T17" fmla="*/ 0 h 1335"/>
                <a:gd name="T18" fmla="*/ 586 w 1335"/>
                <a:gd name="T19" fmla="*/ 115 h 1335"/>
                <a:gd name="T20" fmla="*/ 445 w 1335"/>
                <a:gd name="T21" fmla="*/ 35 h 1335"/>
                <a:gd name="T22" fmla="*/ 378 w 1335"/>
                <a:gd name="T23" fmla="*/ 190 h 1335"/>
                <a:gd name="T24" fmla="*/ 218 w 1335"/>
                <a:gd name="T25" fmla="*/ 173 h 1335"/>
                <a:gd name="T26" fmla="*/ 220 w 1335"/>
                <a:gd name="T27" fmla="*/ 334 h 1335"/>
                <a:gd name="T28" fmla="*/ 65 w 1335"/>
                <a:gd name="T29" fmla="*/ 379 h 1335"/>
                <a:gd name="T30" fmla="*/ 125 w 1335"/>
                <a:gd name="T31" fmla="*/ 535 h 1335"/>
                <a:gd name="T32" fmla="*/ 0 w 1335"/>
                <a:gd name="T33" fmla="*/ 636 h 1335"/>
                <a:gd name="T34" fmla="*/ 115 w 1335"/>
                <a:gd name="T35" fmla="*/ 749 h 1335"/>
                <a:gd name="T36" fmla="*/ 35 w 1335"/>
                <a:gd name="T37" fmla="*/ 890 h 1335"/>
                <a:gd name="T38" fmla="*/ 190 w 1335"/>
                <a:gd name="T39" fmla="*/ 957 h 1335"/>
                <a:gd name="T40" fmla="*/ 173 w 1335"/>
                <a:gd name="T41" fmla="*/ 1117 h 1335"/>
                <a:gd name="T42" fmla="*/ 334 w 1335"/>
                <a:gd name="T43" fmla="*/ 1116 h 1335"/>
                <a:gd name="T44" fmla="*/ 379 w 1335"/>
                <a:gd name="T45" fmla="*/ 1270 h 1335"/>
                <a:gd name="T46" fmla="*/ 535 w 1335"/>
                <a:gd name="T47" fmla="*/ 1210 h 1335"/>
                <a:gd name="T48" fmla="*/ 636 w 1335"/>
                <a:gd name="T49" fmla="*/ 1335 h 1335"/>
                <a:gd name="T50" fmla="*/ 749 w 1335"/>
                <a:gd name="T51" fmla="*/ 1220 h 1335"/>
                <a:gd name="T52" fmla="*/ 890 w 1335"/>
                <a:gd name="T53" fmla="*/ 1299 h 1335"/>
                <a:gd name="T54" fmla="*/ 957 w 1335"/>
                <a:gd name="T55" fmla="*/ 1145 h 1335"/>
                <a:gd name="T56" fmla="*/ 1117 w 1335"/>
                <a:gd name="T57" fmla="*/ 1162 h 1335"/>
                <a:gd name="T58" fmla="*/ 1116 w 1335"/>
                <a:gd name="T59" fmla="*/ 1001 h 1335"/>
                <a:gd name="T60" fmla="*/ 1271 w 1335"/>
                <a:gd name="T61" fmla="*/ 956 h 1335"/>
                <a:gd name="T62" fmla="*/ 1210 w 1335"/>
                <a:gd name="T63" fmla="*/ 801 h 1335"/>
                <a:gd name="T64" fmla="*/ 776 w 1335"/>
                <a:gd name="T65" fmla="*/ 1050 h 1335"/>
                <a:gd name="T66" fmla="*/ 560 w 1335"/>
                <a:gd name="T67" fmla="*/ 286 h 1335"/>
                <a:gd name="T68" fmla="*/ 776 w 1335"/>
                <a:gd name="T69" fmla="*/ 1050 h 1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35" h="1335">
                  <a:moveTo>
                    <a:pt x="1326" y="784"/>
                  </a:moveTo>
                  <a:cubicBezTo>
                    <a:pt x="1335" y="699"/>
                    <a:pt x="1335" y="699"/>
                    <a:pt x="1335" y="699"/>
                  </a:cubicBezTo>
                  <a:cubicBezTo>
                    <a:pt x="1226" y="658"/>
                    <a:pt x="1226" y="658"/>
                    <a:pt x="1226" y="658"/>
                  </a:cubicBezTo>
                  <a:cubicBezTo>
                    <a:pt x="1226" y="634"/>
                    <a:pt x="1224" y="610"/>
                    <a:pt x="1220" y="586"/>
                  </a:cubicBezTo>
                  <a:cubicBezTo>
                    <a:pt x="1323" y="527"/>
                    <a:pt x="1323" y="527"/>
                    <a:pt x="1323" y="527"/>
                  </a:cubicBezTo>
                  <a:cubicBezTo>
                    <a:pt x="1300" y="445"/>
                    <a:pt x="1300" y="445"/>
                    <a:pt x="1300" y="445"/>
                  </a:cubicBezTo>
                  <a:cubicBezTo>
                    <a:pt x="1181" y="448"/>
                    <a:pt x="1181" y="448"/>
                    <a:pt x="1181" y="448"/>
                  </a:cubicBezTo>
                  <a:cubicBezTo>
                    <a:pt x="1171" y="424"/>
                    <a:pt x="1159" y="400"/>
                    <a:pt x="1145" y="378"/>
                  </a:cubicBezTo>
                  <a:cubicBezTo>
                    <a:pt x="1215" y="284"/>
                    <a:pt x="1215" y="284"/>
                    <a:pt x="1215" y="284"/>
                  </a:cubicBezTo>
                  <a:cubicBezTo>
                    <a:pt x="1162" y="218"/>
                    <a:pt x="1162" y="218"/>
                    <a:pt x="1162" y="218"/>
                  </a:cubicBezTo>
                  <a:cubicBezTo>
                    <a:pt x="1055" y="266"/>
                    <a:pt x="1055" y="266"/>
                    <a:pt x="1055" y="266"/>
                  </a:cubicBezTo>
                  <a:cubicBezTo>
                    <a:pt x="1038" y="249"/>
                    <a:pt x="1020" y="234"/>
                    <a:pt x="1001" y="219"/>
                  </a:cubicBezTo>
                  <a:cubicBezTo>
                    <a:pt x="1031" y="106"/>
                    <a:pt x="1031" y="106"/>
                    <a:pt x="1031" y="106"/>
                  </a:cubicBezTo>
                  <a:cubicBezTo>
                    <a:pt x="956" y="65"/>
                    <a:pt x="956" y="65"/>
                    <a:pt x="956" y="65"/>
                  </a:cubicBezTo>
                  <a:cubicBezTo>
                    <a:pt x="875" y="149"/>
                    <a:pt x="875" y="149"/>
                    <a:pt x="875" y="149"/>
                  </a:cubicBezTo>
                  <a:cubicBezTo>
                    <a:pt x="851" y="139"/>
                    <a:pt x="826" y="131"/>
                    <a:pt x="801" y="125"/>
                  </a:cubicBezTo>
                  <a:cubicBezTo>
                    <a:pt x="784" y="9"/>
                    <a:pt x="784" y="9"/>
                    <a:pt x="784" y="9"/>
                  </a:cubicBezTo>
                  <a:cubicBezTo>
                    <a:pt x="699" y="0"/>
                    <a:pt x="699" y="0"/>
                    <a:pt x="699" y="0"/>
                  </a:cubicBezTo>
                  <a:cubicBezTo>
                    <a:pt x="658" y="109"/>
                    <a:pt x="658" y="109"/>
                    <a:pt x="658" y="109"/>
                  </a:cubicBezTo>
                  <a:cubicBezTo>
                    <a:pt x="634" y="109"/>
                    <a:pt x="610" y="111"/>
                    <a:pt x="586" y="115"/>
                  </a:cubicBezTo>
                  <a:cubicBezTo>
                    <a:pt x="527" y="12"/>
                    <a:pt x="527" y="12"/>
                    <a:pt x="527" y="12"/>
                  </a:cubicBezTo>
                  <a:cubicBezTo>
                    <a:pt x="445" y="35"/>
                    <a:pt x="445" y="35"/>
                    <a:pt x="445" y="35"/>
                  </a:cubicBezTo>
                  <a:cubicBezTo>
                    <a:pt x="448" y="154"/>
                    <a:pt x="448" y="154"/>
                    <a:pt x="448" y="154"/>
                  </a:cubicBezTo>
                  <a:cubicBezTo>
                    <a:pt x="424" y="164"/>
                    <a:pt x="400" y="176"/>
                    <a:pt x="378" y="190"/>
                  </a:cubicBezTo>
                  <a:cubicBezTo>
                    <a:pt x="284" y="120"/>
                    <a:pt x="284" y="120"/>
                    <a:pt x="284" y="120"/>
                  </a:cubicBezTo>
                  <a:cubicBezTo>
                    <a:pt x="218" y="173"/>
                    <a:pt x="218" y="173"/>
                    <a:pt x="218" y="173"/>
                  </a:cubicBezTo>
                  <a:cubicBezTo>
                    <a:pt x="266" y="280"/>
                    <a:pt x="266" y="280"/>
                    <a:pt x="266" y="280"/>
                  </a:cubicBezTo>
                  <a:cubicBezTo>
                    <a:pt x="249" y="297"/>
                    <a:pt x="234" y="315"/>
                    <a:pt x="220" y="334"/>
                  </a:cubicBezTo>
                  <a:cubicBezTo>
                    <a:pt x="106" y="305"/>
                    <a:pt x="106" y="305"/>
                    <a:pt x="106" y="305"/>
                  </a:cubicBezTo>
                  <a:cubicBezTo>
                    <a:pt x="65" y="379"/>
                    <a:pt x="65" y="379"/>
                    <a:pt x="65" y="379"/>
                  </a:cubicBezTo>
                  <a:cubicBezTo>
                    <a:pt x="149" y="460"/>
                    <a:pt x="149" y="460"/>
                    <a:pt x="149" y="460"/>
                  </a:cubicBezTo>
                  <a:cubicBezTo>
                    <a:pt x="139" y="484"/>
                    <a:pt x="131" y="509"/>
                    <a:pt x="125" y="535"/>
                  </a:cubicBezTo>
                  <a:cubicBezTo>
                    <a:pt x="9" y="551"/>
                    <a:pt x="9" y="551"/>
                    <a:pt x="9" y="551"/>
                  </a:cubicBezTo>
                  <a:cubicBezTo>
                    <a:pt x="0" y="636"/>
                    <a:pt x="0" y="636"/>
                    <a:pt x="0" y="636"/>
                  </a:cubicBezTo>
                  <a:cubicBezTo>
                    <a:pt x="109" y="678"/>
                    <a:pt x="109" y="678"/>
                    <a:pt x="109" y="678"/>
                  </a:cubicBezTo>
                  <a:cubicBezTo>
                    <a:pt x="110" y="701"/>
                    <a:pt x="111" y="725"/>
                    <a:pt x="115" y="749"/>
                  </a:cubicBezTo>
                  <a:cubicBezTo>
                    <a:pt x="12" y="809"/>
                    <a:pt x="12" y="809"/>
                    <a:pt x="12" y="809"/>
                  </a:cubicBezTo>
                  <a:cubicBezTo>
                    <a:pt x="35" y="890"/>
                    <a:pt x="35" y="890"/>
                    <a:pt x="35" y="890"/>
                  </a:cubicBezTo>
                  <a:cubicBezTo>
                    <a:pt x="154" y="887"/>
                    <a:pt x="154" y="887"/>
                    <a:pt x="154" y="887"/>
                  </a:cubicBezTo>
                  <a:cubicBezTo>
                    <a:pt x="164" y="912"/>
                    <a:pt x="177" y="935"/>
                    <a:pt x="190" y="957"/>
                  </a:cubicBezTo>
                  <a:cubicBezTo>
                    <a:pt x="120" y="1051"/>
                    <a:pt x="120" y="1051"/>
                    <a:pt x="120" y="1051"/>
                  </a:cubicBezTo>
                  <a:cubicBezTo>
                    <a:pt x="173" y="1117"/>
                    <a:pt x="173" y="1117"/>
                    <a:pt x="173" y="1117"/>
                  </a:cubicBezTo>
                  <a:cubicBezTo>
                    <a:pt x="280" y="1070"/>
                    <a:pt x="280" y="1070"/>
                    <a:pt x="280" y="1070"/>
                  </a:cubicBezTo>
                  <a:cubicBezTo>
                    <a:pt x="297" y="1086"/>
                    <a:pt x="315" y="1102"/>
                    <a:pt x="334" y="1116"/>
                  </a:cubicBezTo>
                  <a:cubicBezTo>
                    <a:pt x="305" y="1229"/>
                    <a:pt x="305" y="1229"/>
                    <a:pt x="305" y="1229"/>
                  </a:cubicBezTo>
                  <a:cubicBezTo>
                    <a:pt x="379" y="1270"/>
                    <a:pt x="379" y="1270"/>
                    <a:pt x="379" y="1270"/>
                  </a:cubicBezTo>
                  <a:cubicBezTo>
                    <a:pt x="460" y="1186"/>
                    <a:pt x="460" y="1186"/>
                    <a:pt x="460" y="1186"/>
                  </a:cubicBezTo>
                  <a:cubicBezTo>
                    <a:pt x="484" y="1196"/>
                    <a:pt x="509" y="1204"/>
                    <a:pt x="535" y="1210"/>
                  </a:cubicBezTo>
                  <a:cubicBezTo>
                    <a:pt x="551" y="1326"/>
                    <a:pt x="551" y="1326"/>
                    <a:pt x="551" y="1326"/>
                  </a:cubicBezTo>
                  <a:cubicBezTo>
                    <a:pt x="636" y="1335"/>
                    <a:pt x="636" y="1335"/>
                    <a:pt x="636" y="1335"/>
                  </a:cubicBezTo>
                  <a:cubicBezTo>
                    <a:pt x="678" y="1226"/>
                    <a:pt x="678" y="1226"/>
                    <a:pt x="678" y="1226"/>
                  </a:cubicBezTo>
                  <a:cubicBezTo>
                    <a:pt x="701" y="1226"/>
                    <a:pt x="725" y="1224"/>
                    <a:pt x="749" y="1220"/>
                  </a:cubicBezTo>
                  <a:cubicBezTo>
                    <a:pt x="808" y="1323"/>
                    <a:pt x="808" y="1323"/>
                    <a:pt x="808" y="1323"/>
                  </a:cubicBezTo>
                  <a:cubicBezTo>
                    <a:pt x="890" y="1299"/>
                    <a:pt x="890" y="1299"/>
                    <a:pt x="890" y="1299"/>
                  </a:cubicBezTo>
                  <a:cubicBezTo>
                    <a:pt x="887" y="1181"/>
                    <a:pt x="887" y="1181"/>
                    <a:pt x="887" y="1181"/>
                  </a:cubicBezTo>
                  <a:cubicBezTo>
                    <a:pt x="912" y="1171"/>
                    <a:pt x="935" y="1159"/>
                    <a:pt x="957" y="1145"/>
                  </a:cubicBezTo>
                  <a:cubicBezTo>
                    <a:pt x="1051" y="1215"/>
                    <a:pt x="1051" y="1215"/>
                    <a:pt x="1051" y="1215"/>
                  </a:cubicBezTo>
                  <a:cubicBezTo>
                    <a:pt x="1117" y="1162"/>
                    <a:pt x="1117" y="1162"/>
                    <a:pt x="1117" y="1162"/>
                  </a:cubicBezTo>
                  <a:cubicBezTo>
                    <a:pt x="1070" y="1055"/>
                    <a:pt x="1070" y="1055"/>
                    <a:pt x="1070" y="1055"/>
                  </a:cubicBezTo>
                  <a:cubicBezTo>
                    <a:pt x="1086" y="1038"/>
                    <a:pt x="1102" y="1020"/>
                    <a:pt x="1116" y="1001"/>
                  </a:cubicBezTo>
                  <a:cubicBezTo>
                    <a:pt x="1229" y="1031"/>
                    <a:pt x="1229" y="1031"/>
                    <a:pt x="1229" y="1031"/>
                  </a:cubicBezTo>
                  <a:cubicBezTo>
                    <a:pt x="1271" y="956"/>
                    <a:pt x="1271" y="956"/>
                    <a:pt x="1271" y="956"/>
                  </a:cubicBezTo>
                  <a:cubicBezTo>
                    <a:pt x="1186" y="875"/>
                    <a:pt x="1186" y="875"/>
                    <a:pt x="1186" y="875"/>
                  </a:cubicBezTo>
                  <a:cubicBezTo>
                    <a:pt x="1196" y="851"/>
                    <a:pt x="1204" y="826"/>
                    <a:pt x="1210" y="801"/>
                  </a:cubicBezTo>
                  <a:lnTo>
                    <a:pt x="1326" y="784"/>
                  </a:lnTo>
                  <a:close/>
                  <a:moveTo>
                    <a:pt x="776" y="1050"/>
                  </a:moveTo>
                  <a:cubicBezTo>
                    <a:pt x="565" y="1109"/>
                    <a:pt x="345" y="986"/>
                    <a:pt x="286" y="775"/>
                  </a:cubicBezTo>
                  <a:cubicBezTo>
                    <a:pt x="226" y="564"/>
                    <a:pt x="349" y="345"/>
                    <a:pt x="560" y="286"/>
                  </a:cubicBezTo>
                  <a:cubicBezTo>
                    <a:pt x="771" y="226"/>
                    <a:pt x="990" y="349"/>
                    <a:pt x="1050" y="560"/>
                  </a:cubicBezTo>
                  <a:cubicBezTo>
                    <a:pt x="1109" y="771"/>
                    <a:pt x="987" y="990"/>
                    <a:pt x="776" y="105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35" name="Freeform 249"/>
            <p:cNvSpPr>
              <a:spLocks noEditPoints="1"/>
            </p:cNvSpPr>
            <p:nvPr/>
          </p:nvSpPr>
          <p:spPr bwMode="auto">
            <a:xfrm>
              <a:off x="10033140" y="2033437"/>
              <a:ext cx="457200" cy="457200"/>
            </a:xfrm>
            <a:custGeom>
              <a:avLst/>
              <a:gdLst>
                <a:gd name="T0" fmla="*/ 181 w 363"/>
                <a:gd name="T1" fmla="*/ 363 h 363"/>
                <a:gd name="T2" fmla="*/ 0 w 363"/>
                <a:gd name="T3" fmla="*/ 181 h 363"/>
                <a:gd name="T4" fmla="*/ 181 w 363"/>
                <a:gd name="T5" fmla="*/ 0 h 363"/>
                <a:gd name="T6" fmla="*/ 363 w 363"/>
                <a:gd name="T7" fmla="*/ 181 h 363"/>
                <a:gd name="T8" fmla="*/ 181 w 363"/>
                <a:gd name="T9" fmla="*/ 363 h 363"/>
                <a:gd name="T10" fmla="*/ 181 w 363"/>
                <a:gd name="T11" fmla="*/ 120 h 363"/>
                <a:gd name="T12" fmla="*/ 120 w 363"/>
                <a:gd name="T13" fmla="*/ 181 h 363"/>
                <a:gd name="T14" fmla="*/ 181 w 363"/>
                <a:gd name="T15" fmla="*/ 243 h 363"/>
                <a:gd name="T16" fmla="*/ 243 w 363"/>
                <a:gd name="T17" fmla="*/ 181 h 363"/>
                <a:gd name="T18" fmla="*/ 181 w 363"/>
                <a:gd name="T19" fmla="*/ 120 h 3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63" h="363">
                  <a:moveTo>
                    <a:pt x="181" y="363"/>
                  </a:moveTo>
                  <a:cubicBezTo>
                    <a:pt x="81" y="363"/>
                    <a:pt x="0" y="282"/>
                    <a:pt x="0" y="181"/>
                  </a:cubicBezTo>
                  <a:cubicBezTo>
                    <a:pt x="0" y="81"/>
                    <a:pt x="81" y="0"/>
                    <a:pt x="181" y="0"/>
                  </a:cubicBezTo>
                  <a:cubicBezTo>
                    <a:pt x="281" y="0"/>
                    <a:pt x="363" y="81"/>
                    <a:pt x="363" y="181"/>
                  </a:cubicBezTo>
                  <a:cubicBezTo>
                    <a:pt x="363" y="282"/>
                    <a:pt x="281" y="363"/>
                    <a:pt x="181" y="363"/>
                  </a:cubicBezTo>
                  <a:close/>
                  <a:moveTo>
                    <a:pt x="181" y="120"/>
                  </a:moveTo>
                  <a:cubicBezTo>
                    <a:pt x="147" y="120"/>
                    <a:pt x="120" y="147"/>
                    <a:pt x="120" y="181"/>
                  </a:cubicBezTo>
                  <a:cubicBezTo>
                    <a:pt x="120" y="215"/>
                    <a:pt x="147" y="243"/>
                    <a:pt x="181" y="243"/>
                  </a:cubicBezTo>
                  <a:cubicBezTo>
                    <a:pt x="215" y="243"/>
                    <a:pt x="243" y="215"/>
                    <a:pt x="243" y="181"/>
                  </a:cubicBezTo>
                  <a:cubicBezTo>
                    <a:pt x="243" y="147"/>
                    <a:pt x="215" y="120"/>
                    <a:pt x="181" y="12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9" name="Group 18"/>
          <p:cNvGrpSpPr/>
          <p:nvPr/>
        </p:nvGrpSpPr>
        <p:grpSpPr>
          <a:xfrm>
            <a:off x="8266030" y="4782316"/>
            <a:ext cx="1430338" cy="1428750"/>
            <a:chOff x="8266030" y="4782316"/>
            <a:chExt cx="1430338" cy="1428750"/>
          </a:xfrm>
        </p:grpSpPr>
        <p:sp>
          <p:nvSpPr>
            <p:cNvPr id="510" name="Freeform 242"/>
            <p:cNvSpPr>
              <a:spLocks noEditPoints="1"/>
            </p:cNvSpPr>
            <p:nvPr/>
          </p:nvSpPr>
          <p:spPr bwMode="auto">
            <a:xfrm>
              <a:off x="8266030" y="4782316"/>
              <a:ext cx="1430338" cy="1428750"/>
            </a:xfrm>
            <a:custGeom>
              <a:avLst/>
              <a:gdLst>
                <a:gd name="T0" fmla="*/ 1013 w 1135"/>
                <a:gd name="T1" fmla="*/ 544 h 1134"/>
                <a:gd name="T2" fmla="*/ 1135 w 1135"/>
                <a:gd name="T3" fmla="*/ 472 h 1134"/>
                <a:gd name="T4" fmla="*/ 1107 w 1135"/>
                <a:gd name="T5" fmla="*/ 367 h 1134"/>
                <a:gd name="T6" fmla="*/ 965 w 1135"/>
                <a:gd name="T7" fmla="*/ 366 h 1134"/>
                <a:gd name="T8" fmla="*/ 866 w 1135"/>
                <a:gd name="T9" fmla="*/ 237 h 1134"/>
                <a:gd name="T10" fmla="*/ 901 w 1135"/>
                <a:gd name="T11" fmla="*/ 99 h 1134"/>
                <a:gd name="T12" fmla="*/ 808 w 1135"/>
                <a:gd name="T13" fmla="*/ 45 h 1134"/>
                <a:gd name="T14" fmla="*/ 706 w 1135"/>
                <a:gd name="T15" fmla="*/ 144 h 1134"/>
                <a:gd name="T16" fmla="*/ 544 w 1135"/>
                <a:gd name="T17" fmla="*/ 123 h 1134"/>
                <a:gd name="T18" fmla="*/ 472 w 1135"/>
                <a:gd name="T19" fmla="*/ 0 h 1134"/>
                <a:gd name="T20" fmla="*/ 367 w 1135"/>
                <a:gd name="T21" fmla="*/ 28 h 1134"/>
                <a:gd name="T22" fmla="*/ 365 w 1135"/>
                <a:gd name="T23" fmla="*/ 170 h 1134"/>
                <a:gd name="T24" fmla="*/ 237 w 1135"/>
                <a:gd name="T25" fmla="*/ 269 h 1134"/>
                <a:gd name="T26" fmla="*/ 99 w 1135"/>
                <a:gd name="T27" fmla="*/ 234 h 1134"/>
                <a:gd name="T28" fmla="*/ 45 w 1135"/>
                <a:gd name="T29" fmla="*/ 327 h 1134"/>
                <a:gd name="T30" fmla="*/ 144 w 1135"/>
                <a:gd name="T31" fmla="*/ 429 h 1134"/>
                <a:gd name="T32" fmla="*/ 123 w 1135"/>
                <a:gd name="T33" fmla="*/ 590 h 1134"/>
                <a:gd name="T34" fmla="*/ 0 w 1135"/>
                <a:gd name="T35" fmla="*/ 663 h 1134"/>
                <a:gd name="T36" fmla="*/ 28 w 1135"/>
                <a:gd name="T37" fmla="*/ 767 h 1134"/>
                <a:gd name="T38" fmla="*/ 171 w 1135"/>
                <a:gd name="T39" fmla="*/ 769 h 1134"/>
                <a:gd name="T40" fmla="*/ 269 w 1135"/>
                <a:gd name="T41" fmla="*/ 898 h 1134"/>
                <a:gd name="T42" fmla="*/ 234 w 1135"/>
                <a:gd name="T43" fmla="*/ 1036 h 1134"/>
                <a:gd name="T44" fmla="*/ 328 w 1135"/>
                <a:gd name="T45" fmla="*/ 1090 h 1134"/>
                <a:gd name="T46" fmla="*/ 429 w 1135"/>
                <a:gd name="T47" fmla="*/ 991 h 1134"/>
                <a:gd name="T48" fmla="*/ 591 w 1135"/>
                <a:gd name="T49" fmla="*/ 1012 h 1134"/>
                <a:gd name="T50" fmla="*/ 664 w 1135"/>
                <a:gd name="T51" fmla="*/ 1134 h 1134"/>
                <a:gd name="T52" fmla="*/ 768 w 1135"/>
                <a:gd name="T53" fmla="*/ 1106 h 1134"/>
                <a:gd name="T54" fmla="*/ 770 w 1135"/>
                <a:gd name="T55" fmla="*/ 964 h 1134"/>
                <a:gd name="T56" fmla="*/ 899 w 1135"/>
                <a:gd name="T57" fmla="*/ 865 h 1134"/>
                <a:gd name="T58" fmla="*/ 1036 w 1135"/>
                <a:gd name="T59" fmla="*/ 900 h 1134"/>
                <a:gd name="T60" fmla="*/ 1090 w 1135"/>
                <a:gd name="T61" fmla="*/ 807 h 1134"/>
                <a:gd name="T62" fmla="*/ 992 w 1135"/>
                <a:gd name="T63" fmla="*/ 705 h 1134"/>
                <a:gd name="T64" fmla="*/ 1013 w 1135"/>
                <a:gd name="T65" fmla="*/ 544 h 1134"/>
                <a:gd name="T66" fmla="*/ 593 w 1135"/>
                <a:gd name="T67" fmla="*/ 879 h 1134"/>
                <a:gd name="T68" fmla="*/ 256 w 1135"/>
                <a:gd name="T69" fmla="*/ 593 h 1134"/>
                <a:gd name="T70" fmla="*/ 543 w 1135"/>
                <a:gd name="T71" fmla="*/ 256 h 1134"/>
                <a:gd name="T72" fmla="*/ 879 w 1135"/>
                <a:gd name="T73" fmla="*/ 542 h 1134"/>
                <a:gd name="T74" fmla="*/ 593 w 1135"/>
                <a:gd name="T75" fmla="*/ 879 h 1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135" h="1134">
                  <a:moveTo>
                    <a:pt x="1013" y="544"/>
                  </a:moveTo>
                  <a:cubicBezTo>
                    <a:pt x="1135" y="472"/>
                    <a:pt x="1135" y="472"/>
                    <a:pt x="1135" y="472"/>
                  </a:cubicBezTo>
                  <a:cubicBezTo>
                    <a:pt x="1107" y="367"/>
                    <a:pt x="1107" y="367"/>
                    <a:pt x="1107" y="367"/>
                  </a:cubicBezTo>
                  <a:cubicBezTo>
                    <a:pt x="965" y="366"/>
                    <a:pt x="965" y="366"/>
                    <a:pt x="965" y="366"/>
                  </a:cubicBezTo>
                  <a:cubicBezTo>
                    <a:pt x="940" y="317"/>
                    <a:pt x="906" y="273"/>
                    <a:pt x="866" y="237"/>
                  </a:cubicBezTo>
                  <a:cubicBezTo>
                    <a:pt x="901" y="99"/>
                    <a:pt x="901" y="99"/>
                    <a:pt x="901" y="99"/>
                  </a:cubicBezTo>
                  <a:cubicBezTo>
                    <a:pt x="808" y="45"/>
                    <a:pt x="808" y="45"/>
                    <a:pt x="808" y="45"/>
                  </a:cubicBezTo>
                  <a:cubicBezTo>
                    <a:pt x="706" y="144"/>
                    <a:pt x="706" y="144"/>
                    <a:pt x="706" y="144"/>
                  </a:cubicBezTo>
                  <a:cubicBezTo>
                    <a:pt x="655" y="127"/>
                    <a:pt x="601" y="120"/>
                    <a:pt x="544" y="123"/>
                  </a:cubicBezTo>
                  <a:cubicBezTo>
                    <a:pt x="472" y="0"/>
                    <a:pt x="472" y="0"/>
                    <a:pt x="472" y="0"/>
                  </a:cubicBezTo>
                  <a:cubicBezTo>
                    <a:pt x="367" y="28"/>
                    <a:pt x="367" y="28"/>
                    <a:pt x="367" y="28"/>
                  </a:cubicBezTo>
                  <a:cubicBezTo>
                    <a:pt x="365" y="170"/>
                    <a:pt x="365" y="170"/>
                    <a:pt x="365" y="170"/>
                  </a:cubicBezTo>
                  <a:cubicBezTo>
                    <a:pt x="317" y="195"/>
                    <a:pt x="273" y="229"/>
                    <a:pt x="237" y="269"/>
                  </a:cubicBezTo>
                  <a:cubicBezTo>
                    <a:pt x="99" y="234"/>
                    <a:pt x="99" y="234"/>
                    <a:pt x="99" y="234"/>
                  </a:cubicBezTo>
                  <a:cubicBezTo>
                    <a:pt x="45" y="327"/>
                    <a:pt x="45" y="327"/>
                    <a:pt x="45" y="327"/>
                  </a:cubicBezTo>
                  <a:cubicBezTo>
                    <a:pt x="144" y="429"/>
                    <a:pt x="144" y="429"/>
                    <a:pt x="144" y="429"/>
                  </a:cubicBezTo>
                  <a:cubicBezTo>
                    <a:pt x="128" y="480"/>
                    <a:pt x="120" y="534"/>
                    <a:pt x="123" y="590"/>
                  </a:cubicBezTo>
                  <a:cubicBezTo>
                    <a:pt x="0" y="663"/>
                    <a:pt x="0" y="663"/>
                    <a:pt x="0" y="663"/>
                  </a:cubicBezTo>
                  <a:cubicBezTo>
                    <a:pt x="28" y="767"/>
                    <a:pt x="28" y="767"/>
                    <a:pt x="28" y="767"/>
                  </a:cubicBezTo>
                  <a:cubicBezTo>
                    <a:pt x="171" y="769"/>
                    <a:pt x="171" y="769"/>
                    <a:pt x="171" y="769"/>
                  </a:cubicBezTo>
                  <a:cubicBezTo>
                    <a:pt x="195" y="818"/>
                    <a:pt x="229" y="862"/>
                    <a:pt x="269" y="898"/>
                  </a:cubicBezTo>
                  <a:cubicBezTo>
                    <a:pt x="234" y="1036"/>
                    <a:pt x="234" y="1036"/>
                    <a:pt x="234" y="1036"/>
                  </a:cubicBezTo>
                  <a:cubicBezTo>
                    <a:pt x="328" y="1090"/>
                    <a:pt x="328" y="1090"/>
                    <a:pt x="328" y="1090"/>
                  </a:cubicBezTo>
                  <a:cubicBezTo>
                    <a:pt x="429" y="991"/>
                    <a:pt x="429" y="991"/>
                    <a:pt x="429" y="991"/>
                  </a:cubicBezTo>
                  <a:cubicBezTo>
                    <a:pt x="480" y="1008"/>
                    <a:pt x="535" y="1015"/>
                    <a:pt x="591" y="1012"/>
                  </a:cubicBezTo>
                  <a:cubicBezTo>
                    <a:pt x="664" y="1134"/>
                    <a:pt x="664" y="1134"/>
                    <a:pt x="664" y="1134"/>
                  </a:cubicBezTo>
                  <a:cubicBezTo>
                    <a:pt x="768" y="1106"/>
                    <a:pt x="768" y="1106"/>
                    <a:pt x="768" y="1106"/>
                  </a:cubicBezTo>
                  <a:cubicBezTo>
                    <a:pt x="770" y="964"/>
                    <a:pt x="770" y="964"/>
                    <a:pt x="770" y="964"/>
                  </a:cubicBezTo>
                  <a:cubicBezTo>
                    <a:pt x="819" y="939"/>
                    <a:pt x="863" y="906"/>
                    <a:pt x="899" y="865"/>
                  </a:cubicBezTo>
                  <a:cubicBezTo>
                    <a:pt x="1036" y="900"/>
                    <a:pt x="1036" y="900"/>
                    <a:pt x="1036" y="900"/>
                  </a:cubicBezTo>
                  <a:cubicBezTo>
                    <a:pt x="1090" y="807"/>
                    <a:pt x="1090" y="807"/>
                    <a:pt x="1090" y="807"/>
                  </a:cubicBezTo>
                  <a:cubicBezTo>
                    <a:pt x="992" y="705"/>
                    <a:pt x="992" y="705"/>
                    <a:pt x="992" y="705"/>
                  </a:cubicBezTo>
                  <a:cubicBezTo>
                    <a:pt x="1008" y="654"/>
                    <a:pt x="1015" y="600"/>
                    <a:pt x="1013" y="544"/>
                  </a:cubicBezTo>
                  <a:close/>
                  <a:moveTo>
                    <a:pt x="593" y="879"/>
                  </a:moveTo>
                  <a:cubicBezTo>
                    <a:pt x="421" y="893"/>
                    <a:pt x="270" y="764"/>
                    <a:pt x="256" y="593"/>
                  </a:cubicBezTo>
                  <a:cubicBezTo>
                    <a:pt x="243" y="421"/>
                    <a:pt x="371" y="270"/>
                    <a:pt x="543" y="256"/>
                  </a:cubicBezTo>
                  <a:cubicBezTo>
                    <a:pt x="714" y="242"/>
                    <a:pt x="865" y="370"/>
                    <a:pt x="879" y="542"/>
                  </a:cubicBezTo>
                  <a:cubicBezTo>
                    <a:pt x="893" y="714"/>
                    <a:pt x="765" y="865"/>
                    <a:pt x="593" y="879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36" name="Freeform 250"/>
            <p:cNvSpPr>
              <a:spLocks noEditPoints="1"/>
            </p:cNvSpPr>
            <p:nvPr/>
          </p:nvSpPr>
          <p:spPr bwMode="auto">
            <a:xfrm>
              <a:off x="8764505" y="5282379"/>
              <a:ext cx="431800" cy="433387"/>
            </a:xfrm>
            <a:custGeom>
              <a:avLst/>
              <a:gdLst>
                <a:gd name="T0" fmla="*/ 171 w 343"/>
                <a:gd name="T1" fmla="*/ 343 h 343"/>
                <a:gd name="T2" fmla="*/ 0 w 343"/>
                <a:gd name="T3" fmla="*/ 171 h 343"/>
                <a:gd name="T4" fmla="*/ 171 w 343"/>
                <a:gd name="T5" fmla="*/ 0 h 343"/>
                <a:gd name="T6" fmla="*/ 343 w 343"/>
                <a:gd name="T7" fmla="*/ 171 h 343"/>
                <a:gd name="T8" fmla="*/ 171 w 343"/>
                <a:gd name="T9" fmla="*/ 343 h 343"/>
                <a:gd name="T10" fmla="*/ 171 w 343"/>
                <a:gd name="T11" fmla="*/ 100 h 343"/>
                <a:gd name="T12" fmla="*/ 100 w 343"/>
                <a:gd name="T13" fmla="*/ 171 h 343"/>
                <a:gd name="T14" fmla="*/ 171 w 343"/>
                <a:gd name="T15" fmla="*/ 243 h 343"/>
                <a:gd name="T16" fmla="*/ 243 w 343"/>
                <a:gd name="T17" fmla="*/ 171 h 343"/>
                <a:gd name="T18" fmla="*/ 171 w 343"/>
                <a:gd name="T19" fmla="*/ 100 h 3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43" h="343">
                  <a:moveTo>
                    <a:pt x="171" y="343"/>
                  </a:moveTo>
                  <a:cubicBezTo>
                    <a:pt x="77" y="343"/>
                    <a:pt x="0" y="266"/>
                    <a:pt x="0" y="171"/>
                  </a:cubicBezTo>
                  <a:cubicBezTo>
                    <a:pt x="0" y="77"/>
                    <a:pt x="77" y="0"/>
                    <a:pt x="171" y="0"/>
                  </a:cubicBezTo>
                  <a:cubicBezTo>
                    <a:pt x="266" y="0"/>
                    <a:pt x="343" y="77"/>
                    <a:pt x="343" y="171"/>
                  </a:cubicBezTo>
                  <a:cubicBezTo>
                    <a:pt x="343" y="266"/>
                    <a:pt x="266" y="343"/>
                    <a:pt x="171" y="343"/>
                  </a:cubicBezTo>
                  <a:close/>
                  <a:moveTo>
                    <a:pt x="171" y="100"/>
                  </a:moveTo>
                  <a:cubicBezTo>
                    <a:pt x="132" y="100"/>
                    <a:pt x="100" y="132"/>
                    <a:pt x="100" y="171"/>
                  </a:cubicBezTo>
                  <a:cubicBezTo>
                    <a:pt x="100" y="211"/>
                    <a:pt x="132" y="243"/>
                    <a:pt x="171" y="243"/>
                  </a:cubicBezTo>
                  <a:cubicBezTo>
                    <a:pt x="211" y="243"/>
                    <a:pt x="243" y="211"/>
                    <a:pt x="243" y="171"/>
                  </a:cubicBezTo>
                  <a:cubicBezTo>
                    <a:pt x="243" y="132"/>
                    <a:pt x="211" y="100"/>
                    <a:pt x="171" y="10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10" name="Group 20"/>
          <p:cNvGrpSpPr/>
          <p:nvPr/>
        </p:nvGrpSpPr>
        <p:grpSpPr>
          <a:xfrm flipH="1">
            <a:off x="6507397" y="4121221"/>
            <a:ext cx="1474828" cy="2876809"/>
            <a:chOff x="6598421" y="4121221"/>
            <a:chExt cx="1474828" cy="2876809"/>
          </a:xfrm>
        </p:grpSpPr>
        <p:sp>
          <p:nvSpPr>
            <p:cNvPr id="537" name="Freeform 254"/>
            <p:cNvSpPr>
              <a:spLocks/>
            </p:cNvSpPr>
            <p:nvPr/>
          </p:nvSpPr>
          <p:spPr bwMode="auto">
            <a:xfrm flipH="1">
              <a:off x="7112037" y="4121221"/>
              <a:ext cx="735013" cy="352425"/>
            </a:xfrm>
            <a:custGeom>
              <a:avLst/>
              <a:gdLst>
                <a:gd name="T0" fmla="*/ 630 w 651"/>
                <a:gd name="T1" fmla="*/ 273 h 313"/>
                <a:gd name="T2" fmla="*/ 589 w 651"/>
                <a:gd name="T3" fmla="*/ 273 h 313"/>
                <a:gd name="T4" fmla="*/ 304 w 651"/>
                <a:gd name="T5" fmla="*/ 0 h 313"/>
                <a:gd name="T6" fmla="*/ 19 w 651"/>
                <a:gd name="T7" fmla="*/ 271 h 313"/>
                <a:gd name="T8" fmla="*/ 0 w 651"/>
                <a:gd name="T9" fmla="*/ 292 h 313"/>
                <a:gd name="T10" fmla="*/ 21 w 651"/>
                <a:gd name="T11" fmla="*/ 313 h 313"/>
                <a:gd name="T12" fmla="*/ 630 w 651"/>
                <a:gd name="T13" fmla="*/ 313 h 313"/>
                <a:gd name="T14" fmla="*/ 651 w 651"/>
                <a:gd name="T15" fmla="*/ 293 h 313"/>
                <a:gd name="T16" fmla="*/ 630 w 651"/>
                <a:gd name="T17" fmla="*/ 273 h 3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51" h="313">
                  <a:moveTo>
                    <a:pt x="630" y="273"/>
                  </a:moveTo>
                  <a:cubicBezTo>
                    <a:pt x="589" y="273"/>
                    <a:pt x="589" y="273"/>
                    <a:pt x="589" y="273"/>
                  </a:cubicBezTo>
                  <a:cubicBezTo>
                    <a:pt x="578" y="113"/>
                    <a:pt x="454" y="0"/>
                    <a:pt x="304" y="0"/>
                  </a:cubicBezTo>
                  <a:cubicBezTo>
                    <a:pt x="153" y="0"/>
                    <a:pt x="30" y="116"/>
                    <a:pt x="19" y="271"/>
                  </a:cubicBezTo>
                  <a:cubicBezTo>
                    <a:pt x="9" y="272"/>
                    <a:pt x="0" y="281"/>
                    <a:pt x="0" y="292"/>
                  </a:cubicBezTo>
                  <a:cubicBezTo>
                    <a:pt x="0" y="303"/>
                    <a:pt x="10" y="313"/>
                    <a:pt x="21" y="313"/>
                  </a:cubicBezTo>
                  <a:cubicBezTo>
                    <a:pt x="630" y="313"/>
                    <a:pt x="630" y="313"/>
                    <a:pt x="630" y="313"/>
                  </a:cubicBezTo>
                  <a:cubicBezTo>
                    <a:pt x="642" y="313"/>
                    <a:pt x="651" y="304"/>
                    <a:pt x="651" y="293"/>
                  </a:cubicBezTo>
                  <a:cubicBezTo>
                    <a:pt x="651" y="282"/>
                    <a:pt x="642" y="273"/>
                    <a:pt x="630" y="273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38" name="Freeform 255"/>
            <p:cNvSpPr>
              <a:spLocks/>
            </p:cNvSpPr>
            <p:nvPr/>
          </p:nvSpPr>
          <p:spPr bwMode="auto">
            <a:xfrm flipH="1">
              <a:off x="6598421" y="4170929"/>
              <a:ext cx="1474828" cy="2827101"/>
            </a:xfrm>
            <a:custGeom>
              <a:avLst/>
              <a:gdLst>
                <a:gd name="T0" fmla="*/ 835 w 1488"/>
                <a:gd name="T1" fmla="*/ 717 h 2854"/>
                <a:gd name="T2" fmla="*/ 851 w 1488"/>
                <a:gd name="T3" fmla="*/ 708 h 2854"/>
                <a:gd name="T4" fmla="*/ 1249 w 1488"/>
                <a:gd name="T5" fmla="*/ 68 h 2854"/>
                <a:gd name="T6" fmla="*/ 1417 w 1488"/>
                <a:gd name="T7" fmla="*/ 36 h 2854"/>
                <a:gd name="T8" fmla="*/ 1451 w 1488"/>
                <a:gd name="T9" fmla="*/ 199 h 2854"/>
                <a:gd name="T10" fmla="*/ 890 w 1488"/>
                <a:gd name="T11" fmla="*/ 1074 h 2854"/>
                <a:gd name="T12" fmla="*/ 887 w 1488"/>
                <a:gd name="T13" fmla="*/ 1085 h 2854"/>
                <a:gd name="T14" fmla="*/ 887 w 1488"/>
                <a:gd name="T15" fmla="*/ 1839 h 2854"/>
                <a:gd name="T16" fmla="*/ 887 w 1488"/>
                <a:gd name="T17" fmla="*/ 1906 h 2854"/>
                <a:gd name="T18" fmla="*/ 887 w 1488"/>
                <a:gd name="T19" fmla="*/ 2723 h 2854"/>
                <a:gd name="T20" fmla="*/ 751 w 1488"/>
                <a:gd name="T21" fmla="*/ 2854 h 2854"/>
                <a:gd name="T22" fmla="*/ 749 w 1488"/>
                <a:gd name="T23" fmla="*/ 2854 h 2854"/>
                <a:gd name="T24" fmla="*/ 614 w 1488"/>
                <a:gd name="T25" fmla="*/ 2723 h 2854"/>
                <a:gd name="T26" fmla="*/ 614 w 1488"/>
                <a:gd name="T27" fmla="*/ 1925 h 2854"/>
                <a:gd name="T28" fmla="*/ 595 w 1488"/>
                <a:gd name="T29" fmla="*/ 1906 h 2854"/>
                <a:gd name="T30" fmla="*/ 576 w 1488"/>
                <a:gd name="T31" fmla="*/ 1906 h 2854"/>
                <a:gd name="T32" fmla="*/ 557 w 1488"/>
                <a:gd name="T33" fmla="*/ 1925 h 2854"/>
                <a:gd name="T34" fmla="*/ 557 w 1488"/>
                <a:gd name="T35" fmla="*/ 2723 h 2854"/>
                <a:gd name="T36" fmla="*/ 421 w 1488"/>
                <a:gd name="T37" fmla="*/ 2854 h 2854"/>
                <a:gd name="T38" fmla="*/ 419 w 1488"/>
                <a:gd name="T39" fmla="*/ 2854 h 2854"/>
                <a:gd name="T40" fmla="*/ 283 w 1488"/>
                <a:gd name="T41" fmla="*/ 2723 h 2854"/>
                <a:gd name="T42" fmla="*/ 283 w 1488"/>
                <a:gd name="T43" fmla="*/ 1906 h 2854"/>
                <a:gd name="T44" fmla="*/ 283 w 1488"/>
                <a:gd name="T45" fmla="*/ 1839 h 2854"/>
                <a:gd name="T46" fmla="*/ 283 w 1488"/>
                <a:gd name="T47" fmla="*/ 1103 h 2854"/>
                <a:gd name="T48" fmla="*/ 263 w 1488"/>
                <a:gd name="T49" fmla="*/ 1085 h 2854"/>
                <a:gd name="T50" fmla="*/ 263 w 1488"/>
                <a:gd name="T51" fmla="*/ 1085 h 2854"/>
                <a:gd name="T52" fmla="*/ 246 w 1488"/>
                <a:gd name="T53" fmla="*/ 1103 h 2854"/>
                <a:gd name="T54" fmla="*/ 246 w 1488"/>
                <a:gd name="T55" fmla="*/ 1712 h 2854"/>
                <a:gd name="T56" fmla="*/ 123 w 1488"/>
                <a:gd name="T57" fmla="*/ 1830 h 2854"/>
                <a:gd name="T58" fmla="*/ 0 w 1488"/>
                <a:gd name="T59" fmla="*/ 1712 h 2854"/>
                <a:gd name="T60" fmla="*/ 0 w 1488"/>
                <a:gd name="T61" fmla="*/ 1170 h 2854"/>
                <a:gd name="T62" fmla="*/ 0 w 1488"/>
                <a:gd name="T63" fmla="*/ 1024 h 2854"/>
                <a:gd name="T64" fmla="*/ 0 w 1488"/>
                <a:gd name="T65" fmla="*/ 736 h 2854"/>
                <a:gd name="T66" fmla="*/ 19 w 1488"/>
                <a:gd name="T67" fmla="*/ 717 h 2854"/>
                <a:gd name="T68" fmla="*/ 835 w 1488"/>
                <a:gd name="T69" fmla="*/ 717 h 28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488" h="2854">
                  <a:moveTo>
                    <a:pt x="835" y="717"/>
                  </a:moveTo>
                  <a:cubicBezTo>
                    <a:pt x="841" y="717"/>
                    <a:pt x="847" y="714"/>
                    <a:pt x="851" y="708"/>
                  </a:cubicBezTo>
                  <a:cubicBezTo>
                    <a:pt x="1249" y="68"/>
                    <a:pt x="1249" y="68"/>
                    <a:pt x="1249" y="68"/>
                  </a:cubicBezTo>
                  <a:cubicBezTo>
                    <a:pt x="1286" y="14"/>
                    <a:pt x="1361" y="0"/>
                    <a:pt x="1417" y="36"/>
                  </a:cubicBezTo>
                  <a:cubicBezTo>
                    <a:pt x="1473" y="72"/>
                    <a:pt x="1488" y="145"/>
                    <a:pt x="1451" y="199"/>
                  </a:cubicBezTo>
                  <a:cubicBezTo>
                    <a:pt x="890" y="1074"/>
                    <a:pt x="890" y="1074"/>
                    <a:pt x="890" y="1074"/>
                  </a:cubicBezTo>
                  <a:cubicBezTo>
                    <a:pt x="888" y="1077"/>
                    <a:pt x="887" y="1081"/>
                    <a:pt x="887" y="1085"/>
                  </a:cubicBezTo>
                  <a:cubicBezTo>
                    <a:pt x="887" y="1839"/>
                    <a:pt x="887" y="1839"/>
                    <a:pt x="887" y="1839"/>
                  </a:cubicBezTo>
                  <a:cubicBezTo>
                    <a:pt x="887" y="1906"/>
                    <a:pt x="887" y="1906"/>
                    <a:pt x="887" y="1906"/>
                  </a:cubicBezTo>
                  <a:cubicBezTo>
                    <a:pt x="887" y="2723"/>
                    <a:pt x="887" y="2723"/>
                    <a:pt x="887" y="2723"/>
                  </a:cubicBezTo>
                  <a:cubicBezTo>
                    <a:pt x="887" y="2795"/>
                    <a:pt x="826" y="2854"/>
                    <a:pt x="751" y="2854"/>
                  </a:cubicBezTo>
                  <a:cubicBezTo>
                    <a:pt x="749" y="2854"/>
                    <a:pt x="749" y="2854"/>
                    <a:pt x="749" y="2854"/>
                  </a:cubicBezTo>
                  <a:cubicBezTo>
                    <a:pt x="675" y="2854"/>
                    <a:pt x="614" y="2795"/>
                    <a:pt x="614" y="2723"/>
                  </a:cubicBezTo>
                  <a:cubicBezTo>
                    <a:pt x="614" y="1925"/>
                    <a:pt x="614" y="1925"/>
                    <a:pt x="614" y="1925"/>
                  </a:cubicBezTo>
                  <a:cubicBezTo>
                    <a:pt x="614" y="1914"/>
                    <a:pt x="605" y="1906"/>
                    <a:pt x="595" y="1906"/>
                  </a:cubicBezTo>
                  <a:cubicBezTo>
                    <a:pt x="576" y="1906"/>
                    <a:pt x="576" y="1906"/>
                    <a:pt x="576" y="1906"/>
                  </a:cubicBezTo>
                  <a:cubicBezTo>
                    <a:pt x="565" y="1906"/>
                    <a:pt x="557" y="1914"/>
                    <a:pt x="557" y="1925"/>
                  </a:cubicBezTo>
                  <a:cubicBezTo>
                    <a:pt x="557" y="2723"/>
                    <a:pt x="557" y="2723"/>
                    <a:pt x="557" y="2723"/>
                  </a:cubicBezTo>
                  <a:cubicBezTo>
                    <a:pt x="557" y="2795"/>
                    <a:pt x="495" y="2854"/>
                    <a:pt x="421" y="2854"/>
                  </a:cubicBezTo>
                  <a:cubicBezTo>
                    <a:pt x="419" y="2854"/>
                    <a:pt x="419" y="2854"/>
                    <a:pt x="419" y="2854"/>
                  </a:cubicBezTo>
                  <a:cubicBezTo>
                    <a:pt x="344" y="2854"/>
                    <a:pt x="283" y="2795"/>
                    <a:pt x="283" y="2723"/>
                  </a:cubicBezTo>
                  <a:cubicBezTo>
                    <a:pt x="283" y="1906"/>
                    <a:pt x="283" y="1906"/>
                    <a:pt x="283" y="1906"/>
                  </a:cubicBezTo>
                  <a:cubicBezTo>
                    <a:pt x="283" y="1839"/>
                    <a:pt x="283" y="1839"/>
                    <a:pt x="283" y="1839"/>
                  </a:cubicBezTo>
                  <a:cubicBezTo>
                    <a:pt x="283" y="1103"/>
                    <a:pt x="283" y="1103"/>
                    <a:pt x="283" y="1103"/>
                  </a:cubicBezTo>
                  <a:cubicBezTo>
                    <a:pt x="283" y="1092"/>
                    <a:pt x="274" y="1084"/>
                    <a:pt x="263" y="1085"/>
                  </a:cubicBezTo>
                  <a:cubicBezTo>
                    <a:pt x="263" y="1085"/>
                    <a:pt x="263" y="1085"/>
                    <a:pt x="263" y="1085"/>
                  </a:cubicBezTo>
                  <a:cubicBezTo>
                    <a:pt x="253" y="1086"/>
                    <a:pt x="246" y="1094"/>
                    <a:pt x="246" y="1103"/>
                  </a:cubicBezTo>
                  <a:cubicBezTo>
                    <a:pt x="246" y="1712"/>
                    <a:pt x="246" y="1712"/>
                    <a:pt x="246" y="1712"/>
                  </a:cubicBezTo>
                  <a:cubicBezTo>
                    <a:pt x="246" y="1778"/>
                    <a:pt x="190" y="1830"/>
                    <a:pt x="123" y="1830"/>
                  </a:cubicBezTo>
                  <a:cubicBezTo>
                    <a:pt x="56" y="1830"/>
                    <a:pt x="0" y="1778"/>
                    <a:pt x="0" y="1712"/>
                  </a:cubicBezTo>
                  <a:cubicBezTo>
                    <a:pt x="0" y="1170"/>
                    <a:pt x="0" y="1170"/>
                    <a:pt x="0" y="1170"/>
                  </a:cubicBezTo>
                  <a:cubicBezTo>
                    <a:pt x="0" y="1024"/>
                    <a:pt x="0" y="1024"/>
                    <a:pt x="0" y="1024"/>
                  </a:cubicBezTo>
                  <a:cubicBezTo>
                    <a:pt x="0" y="736"/>
                    <a:pt x="0" y="736"/>
                    <a:pt x="0" y="736"/>
                  </a:cubicBezTo>
                  <a:cubicBezTo>
                    <a:pt x="0" y="726"/>
                    <a:pt x="9" y="717"/>
                    <a:pt x="19" y="717"/>
                  </a:cubicBezTo>
                  <a:lnTo>
                    <a:pt x="835" y="717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39" name="Freeform 256"/>
            <p:cNvSpPr>
              <a:spLocks/>
            </p:cNvSpPr>
            <p:nvPr/>
          </p:nvSpPr>
          <p:spPr bwMode="auto">
            <a:xfrm flipH="1">
              <a:off x="7195557" y="4513916"/>
              <a:ext cx="604838" cy="327025"/>
            </a:xfrm>
            <a:custGeom>
              <a:avLst/>
              <a:gdLst>
                <a:gd name="T0" fmla="*/ 1 w 535"/>
                <a:gd name="T1" fmla="*/ 0 h 290"/>
                <a:gd name="T2" fmla="*/ 0 w 535"/>
                <a:gd name="T3" fmla="*/ 22 h 290"/>
                <a:gd name="T4" fmla="*/ 267 w 535"/>
                <a:gd name="T5" fmla="*/ 290 h 290"/>
                <a:gd name="T6" fmla="*/ 535 w 535"/>
                <a:gd name="T7" fmla="*/ 22 h 290"/>
                <a:gd name="T8" fmla="*/ 534 w 535"/>
                <a:gd name="T9" fmla="*/ 0 h 290"/>
                <a:gd name="T10" fmla="*/ 1 w 535"/>
                <a:gd name="T11" fmla="*/ 0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35" h="290">
                  <a:moveTo>
                    <a:pt x="1" y="0"/>
                  </a:moveTo>
                  <a:cubicBezTo>
                    <a:pt x="0" y="7"/>
                    <a:pt x="0" y="15"/>
                    <a:pt x="0" y="22"/>
                  </a:cubicBezTo>
                  <a:cubicBezTo>
                    <a:pt x="0" y="170"/>
                    <a:pt x="120" y="290"/>
                    <a:pt x="267" y="290"/>
                  </a:cubicBezTo>
                  <a:cubicBezTo>
                    <a:pt x="415" y="290"/>
                    <a:pt x="535" y="170"/>
                    <a:pt x="535" y="22"/>
                  </a:cubicBezTo>
                  <a:cubicBezTo>
                    <a:pt x="535" y="15"/>
                    <a:pt x="534" y="7"/>
                    <a:pt x="534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cxnSp>
        <p:nvCxnSpPr>
          <p:cNvPr id="561" name="Straight Connector 560"/>
          <p:cNvCxnSpPr/>
          <p:nvPr/>
        </p:nvCxnSpPr>
        <p:spPr>
          <a:xfrm>
            <a:off x="1791307" y="6040544"/>
            <a:ext cx="4102298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2" name="Straight Connector 561"/>
          <p:cNvCxnSpPr/>
          <p:nvPr/>
        </p:nvCxnSpPr>
        <p:spPr>
          <a:xfrm>
            <a:off x="6172924" y="2376738"/>
            <a:ext cx="0" cy="3753805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dash"/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466695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7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5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5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500"/>
                            </p:stCondLst>
                            <p:childTnLst>
                              <p:par>
                                <p:cTn id="17" presetID="37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900" decel="100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1500"/>
                            </p:stCondLst>
                            <p:childTnLst>
                              <p:par>
                                <p:cTn id="24" presetID="2" presetClass="entr" presetSubtype="2" fill="hold" nodeType="after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8" presetID="2" presetClass="entr" presetSubtype="2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2" presetID="2" presetClass="entr" presetSubtype="2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6" presetID="2" presetClass="entr" presetSubtype="2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0" presetID="2" presetClass="entr" presetSubtype="2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2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4" presetID="2" presetClass="entr" presetSubtype="2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6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8" presetID="8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49" dur="2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50" presetID="8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51" dur="2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52" presetID="8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53" dur="2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54" presetID="8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55" dur="2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56" presetID="8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57" dur="2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58" presetID="8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59" dur="2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="" xmlns:a16="http://schemas.microsoft.com/office/drawing/2014/main" id="{28669499-5A21-4B1F-9515-D793EC10792A}"/>
              </a:ext>
            </a:extLst>
          </p:cNvPr>
          <p:cNvSpPr txBox="1"/>
          <p:nvPr/>
        </p:nvSpPr>
        <p:spPr>
          <a:xfrm>
            <a:off x="1568664" y="1033763"/>
            <a:ext cx="325505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 err="1">
                <a:solidFill>
                  <a:schemeClr val="bg2"/>
                </a:solidFill>
              </a:rPr>
              <a:t>Aplikasi</a:t>
            </a:r>
            <a:r>
              <a:rPr lang="en-US" sz="1600" b="1" dirty="0">
                <a:solidFill>
                  <a:schemeClr val="bg2"/>
                </a:solidFill>
              </a:rPr>
              <a:t> </a:t>
            </a:r>
            <a:r>
              <a:rPr lang="en-US" sz="1600" b="1" dirty="0" smtClean="0">
                <a:solidFill>
                  <a:schemeClr val="bg2"/>
                </a:solidFill>
              </a:rPr>
              <a:t> </a:t>
            </a:r>
            <a:r>
              <a:rPr lang="en-US" sz="1600" b="1" dirty="0" err="1" smtClean="0">
                <a:solidFill>
                  <a:schemeClr val="bg2"/>
                </a:solidFill>
              </a:rPr>
              <a:t>Antrian</a:t>
            </a:r>
            <a:r>
              <a:rPr lang="en-US" sz="1600" b="1" dirty="0" smtClean="0">
                <a:solidFill>
                  <a:schemeClr val="bg2"/>
                </a:solidFill>
              </a:rPr>
              <a:t> </a:t>
            </a:r>
            <a:r>
              <a:rPr lang="en-US" sz="1600" b="1" dirty="0" err="1" smtClean="0">
                <a:solidFill>
                  <a:schemeClr val="bg2"/>
                </a:solidFill>
              </a:rPr>
              <a:t>Pelayanan</a:t>
            </a:r>
            <a:r>
              <a:rPr lang="en-US" sz="1600" b="1" dirty="0" smtClean="0">
                <a:solidFill>
                  <a:schemeClr val="bg2"/>
                </a:solidFill>
              </a:rPr>
              <a:t> </a:t>
            </a:r>
            <a:r>
              <a:rPr lang="en-US" sz="1600" b="1" dirty="0" err="1" smtClean="0">
                <a:solidFill>
                  <a:schemeClr val="bg2"/>
                </a:solidFill>
              </a:rPr>
              <a:t>Farmasi</a:t>
            </a:r>
            <a:r>
              <a:rPr lang="en-US" sz="1600" b="1" dirty="0" smtClean="0">
                <a:solidFill>
                  <a:schemeClr val="bg2"/>
                </a:solidFill>
              </a:rPr>
              <a:t> </a:t>
            </a:r>
            <a:endParaRPr lang="en-US" sz="1600" b="1" dirty="0">
              <a:solidFill>
                <a:schemeClr val="bg2"/>
              </a:solidFill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="" xmlns:a16="http://schemas.microsoft.com/office/drawing/2014/main" id="{4279FCA5-7175-48FC-AC35-2A77F108D551}"/>
              </a:ext>
            </a:extLst>
          </p:cNvPr>
          <p:cNvCxnSpPr>
            <a:cxnSpLocks/>
          </p:cNvCxnSpPr>
          <p:nvPr/>
        </p:nvCxnSpPr>
        <p:spPr>
          <a:xfrm>
            <a:off x="6565045" y="1524956"/>
            <a:ext cx="0" cy="382740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itle 11"/>
          <p:cNvSpPr txBox="1">
            <a:spLocks/>
          </p:cNvSpPr>
          <p:nvPr/>
        </p:nvSpPr>
        <p:spPr>
          <a:xfrm>
            <a:off x="1747403" y="113944"/>
            <a:ext cx="8697279" cy="518157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dirty="0" smtClean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PELYANAN ANTRIAN PASIEN</a:t>
            </a:r>
            <a:endParaRPr lang="en-US" sz="2800" dirty="0">
              <a:solidFill>
                <a:schemeClr val="bg1"/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grpSp>
        <p:nvGrpSpPr>
          <p:cNvPr id="2" name="Group 4"/>
          <p:cNvGrpSpPr/>
          <p:nvPr/>
        </p:nvGrpSpPr>
        <p:grpSpPr>
          <a:xfrm>
            <a:off x="2714979" y="666867"/>
            <a:ext cx="6762044" cy="37787"/>
            <a:chOff x="1190978" y="1043012"/>
            <a:chExt cx="6762044" cy="37787"/>
          </a:xfrm>
        </p:grpSpPr>
        <p:cxnSp>
          <p:nvCxnSpPr>
            <p:cNvPr id="16" name="Straight Connector 15"/>
            <p:cNvCxnSpPr/>
            <p:nvPr/>
          </p:nvCxnSpPr>
          <p:spPr>
            <a:xfrm>
              <a:off x="1190978" y="1061905"/>
              <a:ext cx="6762044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Rectangle 16"/>
            <p:cNvSpPr/>
            <p:nvPr/>
          </p:nvSpPr>
          <p:spPr>
            <a:xfrm>
              <a:off x="3205152" y="1043012"/>
              <a:ext cx="2733735" cy="37787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18" name="TextBox 17">
            <a:extLst>
              <a:ext uri="{FF2B5EF4-FFF2-40B4-BE49-F238E27FC236}">
                <a16:creationId xmlns="" xmlns:a16="http://schemas.microsoft.com/office/drawing/2014/main" id="{9A732C5A-F055-41CA-9024-15BE84C3DE41}"/>
              </a:ext>
            </a:extLst>
          </p:cNvPr>
          <p:cNvSpPr txBox="1"/>
          <p:nvPr/>
        </p:nvSpPr>
        <p:spPr>
          <a:xfrm>
            <a:off x="7783160" y="859726"/>
            <a:ext cx="332321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 err="1" smtClean="0">
                <a:solidFill>
                  <a:schemeClr val="bg2"/>
                </a:solidFill>
              </a:rPr>
              <a:t>Aplikasi</a:t>
            </a:r>
            <a:r>
              <a:rPr lang="en-US" sz="1600" b="1" dirty="0" smtClean="0">
                <a:solidFill>
                  <a:schemeClr val="bg2"/>
                </a:solidFill>
              </a:rPr>
              <a:t> </a:t>
            </a:r>
            <a:r>
              <a:rPr lang="en-US" sz="1600" b="1" dirty="0" err="1" smtClean="0">
                <a:solidFill>
                  <a:schemeClr val="bg2"/>
                </a:solidFill>
              </a:rPr>
              <a:t>Antrian</a:t>
            </a:r>
            <a:r>
              <a:rPr lang="en-US" sz="1600" b="1" dirty="0" smtClean="0">
                <a:solidFill>
                  <a:schemeClr val="bg2"/>
                </a:solidFill>
              </a:rPr>
              <a:t> </a:t>
            </a:r>
            <a:r>
              <a:rPr lang="en-US" sz="1600" b="1" dirty="0" err="1" smtClean="0">
                <a:solidFill>
                  <a:schemeClr val="bg2"/>
                </a:solidFill>
              </a:rPr>
              <a:t>Pendaftaraan</a:t>
            </a:r>
            <a:r>
              <a:rPr lang="en-US" sz="1600" b="1" dirty="0" smtClean="0">
                <a:solidFill>
                  <a:schemeClr val="bg2"/>
                </a:solidFill>
              </a:rPr>
              <a:t> </a:t>
            </a:r>
            <a:r>
              <a:rPr lang="en-US" sz="1600" b="1" dirty="0" err="1" smtClean="0">
                <a:solidFill>
                  <a:schemeClr val="bg2"/>
                </a:solidFill>
              </a:rPr>
              <a:t>Pasien</a:t>
            </a:r>
            <a:endParaRPr lang="en-US" sz="1600" b="1" dirty="0">
              <a:solidFill>
                <a:schemeClr val="bg2"/>
              </a:solidFill>
            </a:endParaRPr>
          </a:p>
        </p:txBody>
      </p:sp>
      <p:pic>
        <p:nvPicPr>
          <p:cNvPr id="2050" name="Picture 2" descr="D:\backup pc D\SIMRS\CAPAIAN IKU\CAPAIAN IKU 2019\IMG_20190709_121150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46945" y="1917592"/>
            <a:ext cx="4419984" cy="3434767"/>
          </a:xfrm>
          <a:prstGeom prst="rect">
            <a:avLst/>
          </a:prstGeom>
          <a:noFill/>
        </p:spPr>
      </p:pic>
      <p:pic>
        <p:nvPicPr>
          <p:cNvPr id="2051" name="Picture 3" descr="D:\backup pc D\SIMRS\CAPAIAN IKU\CAPAIAN IKU 2019\IMG_20190709_121235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122920" y="1713187"/>
            <a:ext cx="2366404" cy="365670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5509052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="" xmlns:a16="http://schemas.microsoft.com/office/drawing/2014/main" id="{28669499-5A21-4B1F-9515-D793EC10792A}"/>
              </a:ext>
            </a:extLst>
          </p:cNvPr>
          <p:cNvSpPr txBox="1"/>
          <p:nvPr/>
        </p:nvSpPr>
        <p:spPr>
          <a:xfrm>
            <a:off x="2483065" y="1524956"/>
            <a:ext cx="165211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 err="1">
                <a:solidFill>
                  <a:schemeClr val="bg2"/>
                </a:solidFill>
              </a:rPr>
              <a:t>Aplikasi</a:t>
            </a:r>
            <a:r>
              <a:rPr lang="en-US" sz="1600" b="1" dirty="0">
                <a:solidFill>
                  <a:schemeClr val="bg2"/>
                </a:solidFill>
              </a:rPr>
              <a:t> </a:t>
            </a:r>
            <a:r>
              <a:rPr lang="en-US" sz="1600" b="1" dirty="0" smtClean="0">
                <a:solidFill>
                  <a:schemeClr val="bg2"/>
                </a:solidFill>
              </a:rPr>
              <a:t> E-MUTU</a:t>
            </a:r>
            <a:endParaRPr lang="en-US" sz="1600" b="1" dirty="0">
              <a:solidFill>
                <a:schemeClr val="bg2"/>
              </a:solidFill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="" xmlns:a16="http://schemas.microsoft.com/office/drawing/2014/main" id="{4279FCA5-7175-48FC-AC35-2A77F108D551}"/>
              </a:ext>
            </a:extLst>
          </p:cNvPr>
          <p:cNvCxnSpPr>
            <a:cxnSpLocks/>
          </p:cNvCxnSpPr>
          <p:nvPr/>
        </p:nvCxnSpPr>
        <p:spPr>
          <a:xfrm>
            <a:off x="6091709" y="1524956"/>
            <a:ext cx="0" cy="382740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itle 11"/>
          <p:cNvSpPr txBox="1">
            <a:spLocks/>
          </p:cNvSpPr>
          <p:nvPr/>
        </p:nvSpPr>
        <p:spPr>
          <a:xfrm>
            <a:off x="1747403" y="113944"/>
            <a:ext cx="8697279" cy="518157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dirty="0" smtClean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SISTEM INFORMASI LAIN</a:t>
            </a:r>
            <a:endParaRPr lang="en-US" sz="2800" dirty="0">
              <a:solidFill>
                <a:schemeClr val="bg1"/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grpSp>
        <p:nvGrpSpPr>
          <p:cNvPr id="2" name="Group 4"/>
          <p:cNvGrpSpPr/>
          <p:nvPr/>
        </p:nvGrpSpPr>
        <p:grpSpPr>
          <a:xfrm>
            <a:off x="2714979" y="666867"/>
            <a:ext cx="6762044" cy="37787"/>
            <a:chOff x="1190978" y="1043012"/>
            <a:chExt cx="6762044" cy="37787"/>
          </a:xfrm>
        </p:grpSpPr>
        <p:cxnSp>
          <p:nvCxnSpPr>
            <p:cNvPr id="16" name="Straight Connector 15"/>
            <p:cNvCxnSpPr/>
            <p:nvPr/>
          </p:nvCxnSpPr>
          <p:spPr>
            <a:xfrm>
              <a:off x="1190978" y="1061905"/>
              <a:ext cx="6762044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Rectangle 16"/>
            <p:cNvSpPr/>
            <p:nvPr/>
          </p:nvSpPr>
          <p:spPr>
            <a:xfrm>
              <a:off x="3205152" y="1043012"/>
              <a:ext cx="2733735" cy="37787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18" name="TextBox 17">
            <a:extLst>
              <a:ext uri="{FF2B5EF4-FFF2-40B4-BE49-F238E27FC236}">
                <a16:creationId xmlns="" xmlns:a16="http://schemas.microsoft.com/office/drawing/2014/main" id="{9A732C5A-F055-41CA-9024-15BE84C3DE41}"/>
              </a:ext>
            </a:extLst>
          </p:cNvPr>
          <p:cNvSpPr txBox="1"/>
          <p:nvPr/>
        </p:nvSpPr>
        <p:spPr>
          <a:xfrm>
            <a:off x="8384877" y="1524956"/>
            <a:ext cx="149912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 err="1">
                <a:solidFill>
                  <a:schemeClr val="bg2"/>
                </a:solidFill>
              </a:rPr>
              <a:t>Aplikasi</a:t>
            </a:r>
            <a:r>
              <a:rPr lang="en-US" sz="1600" b="1" dirty="0">
                <a:solidFill>
                  <a:schemeClr val="bg2"/>
                </a:solidFill>
              </a:rPr>
              <a:t> </a:t>
            </a:r>
            <a:r>
              <a:rPr lang="en-US" sz="1600" b="1" dirty="0" smtClean="0">
                <a:solidFill>
                  <a:schemeClr val="bg2"/>
                </a:solidFill>
              </a:rPr>
              <a:t> TOOLS</a:t>
            </a:r>
            <a:endParaRPr lang="en-US" sz="1600" b="1" dirty="0">
              <a:solidFill>
                <a:schemeClr val="bg2"/>
              </a:solidFill>
            </a:endParaRPr>
          </a:p>
        </p:txBody>
      </p:sp>
      <p:pic>
        <p:nvPicPr>
          <p:cNvPr id="15" name="Image1"/>
          <p:cNvPicPr/>
          <p:nvPr/>
        </p:nvPicPr>
        <p:blipFill>
          <a:blip r:embed="rId2"/>
          <a:stretch>
            <a:fillRect/>
          </a:stretch>
        </p:blipFill>
        <p:spPr bwMode="auto">
          <a:xfrm>
            <a:off x="555048" y="1972139"/>
            <a:ext cx="5215132" cy="3380219"/>
          </a:xfrm>
          <a:prstGeom prst="rect">
            <a:avLst/>
          </a:prstGeom>
        </p:spPr>
      </p:pic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6439350" y="1972139"/>
            <a:ext cx="5573974" cy="33802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35509052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1"/>
          <p:cNvSpPr txBox="1">
            <a:spLocks/>
          </p:cNvSpPr>
          <p:nvPr/>
        </p:nvSpPr>
        <p:spPr>
          <a:xfrm>
            <a:off x="1747403" y="219044"/>
            <a:ext cx="8697279" cy="518157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dirty="0" smtClean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SISTEM INFORMASI LAIN</a:t>
            </a:r>
            <a:endParaRPr lang="en-US" sz="2800" dirty="0">
              <a:solidFill>
                <a:schemeClr val="bg1"/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grpSp>
        <p:nvGrpSpPr>
          <p:cNvPr id="2" name="Group 4"/>
          <p:cNvGrpSpPr/>
          <p:nvPr/>
        </p:nvGrpSpPr>
        <p:grpSpPr>
          <a:xfrm>
            <a:off x="2714979" y="771967"/>
            <a:ext cx="6762044" cy="37787"/>
            <a:chOff x="1190978" y="1043012"/>
            <a:chExt cx="6762044" cy="37787"/>
          </a:xfrm>
        </p:grpSpPr>
        <p:cxnSp>
          <p:nvCxnSpPr>
            <p:cNvPr id="12" name="Straight Connector 11"/>
            <p:cNvCxnSpPr/>
            <p:nvPr/>
          </p:nvCxnSpPr>
          <p:spPr>
            <a:xfrm>
              <a:off x="1190978" y="1061905"/>
              <a:ext cx="6762044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" name="Rectangle 12"/>
            <p:cNvSpPr/>
            <p:nvPr/>
          </p:nvSpPr>
          <p:spPr>
            <a:xfrm>
              <a:off x="3205152" y="1043012"/>
              <a:ext cx="2733735" cy="37787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9" name="TextBox 8">
            <a:extLst>
              <a:ext uri="{FF2B5EF4-FFF2-40B4-BE49-F238E27FC236}">
                <a16:creationId xmlns="" xmlns:a16="http://schemas.microsoft.com/office/drawing/2014/main" id="{28669499-5A21-4B1F-9515-D793EC10792A}"/>
              </a:ext>
            </a:extLst>
          </p:cNvPr>
          <p:cNvSpPr txBox="1"/>
          <p:nvPr/>
        </p:nvSpPr>
        <p:spPr>
          <a:xfrm>
            <a:off x="2246845" y="1029125"/>
            <a:ext cx="160903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 err="1">
                <a:solidFill>
                  <a:schemeClr val="bg2"/>
                </a:solidFill>
              </a:rPr>
              <a:t>Aplikasi</a:t>
            </a:r>
            <a:r>
              <a:rPr lang="en-US" sz="1600" b="1" dirty="0">
                <a:solidFill>
                  <a:schemeClr val="bg2"/>
                </a:solidFill>
              </a:rPr>
              <a:t> </a:t>
            </a:r>
            <a:r>
              <a:rPr lang="en-US" sz="1600" b="1" dirty="0" smtClean="0">
                <a:solidFill>
                  <a:schemeClr val="bg2"/>
                </a:solidFill>
              </a:rPr>
              <a:t> SIMPEG</a:t>
            </a:r>
            <a:endParaRPr lang="en-US" sz="1600" b="1" dirty="0">
              <a:solidFill>
                <a:schemeClr val="bg2"/>
              </a:solidFill>
            </a:endParaRPr>
          </a:p>
        </p:txBody>
      </p:sp>
      <p:cxnSp>
        <p:nvCxnSpPr>
          <p:cNvPr id="11" name="Straight Connector 10">
            <a:extLst>
              <a:ext uri="{FF2B5EF4-FFF2-40B4-BE49-F238E27FC236}">
                <a16:creationId xmlns="" xmlns:a16="http://schemas.microsoft.com/office/drawing/2014/main" id="{4279FCA5-7175-48FC-AC35-2A77F108D551}"/>
              </a:ext>
            </a:extLst>
          </p:cNvPr>
          <p:cNvCxnSpPr>
            <a:cxnSpLocks/>
          </p:cNvCxnSpPr>
          <p:nvPr/>
        </p:nvCxnSpPr>
        <p:spPr>
          <a:xfrm>
            <a:off x="6091709" y="1524956"/>
            <a:ext cx="0" cy="382740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="" xmlns:a16="http://schemas.microsoft.com/office/drawing/2014/main" id="{9A732C5A-F055-41CA-9024-15BE84C3DE41}"/>
              </a:ext>
            </a:extLst>
          </p:cNvPr>
          <p:cNvSpPr txBox="1"/>
          <p:nvPr/>
        </p:nvSpPr>
        <p:spPr>
          <a:xfrm>
            <a:off x="7193139" y="807174"/>
            <a:ext cx="299229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>
                <a:solidFill>
                  <a:schemeClr val="bg2"/>
                </a:solidFill>
              </a:rPr>
              <a:t>Aplikasi Maintenance Alat Medik</a:t>
            </a: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351416" y="1524956"/>
            <a:ext cx="5513356" cy="27737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6" name="Rectangle 15"/>
          <p:cNvSpPr/>
          <p:nvPr/>
        </p:nvSpPr>
        <p:spPr>
          <a:xfrm>
            <a:off x="357352" y="2060027"/>
            <a:ext cx="704193" cy="17867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7" name="Picture 16">
            <a:extLst>
              <a:ext uri="{FF2B5EF4-FFF2-40B4-BE49-F238E27FC236}">
                <a16:creationId xmlns="" xmlns:a16="http://schemas.microsoft.com/office/drawing/2014/main" id="{80DF0937-8432-435C-BA55-5F1363F6B20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549894" y="1524956"/>
            <a:ext cx="4741283" cy="239934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8" name="Picture 17">
            <a:extLst>
              <a:ext uri="{FF2B5EF4-FFF2-40B4-BE49-F238E27FC236}">
                <a16:creationId xmlns="" xmlns:a16="http://schemas.microsoft.com/office/drawing/2014/main" id="{1FF42A6B-38D3-4CB9-B8D2-8D9B55FC0B6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549893" y="4175760"/>
            <a:ext cx="4741283" cy="224043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="" xmlns:a16="http://schemas.microsoft.com/office/drawing/2014/main" id="{28669499-5A21-4B1F-9515-D793EC10792A}"/>
              </a:ext>
            </a:extLst>
          </p:cNvPr>
          <p:cNvSpPr txBox="1"/>
          <p:nvPr/>
        </p:nvSpPr>
        <p:spPr>
          <a:xfrm>
            <a:off x="2167754" y="792026"/>
            <a:ext cx="251254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 err="1">
                <a:solidFill>
                  <a:schemeClr val="bg2"/>
                </a:solidFill>
              </a:rPr>
              <a:t>Aplikasi</a:t>
            </a:r>
            <a:r>
              <a:rPr lang="en-US" sz="1600" b="1" dirty="0">
                <a:solidFill>
                  <a:schemeClr val="bg2"/>
                </a:solidFill>
              </a:rPr>
              <a:t> </a:t>
            </a:r>
            <a:r>
              <a:rPr lang="en-US" sz="1600" b="1" dirty="0" smtClean="0">
                <a:solidFill>
                  <a:schemeClr val="bg2"/>
                </a:solidFill>
              </a:rPr>
              <a:t> Bridging RS Online</a:t>
            </a:r>
            <a:endParaRPr lang="en-US" sz="1600" b="1" dirty="0">
              <a:solidFill>
                <a:schemeClr val="bg2"/>
              </a:solidFill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="" xmlns:a16="http://schemas.microsoft.com/office/drawing/2014/main" id="{4279FCA5-7175-48FC-AC35-2A77F108D551}"/>
              </a:ext>
            </a:extLst>
          </p:cNvPr>
          <p:cNvCxnSpPr>
            <a:cxnSpLocks/>
          </p:cNvCxnSpPr>
          <p:nvPr/>
        </p:nvCxnSpPr>
        <p:spPr>
          <a:xfrm>
            <a:off x="6091709" y="1524956"/>
            <a:ext cx="0" cy="382740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itle 11"/>
          <p:cNvSpPr txBox="1">
            <a:spLocks/>
          </p:cNvSpPr>
          <p:nvPr/>
        </p:nvSpPr>
        <p:spPr>
          <a:xfrm>
            <a:off x="1747403" y="113944"/>
            <a:ext cx="8697279" cy="518157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dirty="0" smtClean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BRIDGING ANTAR SISTEM</a:t>
            </a:r>
            <a:endParaRPr lang="en-US" sz="2800" dirty="0">
              <a:solidFill>
                <a:schemeClr val="bg1"/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grpSp>
        <p:nvGrpSpPr>
          <p:cNvPr id="2" name="Group 4"/>
          <p:cNvGrpSpPr/>
          <p:nvPr/>
        </p:nvGrpSpPr>
        <p:grpSpPr>
          <a:xfrm>
            <a:off x="2714979" y="666867"/>
            <a:ext cx="6762044" cy="37787"/>
            <a:chOff x="1190978" y="1043012"/>
            <a:chExt cx="6762044" cy="37787"/>
          </a:xfrm>
        </p:grpSpPr>
        <p:cxnSp>
          <p:nvCxnSpPr>
            <p:cNvPr id="16" name="Straight Connector 15"/>
            <p:cNvCxnSpPr/>
            <p:nvPr/>
          </p:nvCxnSpPr>
          <p:spPr>
            <a:xfrm>
              <a:off x="1190978" y="1061905"/>
              <a:ext cx="6762044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Rectangle 16"/>
            <p:cNvSpPr/>
            <p:nvPr/>
          </p:nvSpPr>
          <p:spPr>
            <a:xfrm>
              <a:off x="3205152" y="1043012"/>
              <a:ext cx="2733735" cy="37787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18" name="TextBox 17">
            <a:extLst>
              <a:ext uri="{FF2B5EF4-FFF2-40B4-BE49-F238E27FC236}">
                <a16:creationId xmlns="" xmlns:a16="http://schemas.microsoft.com/office/drawing/2014/main" id="{9A732C5A-F055-41CA-9024-15BE84C3DE41}"/>
              </a:ext>
            </a:extLst>
          </p:cNvPr>
          <p:cNvSpPr txBox="1"/>
          <p:nvPr/>
        </p:nvSpPr>
        <p:spPr>
          <a:xfrm>
            <a:off x="7783160" y="807174"/>
            <a:ext cx="239270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 err="1">
                <a:solidFill>
                  <a:schemeClr val="bg2"/>
                </a:solidFill>
              </a:rPr>
              <a:t>Aplikasi</a:t>
            </a:r>
            <a:r>
              <a:rPr lang="en-US" sz="1600" b="1" dirty="0">
                <a:solidFill>
                  <a:schemeClr val="bg2"/>
                </a:solidFill>
              </a:rPr>
              <a:t> </a:t>
            </a:r>
            <a:r>
              <a:rPr lang="en-US" sz="1600" b="1" dirty="0" smtClean="0">
                <a:solidFill>
                  <a:schemeClr val="bg2"/>
                </a:solidFill>
              </a:rPr>
              <a:t> Bridging SISRUTE</a:t>
            </a:r>
            <a:endParaRPr lang="en-US" sz="1600" b="1" dirty="0">
              <a:solidFill>
                <a:schemeClr val="bg2"/>
              </a:solidFill>
            </a:endParaRPr>
          </a:p>
        </p:txBody>
      </p:sp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6522719" y="1599025"/>
            <a:ext cx="5228217" cy="41083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9" name="Picture 18"/>
          <p:cNvPicPr/>
          <p:nvPr/>
        </p:nvPicPr>
        <p:blipFill>
          <a:blip r:embed="rId3"/>
          <a:stretch>
            <a:fillRect/>
          </a:stretch>
        </p:blipFill>
        <p:spPr>
          <a:xfrm>
            <a:off x="500554" y="1712034"/>
            <a:ext cx="5458812" cy="39953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09052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="" xmlns:a16="http://schemas.microsoft.com/office/drawing/2014/main" id="{28669499-5A21-4B1F-9515-D793EC10792A}"/>
              </a:ext>
            </a:extLst>
          </p:cNvPr>
          <p:cNvSpPr txBox="1"/>
          <p:nvPr/>
        </p:nvSpPr>
        <p:spPr>
          <a:xfrm>
            <a:off x="2483065" y="1119524"/>
            <a:ext cx="154593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 err="1">
                <a:solidFill>
                  <a:schemeClr val="bg2"/>
                </a:solidFill>
              </a:rPr>
              <a:t>Aplikasi</a:t>
            </a:r>
            <a:r>
              <a:rPr lang="en-US" sz="1600" b="1" dirty="0">
                <a:solidFill>
                  <a:schemeClr val="bg2"/>
                </a:solidFill>
              </a:rPr>
              <a:t> </a:t>
            </a:r>
            <a:r>
              <a:rPr lang="en-US" sz="1600" b="1" dirty="0" smtClean="0">
                <a:solidFill>
                  <a:schemeClr val="bg2"/>
                </a:solidFill>
              </a:rPr>
              <a:t> SIRSKD</a:t>
            </a:r>
            <a:endParaRPr lang="en-US" sz="1600" b="1" dirty="0">
              <a:solidFill>
                <a:schemeClr val="bg2"/>
              </a:solidFill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="" xmlns:a16="http://schemas.microsoft.com/office/drawing/2014/main" id="{4279FCA5-7175-48FC-AC35-2A77F108D551}"/>
              </a:ext>
            </a:extLst>
          </p:cNvPr>
          <p:cNvCxnSpPr>
            <a:cxnSpLocks/>
          </p:cNvCxnSpPr>
          <p:nvPr/>
        </p:nvCxnSpPr>
        <p:spPr>
          <a:xfrm>
            <a:off x="6091709" y="1524956"/>
            <a:ext cx="0" cy="382740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itle 11"/>
          <p:cNvSpPr txBox="1">
            <a:spLocks/>
          </p:cNvSpPr>
          <p:nvPr/>
        </p:nvSpPr>
        <p:spPr>
          <a:xfrm>
            <a:off x="1747403" y="113944"/>
            <a:ext cx="8697279" cy="518157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dirty="0" smtClean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HASIL PEMERIKSAAN &amp; PENDAFTARAN ONLINE</a:t>
            </a:r>
            <a:endParaRPr lang="en-US" sz="2800" dirty="0">
              <a:solidFill>
                <a:schemeClr val="bg1"/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grpSp>
        <p:nvGrpSpPr>
          <p:cNvPr id="2" name="Group 4"/>
          <p:cNvGrpSpPr/>
          <p:nvPr/>
        </p:nvGrpSpPr>
        <p:grpSpPr>
          <a:xfrm>
            <a:off x="2714979" y="666867"/>
            <a:ext cx="6762044" cy="37787"/>
            <a:chOff x="1190978" y="1043012"/>
            <a:chExt cx="6762044" cy="37787"/>
          </a:xfrm>
        </p:grpSpPr>
        <p:cxnSp>
          <p:nvCxnSpPr>
            <p:cNvPr id="16" name="Straight Connector 15"/>
            <p:cNvCxnSpPr/>
            <p:nvPr/>
          </p:nvCxnSpPr>
          <p:spPr>
            <a:xfrm>
              <a:off x="1190978" y="1061905"/>
              <a:ext cx="6762044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Rectangle 16"/>
            <p:cNvSpPr/>
            <p:nvPr/>
          </p:nvSpPr>
          <p:spPr>
            <a:xfrm>
              <a:off x="3205152" y="1043012"/>
              <a:ext cx="2733735" cy="37787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18" name="TextBox 17">
            <a:extLst>
              <a:ext uri="{FF2B5EF4-FFF2-40B4-BE49-F238E27FC236}">
                <a16:creationId xmlns="" xmlns:a16="http://schemas.microsoft.com/office/drawing/2014/main" id="{9A732C5A-F055-41CA-9024-15BE84C3DE41}"/>
              </a:ext>
            </a:extLst>
          </p:cNvPr>
          <p:cNvSpPr txBox="1"/>
          <p:nvPr/>
        </p:nvSpPr>
        <p:spPr>
          <a:xfrm>
            <a:off x="7348820" y="1119524"/>
            <a:ext cx="269599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 err="1">
                <a:solidFill>
                  <a:schemeClr val="bg2"/>
                </a:solidFill>
              </a:rPr>
              <a:t>Aplikasi</a:t>
            </a:r>
            <a:r>
              <a:rPr lang="en-US" sz="1600" b="1" dirty="0">
                <a:solidFill>
                  <a:schemeClr val="bg2"/>
                </a:solidFill>
              </a:rPr>
              <a:t> </a:t>
            </a:r>
            <a:r>
              <a:rPr lang="en-US" sz="1600" b="1" dirty="0" smtClean="0">
                <a:solidFill>
                  <a:schemeClr val="bg2"/>
                </a:solidFill>
              </a:rPr>
              <a:t> </a:t>
            </a:r>
            <a:r>
              <a:rPr lang="en-US" sz="1600" b="1" dirty="0" err="1" smtClean="0">
                <a:solidFill>
                  <a:schemeClr val="bg2"/>
                </a:solidFill>
              </a:rPr>
              <a:t>Pendaftaraan</a:t>
            </a:r>
            <a:r>
              <a:rPr lang="en-US" sz="1600" b="1" dirty="0" smtClean="0">
                <a:solidFill>
                  <a:schemeClr val="bg2"/>
                </a:solidFill>
              </a:rPr>
              <a:t> Online</a:t>
            </a:r>
            <a:endParaRPr lang="en-US" sz="1600" b="1" dirty="0">
              <a:solidFill>
                <a:schemeClr val="bg2"/>
              </a:solidFill>
            </a:endParaRPr>
          </a:p>
        </p:txBody>
      </p:sp>
      <p:grpSp>
        <p:nvGrpSpPr>
          <p:cNvPr id="5" name="Group 18"/>
          <p:cNvGrpSpPr/>
          <p:nvPr/>
        </p:nvGrpSpPr>
        <p:grpSpPr>
          <a:xfrm>
            <a:off x="655320" y="1524956"/>
            <a:ext cx="5208865" cy="4022404"/>
            <a:chOff x="392002" y="1965434"/>
            <a:chExt cx="5472183" cy="2543504"/>
          </a:xfrm>
        </p:grpSpPr>
        <p:pic>
          <p:nvPicPr>
            <p:cNvPr id="1026" name="Picture 2"/>
            <p:cNvPicPr>
              <a:picLocks noChangeAspect="1" noChangeArrowheads="1"/>
            </p:cNvPicPr>
            <p:nvPr/>
          </p:nvPicPr>
          <p:blipFill>
            <a:blip r:embed="rId2"/>
            <a:srcRect/>
            <a:stretch>
              <a:fillRect/>
            </a:stretch>
          </p:blipFill>
          <p:spPr bwMode="auto">
            <a:xfrm>
              <a:off x="392002" y="1965434"/>
              <a:ext cx="5472183" cy="254350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sp>
          <p:nvSpPr>
            <p:cNvPr id="11" name="Rectangle 10"/>
            <p:cNvSpPr/>
            <p:nvPr/>
          </p:nvSpPr>
          <p:spPr>
            <a:xfrm>
              <a:off x="399393" y="2217683"/>
              <a:ext cx="735724" cy="273269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Rectangle 11"/>
            <p:cNvSpPr/>
            <p:nvPr/>
          </p:nvSpPr>
          <p:spPr>
            <a:xfrm>
              <a:off x="5097518" y="1996966"/>
              <a:ext cx="735724" cy="273269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Rectangle 13"/>
            <p:cNvSpPr/>
            <p:nvPr/>
          </p:nvSpPr>
          <p:spPr>
            <a:xfrm>
              <a:off x="1303284" y="2596056"/>
              <a:ext cx="1608082" cy="809296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3" name="Picture 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6362700" y="1574822"/>
            <a:ext cx="4640580" cy="39725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35509052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="" xmlns:a16="http://schemas.microsoft.com/office/drawing/2014/main" id="{28669499-5A21-4B1F-9515-D793EC10792A}"/>
              </a:ext>
            </a:extLst>
          </p:cNvPr>
          <p:cNvSpPr txBox="1"/>
          <p:nvPr/>
        </p:nvSpPr>
        <p:spPr>
          <a:xfrm>
            <a:off x="2167754" y="792026"/>
            <a:ext cx="180543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 err="1">
                <a:solidFill>
                  <a:schemeClr val="bg2"/>
                </a:solidFill>
              </a:rPr>
              <a:t>Aplikasi</a:t>
            </a:r>
            <a:r>
              <a:rPr lang="en-US" sz="1600" b="1" dirty="0">
                <a:solidFill>
                  <a:schemeClr val="bg2"/>
                </a:solidFill>
              </a:rPr>
              <a:t> </a:t>
            </a:r>
            <a:r>
              <a:rPr lang="en-US" sz="1600" b="1" dirty="0" smtClean="0">
                <a:solidFill>
                  <a:schemeClr val="bg2"/>
                </a:solidFill>
              </a:rPr>
              <a:t> Tracer MR</a:t>
            </a:r>
            <a:endParaRPr lang="en-US" sz="1600" b="1" dirty="0">
              <a:solidFill>
                <a:schemeClr val="bg2"/>
              </a:solidFill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="" xmlns:a16="http://schemas.microsoft.com/office/drawing/2014/main" id="{4279FCA5-7175-48FC-AC35-2A77F108D551}"/>
              </a:ext>
            </a:extLst>
          </p:cNvPr>
          <p:cNvCxnSpPr>
            <a:cxnSpLocks/>
          </p:cNvCxnSpPr>
          <p:nvPr/>
        </p:nvCxnSpPr>
        <p:spPr>
          <a:xfrm>
            <a:off x="6091709" y="1524956"/>
            <a:ext cx="0" cy="382740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itle 11"/>
          <p:cNvSpPr txBox="1">
            <a:spLocks/>
          </p:cNvSpPr>
          <p:nvPr/>
        </p:nvSpPr>
        <p:spPr>
          <a:xfrm>
            <a:off x="1747403" y="113944"/>
            <a:ext cx="8697279" cy="518157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dirty="0" smtClean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SISTEM INFORMASI LAIN</a:t>
            </a:r>
            <a:endParaRPr lang="en-US" sz="2800" dirty="0">
              <a:solidFill>
                <a:schemeClr val="bg1"/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grpSp>
        <p:nvGrpSpPr>
          <p:cNvPr id="2" name="Group 4"/>
          <p:cNvGrpSpPr/>
          <p:nvPr/>
        </p:nvGrpSpPr>
        <p:grpSpPr>
          <a:xfrm>
            <a:off x="2714979" y="666867"/>
            <a:ext cx="6762044" cy="37787"/>
            <a:chOff x="1190978" y="1043012"/>
            <a:chExt cx="6762044" cy="37787"/>
          </a:xfrm>
        </p:grpSpPr>
        <p:cxnSp>
          <p:nvCxnSpPr>
            <p:cNvPr id="16" name="Straight Connector 15"/>
            <p:cNvCxnSpPr/>
            <p:nvPr/>
          </p:nvCxnSpPr>
          <p:spPr>
            <a:xfrm>
              <a:off x="1190978" y="1061905"/>
              <a:ext cx="6762044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Rectangle 16"/>
            <p:cNvSpPr/>
            <p:nvPr/>
          </p:nvSpPr>
          <p:spPr>
            <a:xfrm>
              <a:off x="3205152" y="1043012"/>
              <a:ext cx="2733735" cy="37787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18" name="TextBox 17">
            <a:extLst>
              <a:ext uri="{FF2B5EF4-FFF2-40B4-BE49-F238E27FC236}">
                <a16:creationId xmlns="" xmlns:a16="http://schemas.microsoft.com/office/drawing/2014/main" id="{9A732C5A-F055-41CA-9024-15BE84C3DE41}"/>
              </a:ext>
            </a:extLst>
          </p:cNvPr>
          <p:cNvSpPr txBox="1"/>
          <p:nvPr/>
        </p:nvSpPr>
        <p:spPr>
          <a:xfrm>
            <a:off x="7783160" y="807174"/>
            <a:ext cx="193264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 err="1">
                <a:solidFill>
                  <a:schemeClr val="bg2"/>
                </a:solidFill>
              </a:rPr>
              <a:t>Aplikasi</a:t>
            </a:r>
            <a:r>
              <a:rPr lang="en-US" sz="1600" b="1" dirty="0">
                <a:solidFill>
                  <a:schemeClr val="bg2"/>
                </a:solidFill>
              </a:rPr>
              <a:t> </a:t>
            </a:r>
            <a:r>
              <a:rPr lang="en-US" sz="1600" b="1" dirty="0" smtClean="0">
                <a:solidFill>
                  <a:schemeClr val="bg2"/>
                </a:solidFill>
              </a:rPr>
              <a:t> SIMPELDAR</a:t>
            </a:r>
            <a:endParaRPr lang="en-US" sz="1600" b="1" dirty="0">
              <a:solidFill>
                <a:schemeClr val="bg2"/>
              </a:solidFill>
            </a:endParaRPr>
          </a:p>
        </p:txBody>
      </p:sp>
      <p:grpSp>
        <p:nvGrpSpPr>
          <p:cNvPr id="14" name="Group 13"/>
          <p:cNvGrpSpPr/>
          <p:nvPr/>
        </p:nvGrpSpPr>
        <p:grpSpPr>
          <a:xfrm>
            <a:off x="346841" y="1712632"/>
            <a:ext cx="5420423" cy="3416417"/>
            <a:chOff x="346841" y="1712632"/>
            <a:chExt cx="5420423" cy="3416417"/>
          </a:xfrm>
        </p:grpSpPr>
        <p:pic>
          <p:nvPicPr>
            <p:cNvPr id="3074" name="Picture 2" descr="D:\backup pc D\SIMRS\SCREEN SHOOT\tracermr\screencapture-192-168-7-189-tracermr-rekam_medik-2018-05-17-09_49_38.png"/>
            <p:cNvPicPr>
              <a:picLocks noChangeAspect="1" noChangeArrowheads="1"/>
            </p:cNvPicPr>
            <p:nvPr/>
          </p:nvPicPr>
          <p:blipFill>
            <a:blip r:embed="rId2"/>
            <a:srcRect/>
            <a:stretch>
              <a:fillRect/>
            </a:stretch>
          </p:blipFill>
          <p:spPr bwMode="auto">
            <a:xfrm>
              <a:off x="346841" y="1712632"/>
              <a:ext cx="5420423" cy="3416417"/>
            </a:xfrm>
            <a:prstGeom prst="rect">
              <a:avLst/>
            </a:prstGeom>
            <a:noFill/>
          </p:spPr>
        </p:pic>
        <p:sp>
          <p:nvSpPr>
            <p:cNvPr id="12" name="Rectangle 11"/>
            <p:cNvSpPr/>
            <p:nvPr/>
          </p:nvSpPr>
          <p:spPr>
            <a:xfrm>
              <a:off x="588579" y="3594538"/>
              <a:ext cx="2165131" cy="756745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15" name="Picture 14"/>
          <p:cNvPicPr/>
          <p:nvPr/>
        </p:nvPicPr>
        <p:blipFill>
          <a:blip r:embed="rId3"/>
          <a:stretch>
            <a:fillRect/>
          </a:stretch>
        </p:blipFill>
        <p:spPr>
          <a:xfrm>
            <a:off x="6338230" y="1884467"/>
            <a:ext cx="5706625" cy="27611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09052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="" xmlns:a16="http://schemas.microsoft.com/office/drawing/2014/main" id="{28669499-5A21-4B1F-9515-D793EC10792A}"/>
              </a:ext>
            </a:extLst>
          </p:cNvPr>
          <p:cNvSpPr txBox="1"/>
          <p:nvPr/>
        </p:nvSpPr>
        <p:spPr>
          <a:xfrm>
            <a:off x="1945736" y="1130580"/>
            <a:ext cx="234410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 err="1">
                <a:solidFill>
                  <a:schemeClr val="bg2"/>
                </a:solidFill>
              </a:rPr>
              <a:t>Aplikasi</a:t>
            </a:r>
            <a:r>
              <a:rPr lang="en-US" sz="1600" b="1" dirty="0">
                <a:solidFill>
                  <a:schemeClr val="bg2"/>
                </a:solidFill>
              </a:rPr>
              <a:t> </a:t>
            </a:r>
            <a:r>
              <a:rPr lang="en-US" sz="1600" b="1" dirty="0" smtClean="0">
                <a:solidFill>
                  <a:schemeClr val="bg2"/>
                </a:solidFill>
              </a:rPr>
              <a:t> </a:t>
            </a:r>
            <a:r>
              <a:rPr lang="en-US" sz="1600" b="1" dirty="0" err="1" smtClean="0">
                <a:solidFill>
                  <a:schemeClr val="bg2"/>
                </a:solidFill>
              </a:rPr>
              <a:t>Insiden</a:t>
            </a:r>
            <a:r>
              <a:rPr lang="en-US" sz="1600" b="1" dirty="0" smtClean="0">
                <a:solidFill>
                  <a:schemeClr val="bg2"/>
                </a:solidFill>
              </a:rPr>
              <a:t> </a:t>
            </a:r>
            <a:r>
              <a:rPr lang="en-US" sz="1600" b="1" dirty="0" err="1" smtClean="0">
                <a:solidFill>
                  <a:schemeClr val="bg2"/>
                </a:solidFill>
              </a:rPr>
              <a:t>Kejadian</a:t>
            </a:r>
            <a:endParaRPr lang="en-US" sz="1600" b="1" dirty="0">
              <a:solidFill>
                <a:schemeClr val="bg2"/>
              </a:solidFill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="" xmlns:a16="http://schemas.microsoft.com/office/drawing/2014/main" id="{4279FCA5-7175-48FC-AC35-2A77F108D551}"/>
              </a:ext>
            </a:extLst>
          </p:cNvPr>
          <p:cNvCxnSpPr>
            <a:cxnSpLocks/>
          </p:cNvCxnSpPr>
          <p:nvPr/>
        </p:nvCxnSpPr>
        <p:spPr>
          <a:xfrm>
            <a:off x="6091709" y="1524956"/>
            <a:ext cx="0" cy="382740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itle 11"/>
          <p:cNvSpPr txBox="1">
            <a:spLocks/>
          </p:cNvSpPr>
          <p:nvPr/>
        </p:nvSpPr>
        <p:spPr>
          <a:xfrm>
            <a:off x="1747403" y="113944"/>
            <a:ext cx="8697279" cy="518157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dirty="0" smtClean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DASHBOARD</a:t>
            </a:r>
            <a:endParaRPr lang="en-US" sz="2800" dirty="0">
              <a:solidFill>
                <a:schemeClr val="bg1"/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grpSp>
        <p:nvGrpSpPr>
          <p:cNvPr id="2" name="Group 4"/>
          <p:cNvGrpSpPr/>
          <p:nvPr/>
        </p:nvGrpSpPr>
        <p:grpSpPr>
          <a:xfrm>
            <a:off x="2714979" y="666867"/>
            <a:ext cx="6762044" cy="37787"/>
            <a:chOff x="1190978" y="1043012"/>
            <a:chExt cx="6762044" cy="37787"/>
          </a:xfrm>
        </p:grpSpPr>
        <p:cxnSp>
          <p:nvCxnSpPr>
            <p:cNvPr id="16" name="Straight Connector 15"/>
            <p:cNvCxnSpPr/>
            <p:nvPr/>
          </p:nvCxnSpPr>
          <p:spPr>
            <a:xfrm>
              <a:off x="1190978" y="1061905"/>
              <a:ext cx="6762044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Rectangle 16"/>
            <p:cNvSpPr/>
            <p:nvPr/>
          </p:nvSpPr>
          <p:spPr>
            <a:xfrm>
              <a:off x="3205152" y="1043012"/>
              <a:ext cx="2733735" cy="37787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18" name="TextBox 17">
            <a:extLst>
              <a:ext uri="{FF2B5EF4-FFF2-40B4-BE49-F238E27FC236}">
                <a16:creationId xmlns="" xmlns:a16="http://schemas.microsoft.com/office/drawing/2014/main" id="{9A732C5A-F055-41CA-9024-15BE84C3DE41}"/>
              </a:ext>
            </a:extLst>
          </p:cNvPr>
          <p:cNvSpPr txBox="1"/>
          <p:nvPr/>
        </p:nvSpPr>
        <p:spPr>
          <a:xfrm>
            <a:off x="8502971" y="1130034"/>
            <a:ext cx="121289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 err="1">
                <a:solidFill>
                  <a:schemeClr val="bg2"/>
                </a:solidFill>
              </a:rPr>
              <a:t>Aplikasi</a:t>
            </a:r>
            <a:r>
              <a:rPr lang="en-US" sz="1600" b="1" dirty="0">
                <a:solidFill>
                  <a:schemeClr val="bg2"/>
                </a:solidFill>
              </a:rPr>
              <a:t> </a:t>
            </a:r>
            <a:r>
              <a:rPr lang="en-US" sz="1600" b="1" dirty="0" smtClean="0">
                <a:solidFill>
                  <a:schemeClr val="bg2"/>
                </a:solidFill>
              </a:rPr>
              <a:t> PPI</a:t>
            </a:r>
            <a:endParaRPr lang="en-US" sz="1600" b="1" dirty="0">
              <a:solidFill>
                <a:schemeClr val="bg2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xmlns="" id="{FA809EAA-2A6F-43EB-AD65-C9CF5AF0588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784" t="8735" r="2612" b="5970"/>
          <a:stretch/>
        </p:blipFill>
        <p:spPr>
          <a:xfrm>
            <a:off x="402336" y="1524956"/>
            <a:ext cx="5430905" cy="3827403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6384190" y="1524955"/>
            <a:ext cx="5450458" cy="38274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35509052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="" xmlns:a16="http://schemas.microsoft.com/office/drawing/2014/main" id="{28669499-5A21-4B1F-9515-D793EC10792A}"/>
              </a:ext>
            </a:extLst>
          </p:cNvPr>
          <p:cNvSpPr txBox="1"/>
          <p:nvPr/>
        </p:nvSpPr>
        <p:spPr>
          <a:xfrm>
            <a:off x="1417551" y="1516790"/>
            <a:ext cx="326448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 err="1">
                <a:solidFill>
                  <a:schemeClr val="bg2"/>
                </a:solidFill>
              </a:rPr>
              <a:t>Aplikasi</a:t>
            </a:r>
            <a:r>
              <a:rPr lang="en-US" sz="1600" b="1" dirty="0">
                <a:solidFill>
                  <a:schemeClr val="bg2"/>
                </a:solidFill>
              </a:rPr>
              <a:t> </a:t>
            </a:r>
            <a:r>
              <a:rPr lang="en-US" sz="1600" b="1" dirty="0" err="1" smtClean="0">
                <a:solidFill>
                  <a:schemeClr val="bg2"/>
                </a:solidFill>
              </a:rPr>
              <a:t>Informasi</a:t>
            </a:r>
            <a:r>
              <a:rPr lang="en-US" sz="1600" b="1" dirty="0" smtClean="0">
                <a:solidFill>
                  <a:schemeClr val="bg2"/>
                </a:solidFill>
              </a:rPr>
              <a:t> Bed Management</a:t>
            </a:r>
            <a:endParaRPr lang="en-US" sz="1600" b="1" dirty="0">
              <a:solidFill>
                <a:schemeClr val="bg2"/>
              </a:solidFill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="" xmlns:a16="http://schemas.microsoft.com/office/drawing/2014/main" id="{4279FCA5-7175-48FC-AC35-2A77F108D551}"/>
              </a:ext>
            </a:extLst>
          </p:cNvPr>
          <p:cNvCxnSpPr>
            <a:cxnSpLocks/>
          </p:cNvCxnSpPr>
          <p:nvPr/>
        </p:nvCxnSpPr>
        <p:spPr>
          <a:xfrm>
            <a:off x="6091709" y="1524956"/>
            <a:ext cx="0" cy="382740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itle 11"/>
          <p:cNvSpPr txBox="1">
            <a:spLocks/>
          </p:cNvSpPr>
          <p:nvPr/>
        </p:nvSpPr>
        <p:spPr>
          <a:xfrm>
            <a:off x="1747403" y="113944"/>
            <a:ext cx="8697279" cy="518157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dirty="0" smtClean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DASHBOARD</a:t>
            </a:r>
            <a:endParaRPr lang="en-US" sz="2800" dirty="0">
              <a:solidFill>
                <a:schemeClr val="bg1"/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grpSp>
        <p:nvGrpSpPr>
          <p:cNvPr id="2" name="Group 4"/>
          <p:cNvGrpSpPr/>
          <p:nvPr/>
        </p:nvGrpSpPr>
        <p:grpSpPr>
          <a:xfrm>
            <a:off x="2714979" y="666867"/>
            <a:ext cx="6762044" cy="37787"/>
            <a:chOff x="1190978" y="1043012"/>
            <a:chExt cx="6762044" cy="37787"/>
          </a:xfrm>
        </p:grpSpPr>
        <p:cxnSp>
          <p:nvCxnSpPr>
            <p:cNvPr id="16" name="Straight Connector 15"/>
            <p:cNvCxnSpPr/>
            <p:nvPr/>
          </p:nvCxnSpPr>
          <p:spPr>
            <a:xfrm>
              <a:off x="1190978" y="1061905"/>
              <a:ext cx="6762044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Rectangle 16"/>
            <p:cNvSpPr/>
            <p:nvPr/>
          </p:nvSpPr>
          <p:spPr>
            <a:xfrm>
              <a:off x="3205152" y="1043012"/>
              <a:ext cx="2733735" cy="37787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18" name="TextBox 17">
            <a:extLst>
              <a:ext uri="{FF2B5EF4-FFF2-40B4-BE49-F238E27FC236}">
                <a16:creationId xmlns="" xmlns:a16="http://schemas.microsoft.com/office/drawing/2014/main" id="{9A732C5A-F055-41CA-9024-15BE84C3DE41}"/>
              </a:ext>
            </a:extLst>
          </p:cNvPr>
          <p:cNvSpPr txBox="1"/>
          <p:nvPr/>
        </p:nvSpPr>
        <p:spPr>
          <a:xfrm>
            <a:off x="7691720" y="1462494"/>
            <a:ext cx="287181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 err="1">
                <a:solidFill>
                  <a:schemeClr val="bg2"/>
                </a:solidFill>
              </a:rPr>
              <a:t>Aplikasi</a:t>
            </a:r>
            <a:r>
              <a:rPr lang="en-US" sz="1600" b="1" dirty="0">
                <a:solidFill>
                  <a:schemeClr val="bg2"/>
                </a:solidFill>
              </a:rPr>
              <a:t> </a:t>
            </a:r>
            <a:r>
              <a:rPr lang="en-US" sz="1600" b="1" dirty="0" smtClean="0">
                <a:solidFill>
                  <a:schemeClr val="bg2"/>
                </a:solidFill>
              </a:rPr>
              <a:t> Dashboard </a:t>
            </a:r>
            <a:r>
              <a:rPr lang="en-US" sz="1600" b="1" dirty="0" err="1" smtClean="0">
                <a:solidFill>
                  <a:schemeClr val="bg2"/>
                </a:solidFill>
              </a:rPr>
              <a:t>Rawat</a:t>
            </a:r>
            <a:r>
              <a:rPr lang="en-US" sz="1600" b="1" dirty="0" smtClean="0">
                <a:solidFill>
                  <a:schemeClr val="bg2"/>
                </a:solidFill>
              </a:rPr>
              <a:t> </a:t>
            </a:r>
            <a:r>
              <a:rPr lang="en-US" sz="1600" b="1" dirty="0" err="1" smtClean="0">
                <a:solidFill>
                  <a:schemeClr val="bg2"/>
                </a:solidFill>
              </a:rPr>
              <a:t>Inap</a:t>
            </a:r>
            <a:endParaRPr lang="en-US" sz="1600" b="1" dirty="0">
              <a:solidFill>
                <a:schemeClr val="bg2"/>
              </a:solidFill>
            </a:endParaRPr>
          </a:p>
        </p:txBody>
      </p:sp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47426" y="2022122"/>
            <a:ext cx="5604734" cy="33880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grpSp>
        <p:nvGrpSpPr>
          <p:cNvPr id="19" name="Group 18"/>
          <p:cNvGrpSpPr/>
          <p:nvPr/>
        </p:nvGrpSpPr>
        <p:grpSpPr>
          <a:xfrm>
            <a:off x="6256596" y="1979406"/>
            <a:ext cx="5533785" cy="3430794"/>
            <a:chOff x="6256596" y="1979406"/>
            <a:chExt cx="5533785" cy="2261917"/>
          </a:xfrm>
        </p:grpSpPr>
        <p:pic>
          <p:nvPicPr>
            <p:cNvPr id="5123" name="Picture 3"/>
            <p:cNvPicPr>
              <a:picLocks noChangeAspect="1" noChangeArrowheads="1"/>
            </p:cNvPicPr>
            <p:nvPr/>
          </p:nvPicPr>
          <p:blipFill>
            <a:blip r:embed="rId3"/>
            <a:srcRect/>
            <a:stretch>
              <a:fillRect/>
            </a:stretch>
          </p:blipFill>
          <p:spPr bwMode="auto">
            <a:xfrm>
              <a:off x="6256596" y="1979406"/>
              <a:ext cx="5533785" cy="226191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sp>
          <p:nvSpPr>
            <p:cNvPr id="15" name="Rectangle 14"/>
            <p:cNvSpPr/>
            <p:nvPr/>
          </p:nvSpPr>
          <p:spPr>
            <a:xfrm>
              <a:off x="6712772" y="2732442"/>
              <a:ext cx="1570616" cy="1387737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5509052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="" xmlns:a16="http://schemas.microsoft.com/office/drawing/2014/main" id="{28669499-5A21-4B1F-9515-D793EC10792A}"/>
              </a:ext>
            </a:extLst>
          </p:cNvPr>
          <p:cNvSpPr txBox="1"/>
          <p:nvPr/>
        </p:nvSpPr>
        <p:spPr>
          <a:xfrm>
            <a:off x="518155" y="903172"/>
            <a:ext cx="464460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 err="1">
                <a:solidFill>
                  <a:schemeClr val="bg2"/>
                </a:solidFill>
              </a:rPr>
              <a:t>Aplikasi</a:t>
            </a:r>
            <a:r>
              <a:rPr lang="en-US" sz="1600" b="1" dirty="0">
                <a:solidFill>
                  <a:schemeClr val="bg2"/>
                </a:solidFill>
              </a:rPr>
              <a:t> </a:t>
            </a:r>
            <a:r>
              <a:rPr lang="en-US" sz="1600" b="1" dirty="0" err="1" smtClean="0">
                <a:solidFill>
                  <a:schemeClr val="bg2"/>
                </a:solidFill>
              </a:rPr>
              <a:t>Anjungan</a:t>
            </a:r>
            <a:r>
              <a:rPr lang="en-US" sz="1600" b="1" dirty="0" smtClean="0">
                <a:solidFill>
                  <a:schemeClr val="bg2"/>
                </a:solidFill>
              </a:rPr>
              <a:t> </a:t>
            </a:r>
            <a:r>
              <a:rPr lang="en-US" sz="1600" b="1" dirty="0" err="1" smtClean="0">
                <a:solidFill>
                  <a:schemeClr val="bg2"/>
                </a:solidFill>
              </a:rPr>
              <a:t>Pendaftaraan</a:t>
            </a:r>
            <a:r>
              <a:rPr lang="en-US" sz="1600" b="1" dirty="0" smtClean="0">
                <a:solidFill>
                  <a:schemeClr val="bg2"/>
                </a:solidFill>
              </a:rPr>
              <a:t> </a:t>
            </a:r>
            <a:r>
              <a:rPr lang="en-US" sz="1600" b="1" dirty="0" err="1" smtClean="0">
                <a:solidFill>
                  <a:schemeClr val="bg2"/>
                </a:solidFill>
              </a:rPr>
              <a:t>Mandiri</a:t>
            </a:r>
            <a:r>
              <a:rPr lang="en-US" sz="1600" b="1" dirty="0" smtClean="0">
                <a:solidFill>
                  <a:schemeClr val="bg2"/>
                </a:solidFill>
              </a:rPr>
              <a:t> </a:t>
            </a:r>
            <a:r>
              <a:rPr lang="en-US" sz="1600" b="1" dirty="0" err="1" smtClean="0">
                <a:solidFill>
                  <a:schemeClr val="bg2"/>
                </a:solidFill>
              </a:rPr>
              <a:t>Pasien</a:t>
            </a:r>
            <a:r>
              <a:rPr lang="en-US" sz="1600" b="1" dirty="0" smtClean="0">
                <a:solidFill>
                  <a:schemeClr val="bg2"/>
                </a:solidFill>
              </a:rPr>
              <a:t> BPJS</a:t>
            </a:r>
            <a:endParaRPr lang="en-US" sz="1600" b="1" dirty="0">
              <a:solidFill>
                <a:schemeClr val="bg2"/>
              </a:solidFill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="" xmlns:a16="http://schemas.microsoft.com/office/drawing/2014/main" id="{4279FCA5-7175-48FC-AC35-2A77F108D551}"/>
              </a:ext>
            </a:extLst>
          </p:cNvPr>
          <p:cNvCxnSpPr>
            <a:cxnSpLocks/>
          </p:cNvCxnSpPr>
          <p:nvPr/>
        </p:nvCxnSpPr>
        <p:spPr>
          <a:xfrm>
            <a:off x="6091709" y="1524956"/>
            <a:ext cx="0" cy="382740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itle 11"/>
          <p:cNvSpPr txBox="1">
            <a:spLocks/>
          </p:cNvSpPr>
          <p:nvPr/>
        </p:nvSpPr>
        <p:spPr>
          <a:xfrm>
            <a:off x="1059180" y="300606"/>
            <a:ext cx="9692639" cy="518157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dirty="0" smtClean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PENDAFTARAN MANDIRI &amp; PERJANJIAN KONTROL</a:t>
            </a:r>
            <a:endParaRPr lang="en-US" sz="2800" dirty="0">
              <a:solidFill>
                <a:schemeClr val="bg1"/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grpSp>
        <p:nvGrpSpPr>
          <p:cNvPr id="2" name="Group 4"/>
          <p:cNvGrpSpPr/>
          <p:nvPr/>
        </p:nvGrpSpPr>
        <p:grpSpPr>
          <a:xfrm>
            <a:off x="2710687" y="834359"/>
            <a:ext cx="6762044" cy="37787"/>
            <a:chOff x="1190978" y="1043012"/>
            <a:chExt cx="6762044" cy="37787"/>
          </a:xfrm>
        </p:grpSpPr>
        <p:cxnSp>
          <p:nvCxnSpPr>
            <p:cNvPr id="16" name="Straight Connector 15"/>
            <p:cNvCxnSpPr/>
            <p:nvPr/>
          </p:nvCxnSpPr>
          <p:spPr>
            <a:xfrm>
              <a:off x="1190978" y="1061905"/>
              <a:ext cx="6762044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Rectangle 16"/>
            <p:cNvSpPr/>
            <p:nvPr/>
          </p:nvSpPr>
          <p:spPr>
            <a:xfrm>
              <a:off x="3205152" y="1043012"/>
              <a:ext cx="2733735" cy="37787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18" name="TextBox 17">
            <a:extLst>
              <a:ext uri="{FF2B5EF4-FFF2-40B4-BE49-F238E27FC236}">
                <a16:creationId xmlns="" xmlns:a16="http://schemas.microsoft.com/office/drawing/2014/main" id="{9A732C5A-F055-41CA-9024-15BE84C3DE41}"/>
              </a:ext>
            </a:extLst>
          </p:cNvPr>
          <p:cNvSpPr txBox="1"/>
          <p:nvPr/>
        </p:nvSpPr>
        <p:spPr>
          <a:xfrm>
            <a:off x="8004140" y="872146"/>
            <a:ext cx="180107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 err="1">
                <a:solidFill>
                  <a:schemeClr val="bg2"/>
                </a:solidFill>
              </a:rPr>
              <a:t>Aplikasi</a:t>
            </a:r>
            <a:r>
              <a:rPr lang="en-US" sz="1600" b="1" dirty="0">
                <a:solidFill>
                  <a:schemeClr val="bg2"/>
                </a:solidFill>
              </a:rPr>
              <a:t> </a:t>
            </a:r>
            <a:r>
              <a:rPr lang="en-US" sz="1600" b="1" dirty="0" smtClean="0">
                <a:solidFill>
                  <a:schemeClr val="bg2"/>
                </a:solidFill>
              </a:rPr>
              <a:t> </a:t>
            </a:r>
            <a:r>
              <a:rPr lang="en-US" sz="1600" b="1" dirty="0" err="1" smtClean="0">
                <a:solidFill>
                  <a:schemeClr val="bg2"/>
                </a:solidFill>
              </a:rPr>
              <a:t>Perjanjian</a:t>
            </a:r>
            <a:endParaRPr lang="en-US" sz="1600" b="1" dirty="0">
              <a:solidFill>
                <a:schemeClr val="bg2"/>
              </a:solidFill>
            </a:endParaRPr>
          </a:p>
        </p:txBody>
      </p:sp>
      <p:pic>
        <p:nvPicPr>
          <p:cNvPr id="6146" name="Picture 2"/>
          <p:cNvPicPr>
            <a:picLocks noChangeAspect="1" noChangeArrowheads="1"/>
          </p:cNvPicPr>
          <p:nvPr/>
        </p:nvPicPr>
        <p:blipFill>
          <a:blip r:embed="rId2" cstate="print"/>
          <a:srcRect l="5788" r="-1648"/>
          <a:stretch>
            <a:fillRect/>
          </a:stretch>
        </p:blipFill>
        <p:spPr bwMode="auto">
          <a:xfrm>
            <a:off x="3805838" y="1241726"/>
            <a:ext cx="2290204" cy="19053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3646" y="1241726"/>
            <a:ext cx="3413014" cy="4922854"/>
          </a:xfrm>
          <a:prstGeom prst="rect">
            <a:avLst/>
          </a:prstGeom>
        </p:spPr>
      </p:pic>
      <p:grpSp>
        <p:nvGrpSpPr>
          <p:cNvPr id="21" name="Group 20"/>
          <p:cNvGrpSpPr/>
          <p:nvPr/>
        </p:nvGrpSpPr>
        <p:grpSpPr>
          <a:xfrm>
            <a:off x="6462015" y="1241727"/>
            <a:ext cx="5048658" cy="3475054"/>
            <a:chOff x="6462015" y="1543213"/>
            <a:chExt cx="5048658" cy="2657475"/>
          </a:xfrm>
        </p:grpSpPr>
        <p:pic>
          <p:nvPicPr>
            <p:cNvPr id="19" name="Picture 18"/>
            <p:cNvPicPr/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462015" y="1543213"/>
              <a:ext cx="5048658" cy="2657475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20" name="Rectangle 19"/>
            <p:cNvSpPr/>
            <p:nvPr/>
          </p:nvSpPr>
          <p:spPr>
            <a:xfrm>
              <a:off x="9112469" y="3689131"/>
              <a:ext cx="1881352" cy="378372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5509052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ontent Placeholder 16"/>
          <p:cNvSpPr>
            <a:spLocks noGrp="1"/>
          </p:cNvSpPr>
          <p:nvPr>
            <p:ph idx="1"/>
          </p:nvPr>
        </p:nvSpPr>
        <p:spPr>
          <a:xfrm>
            <a:off x="674914" y="427945"/>
            <a:ext cx="10515600" cy="939346"/>
          </a:xfrm>
        </p:spPr>
        <p:txBody>
          <a:bodyPr>
            <a:noAutofit/>
          </a:bodyPr>
          <a:lstStyle/>
          <a:p>
            <a:pPr marL="0" indent="0" algn="ctr">
              <a:buNone/>
            </a:pPr>
            <a:r>
              <a:rPr lang="en-AU" sz="3600" b="1" dirty="0">
                <a:solidFill>
                  <a:srgbClr val="00B0F0"/>
                </a:solidFill>
              </a:rPr>
              <a:t>PENGERTIAN </a:t>
            </a:r>
            <a:r>
              <a:rPr lang="en-AU" sz="3600" b="1" dirty="0" smtClean="0">
                <a:solidFill>
                  <a:srgbClr val="00B0F0"/>
                </a:solidFill>
              </a:rPr>
              <a:t>SISTEM </a:t>
            </a:r>
            <a:r>
              <a:rPr lang="en-AU" sz="3600" b="1" dirty="0">
                <a:solidFill>
                  <a:srgbClr val="00B0F0"/>
                </a:solidFill>
              </a:rPr>
              <a:t>INFORMASI MANAJEMEN </a:t>
            </a:r>
            <a:endParaRPr lang="en-AU" sz="3600" b="1" dirty="0" smtClean="0">
              <a:solidFill>
                <a:srgbClr val="00B0F0"/>
              </a:solidFill>
            </a:endParaRPr>
          </a:p>
          <a:p>
            <a:pPr marL="0" indent="0" algn="ctr">
              <a:buNone/>
            </a:pPr>
            <a:r>
              <a:rPr lang="en-AU" sz="3600" b="1" dirty="0" smtClean="0">
                <a:solidFill>
                  <a:srgbClr val="00B0F0"/>
                </a:solidFill>
              </a:rPr>
              <a:t>RUMAH </a:t>
            </a:r>
            <a:r>
              <a:rPr lang="en-AU" sz="3600" b="1" dirty="0">
                <a:solidFill>
                  <a:srgbClr val="00B0F0"/>
                </a:solidFill>
              </a:rPr>
              <a:t>SAKIT</a:t>
            </a:r>
            <a:endParaRPr lang="en-US" sz="3600" b="1" dirty="0">
              <a:solidFill>
                <a:srgbClr val="00B0F0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ECD629-4DA5-4EAE-B174-69948CAAE2CE}" type="slidenum">
              <a:rPr lang="en-US" smtClean="0"/>
              <a:pPr/>
              <a:t>3</a:t>
            </a:fld>
            <a:endParaRPr lang="en-US"/>
          </a:p>
        </p:txBody>
      </p:sp>
      <p:graphicFrame>
        <p:nvGraphicFramePr>
          <p:cNvPr id="19" name="Diagram 18"/>
          <p:cNvGraphicFramePr/>
          <p:nvPr>
            <p:extLst>
              <p:ext uri="{D42A27DB-BD31-4B8C-83A1-F6EECF244321}">
                <p14:modId xmlns:p14="http://schemas.microsoft.com/office/powerpoint/2010/main" val="600158890"/>
              </p:ext>
            </p:extLst>
          </p:nvPr>
        </p:nvGraphicFramePr>
        <p:xfrm>
          <a:off x="1052286" y="1514323"/>
          <a:ext cx="9539514" cy="426599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789303647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="" xmlns:a16="http://schemas.microsoft.com/office/drawing/2014/main" id="{28669499-5A21-4B1F-9515-D793EC10792A}"/>
              </a:ext>
            </a:extLst>
          </p:cNvPr>
          <p:cNvSpPr txBox="1"/>
          <p:nvPr/>
        </p:nvSpPr>
        <p:spPr>
          <a:xfrm>
            <a:off x="1463035" y="918412"/>
            <a:ext cx="319189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 err="1">
                <a:solidFill>
                  <a:schemeClr val="bg2"/>
                </a:solidFill>
              </a:rPr>
              <a:t>Aplikasi</a:t>
            </a:r>
            <a:r>
              <a:rPr lang="en-US" sz="1600" b="1" dirty="0">
                <a:solidFill>
                  <a:schemeClr val="bg2"/>
                </a:solidFill>
              </a:rPr>
              <a:t> </a:t>
            </a:r>
            <a:r>
              <a:rPr lang="en-US" sz="1600" b="1" dirty="0" smtClean="0">
                <a:solidFill>
                  <a:schemeClr val="bg2"/>
                </a:solidFill>
              </a:rPr>
              <a:t> Resume </a:t>
            </a:r>
            <a:r>
              <a:rPr lang="en-US" sz="1600" b="1" dirty="0" err="1" smtClean="0">
                <a:solidFill>
                  <a:schemeClr val="bg2"/>
                </a:solidFill>
              </a:rPr>
              <a:t>Medis</a:t>
            </a:r>
            <a:r>
              <a:rPr lang="en-US" sz="1600" b="1" dirty="0" smtClean="0">
                <a:solidFill>
                  <a:schemeClr val="bg2"/>
                </a:solidFill>
              </a:rPr>
              <a:t> </a:t>
            </a:r>
            <a:r>
              <a:rPr lang="en-US" sz="1600" b="1" dirty="0" err="1" smtClean="0">
                <a:solidFill>
                  <a:schemeClr val="bg2"/>
                </a:solidFill>
              </a:rPr>
              <a:t>Rawat</a:t>
            </a:r>
            <a:r>
              <a:rPr lang="en-US" sz="1600" b="1" dirty="0" smtClean="0">
                <a:solidFill>
                  <a:schemeClr val="bg2"/>
                </a:solidFill>
              </a:rPr>
              <a:t> </a:t>
            </a:r>
            <a:r>
              <a:rPr lang="en-US" sz="1600" b="1" dirty="0" err="1" smtClean="0">
                <a:solidFill>
                  <a:schemeClr val="bg2"/>
                </a:solidFill>
              </a:rPr>
              <a:t>Inap</a:t>
            </a:r>
            <a:endParaRPr lang="en-US" sz="1600" b="1" dirty="0">
              <a:solidFill>
                <a:schemeClr val="bg2"/>
              </a:solidFill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="" xmlns:a16="http://schemas.microsoft.com/office/drawing/2014/main" id="{4279FCA5-7175-48FC-AC35-2A77F108D551}"/>
              </a:ext>
            </a:extLst>
          </p:cNvPr>
          <p:cNvCxnSpPr>
            <a:cxnSpLocks/>
          </p:cNvCxnSpPr>
          <p:nvPr/>
        </p:nvCxnSpPr>
        <p:spPr>
          <a:xfrm>
            <a:off x="6091709" y="1524956"/>
            <a:ext cx="0" cy="382740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itle 11"/>
          <p:cNvSpPr txBox="1">
            <a:spLocks/>
          </p:cNvSpPr>
          <p:nvPr/>
        </p:nvSpPr>
        <p:spPr>
          <a:xfrm>
            <a:off x="1747403" y="113944"/>
            <a:ext cx="8697279" cy="518157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dirty="0" smtClean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RESUME MEDIS</a:t>
            </a:r>
            <a:endParaRPr lang="en-US" sz="2800" dirty="0">
              <a:solidFill>
                <a:schemeClr val="bg1"/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grpSp>
        <p:nvGrpSpPr>
          <p:cNvPr id="2" name="Group 4"/>
          <p:cNvGrpSpPr/>
          <p:nvPr/>
        </p:nvGrpSpPr>
        <p:grpSpPr>
          <a:xfrm>
            <a:off x="2714979" y="666867"/>
            <a:ext cx="6762044" cy="37787"/>
            <a:chOff x="1190978" y="1043012"/>
            <a:chExt cx="6762044" cy="37787"/>
          </a:xfrm>
        </p:grpSpPr>
        <p:cxnSp>
          <p:nvCxnSpPr>
            <p:cNvPr id="16" name="Straight Connector 15"/>
            <p:cNvCxnSpPr/>
            <p:nvPr/>
          </p:nvCxnSpPr>
          <p:spPr>
            <a:xfrm>
              <a:off x="1190978" y="1061905"/>
              <a:ext cx="6762044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Rectangle 16"/>
            <p:cNvSpPr/>
            <p:nvPr/>
          </p:nvSpPr>
          <p:spPr>
            <a:xfrm>
              <a:off x="3205152" y="1043012"/>
              <a:ext cx="2733735" cy="37787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18" name="TextBox 17">
            <a:extLst>
              <a:ext uri="{FF2B5EF4-FFF2-40B4-BE49-F238E27FC236}">
                <a16:creationId xmlns="" xmlns:a16="http://schemas.microsoft.com/office/drawing/2014/main" id="{9A732C5A-F055-41CA-9024-15BE84C3DE41}"/>
              </a:ext>
            </a:extLst>
          </p:cNvPr>
          <p:cNvSpPr txBox="1"/>
          <p:nvPr/>
        </p:nvSpPr>
        <p:spPr>
          <a:xfrm>
            <a:off x="7638380" y="918412"/>
            <a:ext cx="254999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 err="1">
                <a:solidFill>
                  <a:schemeClr val="bg2"/>
                </a:solidFill>
              </a:rPr>
              <a:t>Aplikasi</a:t>
            </a:r>
            <a:r>
              <a:rPr lang="en-US" sz="1600" b="1" dirty="0">
                <a:solidFill>
                  <a:schemeClr val="bg2"/>
                </a:solidFill>
              </a:rPr>
              <a:t> </a:t>
            </a:r>
            <a:r>
              <a:rPr lang="en-US" sz="1600" b="1" dirty="0" smtClean="0">
                <a:solidFill>
                  <a:schemeClr val="bg2"/>
                </a:solidFill>
              </a:rPr>
              <a:t> Resume </a:t>
            </a:r>
            <a:r>
              <a:rPr lang="en-US" sz="1600" b="1" dirty="0" err="1" smtClean="0">
                <a:solidFill>
                  <a:schemeClr val="bg2"/>
                </a:solidFill>
              </a:rPr>
              <a:t>Medis</a:t>
            </a:r>
            <a:r>
              <a:rPr lang="en-US" sz="1600" b="1" dirty="0" smtClean="0">
                <a:solidFill>
                  <a:schemeClr val="bg2"/>
                </a:solidFill>
              </a:rPr>
              <a:t> IGD</a:t>
            </a:r>
            <a:endParaRPr lang="en-US" sz="1600" b="1" dirty="0">
              <a:solidFill>
                <a:schemeClr val="bg2"/>
              </a:solidFill>
            </a:endParaRPr>
          </a:p>
        </p:txBody>
      </p:sp>
      <p:pic>
        <p:nvPicPr>
          <p:cNvPr id="10242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99696" y="1340786"/>
            <a:ext cx="5832643" cy="42827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0243" name="Picture 3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6274676" y="1340787"/>
            <a:ext cx="5749158" cy="42827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35509052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="" xmlns:a16="http://schemas.microsoft.com/office/drawing/2014/main" id="{28669499-5A21-4B1F-9515-D793EC10792A}"/>
              </a:ext>
            </a:extLst>
          </p:cNvPr>
          <p:cNvSpPr txBox="1"/>
          <p:nvPr/>
        </p:nvSpPr>
        <p:spPr>
          <a:xfrm>
            <a:off x="1568664" y="1033763"/>
            <a:ext cx="206697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 err="1">
                <a:solidFill>
                  <a:schemeClr val="bg2"/>
                </a:solidFill>
              </a:rPr>
              <a:t>Aplikasi</a:t>
            </a:r>
            <a:r>
              <a:rPr lang="en-US" sz="1600" b="1" dirty="0">
                <a:solidFill>
                  <a:schemeClr val="bg2"/>
                </a:solidFill>
              </a:rPr>
              <a:t> </a:t>
            </a:r>
            <a:r>
              <a:rPr lang="en-US" sz="1600" b="1" dirty="0" smtClean="0">
                <a:solidFill>
                  <a:schemeClr val="bg2"/>
                </a:solidFill>
              </a:rPr>
              <a:t> PACS Dan RIS</a:t>
            </a:r>
            <a:endParaRPr lang="en-US" sz="1600" b="1" dirty="0">
              <a:solidFill>
                <a:schemeClr val="bg2"/>
              </a:solidFill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="" xmlns:a16="http://schemas.microsoft.com/office/drawing/2014/main" id="{4279FCA5-7175-48FC-AC35-2A77F108D551}"/>
              </a:ext>
            </a:extLst>
          </p:cNvPr>
          <p:cNvCxnSpPr>
            <a:cxnSpLocks/>
          </p:cNvCxnSpPr>
          <p:nvPr/>
        </p:nvCxnSpPr>
        <p:spPr>
          <a:xfrm>
            <a:off x="6565045" y="1524956"/>
            <a:ext cx="0" cy="382740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itle 11"/>
          <p:cNvSpPr txBox="1">
            <a:spLocks/>
          </p:cNvSpPr>
          <p:nvPr/>
        </p:nvSpPr>
        <p:spPr>
          <a:xfrm>
            <a:off x="1747403" y="113944"/>
            <a:ext cx="8697279" cy="518157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dirty="0" smtClean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PACS &amp; E-DOKUMEN</a:t>
            </a:r>
            <a:endParaRPr lang="en-US" sz="2800" dirty="0">
              <a:solidFill>
                <a:schemeClr val="bg1"/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grpSp>
        <p:nvGrpSpPr>
          <p:cNvPr id="2" name="Group 4"/>
          <p:cNvGrpSpPr/>
          <p:nvPr/>
        </p:nvGrpSpPr>
        <p:grpSpPr>
          <a:xfrm>
            <a:off x="2714979" y="666867"/>
            <a:ext cx="6762044" cy="37787"/>
            <a:chOff x="1190978" y="1043012"/>
            <a:chExt cx="6762044" cy="37787"/>
          </a:xfrm>
        </p:grpSpPr>
        <p:cxnSp>
          <p:nvCxnSpPr>
            <p:cNvPr id="16" name="Straight Connector 15"/>
            <p:cNvCxnSpPr/>
            <p:nvPr/>
          </p:nvCxnSpPr>
          <p:spPr>
            <a:xfrm>
              <a:off x="1190978" y="1061905"/>
              <a:ext cx="6762044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Rectangle 16"/>
            <p:cNvSpPr/>
            <p:nvPr/>
          </p:nvSpPr>
          <p:spPr>
            <a:xfrm>
              <a:off x="3205152" y="1043012"/>
              <a:ext cx="2733735" cy="37787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18" name="TextBox 17">
            <a:extLst>
              <a:ext uri="{FF2B5EF4-FFF2-40B4-BE49-F238E27FC236}">
                <a16:creationId xmlns="" xmlns:a16="http://schemas.microsoft.com/office/drawing/2014/main" id="{9A732C5A-F055-41CA-9024-15BE84C3DE41}"/>
              </a:ext>
            </a:extLst>
          </p:cNvPr>
          <p:cNvSpPr txBox="1"/>
          <p:nvPr/>
        </p:nvSpPr>
        <p:spPr>
          <a:xfrm>
            <a:off x="7796143" y="881252"/>
            <a:ext cx="302736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 err="1" smtClean="0">
                <a:solidFill>
                  <a:schemeClr val="bg2"/>
                </a:solidFill>
              </a:rPr>
              <a:t>Aplikasi</a:t>
            </a:r>
            <a:r>
              <a:rPr lang="en-US" sz="1600" b="1" dirty="0" smtClean="0">
                <a:solidFill>
                  <a:schemeClr val="bg2"/>
                </a:solidFill>
              </a:rPr>
              <a:t>  Upload </a:t>
            </a:r>
            <a:r>
              <a:rPr lang="en-US" sz="1600" b="1" dirty="0" err="1" smtClean="0">
                <a:solidFill>
                  <a:schemeClr val="bg2"/>
                </a:solidFill>
              </a:rPr>
              <a:t>Dokumen</a:t>
            </a:r>
            <a:r>
              <a:rPr lang="en-US" sz="1600" b="1" dirty="0" smtClean="0">
                <a:solidFill>
                  <a:schemeClr val="bg2"/>
                </a:solidFill>
              </a:rPr>
              <a:t> </a:t>
            </a:r>
            <a:r>
              <a:rPr lang="en-US" sz="1600" b="1" dirty="0" err="1" smtClean="0">
                <a:solidFill>
                  <a:schemeClr val="bg2"/>
                </a:solidFill>
              </a:rPr>
              <a:t>Pasien</a:t>
            </a:r>
            <a:endParaRPr lang="en-US" sz="1600" b="1" dirty="0">
              <a:solidFill>
                <a:schemeClr val="bg2"/>
              </a:solidFill>
            </a:endParaRPr>
          </a:p>
        </p:txBody>
      </p:sp>
      <p:pic>
        <p:nvPicPr>
          <p:cNvPr id="6146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568664" y="3627820"/>
            <a:ext cx="4896790" cy="26891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grpSp>
        <p:nvGrpSpPr>
          <p:cNvPr id="3" name="Group 14"/>
          <p:cNvGrpSpPr/>
          <p:nvPr/>
        </p:nvGrpSpPr>
        <p:grpSpPr>
          <a:xfrm>
            <a:off x="115646" y="1372316"/>
            <a:ext cx="3252394" cy="2178603"/>
            <a:chOff x="1059964" y="1645584"/>
            <a:chExt cx="4569976" cy="2022774"/>
          </a:xfrm>
        </p:grpSpPr>
        <p:pic>
          <p:nvPicPr>
            <p:cNvPr id="6147" name="Picture 3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1059964" y="1645584"/>
              <a:ext cx="4569976" cy="202277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sp>
          <p:nvSpPr>
            <p:cNvPr id="14" name="Rectangle 13"/>
            <p:cNvSpPr/>
            <p:nvPr/>
          </p:nvSpPr>
          <p:spPr>
            <a:xfrm>
              <a:off x="1086522" y="1796527"/>
              <a:ext cx="1312433" cy="161365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6148" name="Picture 4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7074086" y="1372317"/>
            <a:ext cx="4843202" cy="49446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35509052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="" xmlns:a16="http://schemas.microsoft.com/office/drawing/2014/main" id="{28669499-5A21-4B1F-9515-D793EC10792A}"/>
              </a:ext>
            </a:extLst>
          </p:cNvPr>
          <p:cNvSpPr txBox="1"/>
          <p:nvPr/>
        </p:nvSpPr>
        <p:spPr>
          <a:xfrm>
            <a:off x="2092021" y="1094723"/>
            <a:ext cx="263713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 err="1">
                <a:solidFill>
                  <a:schemeClr val="bg2"/>
                </a:solidFill>
              </a:rPr>
              <a:t>Aplikasi</a:t>
            </a:r>
            <a:r>
              <a:rPr lang="en-US" sz="1600" b="1" dirty="0">
                <a:solidFill>
                  <a:schemeClr val="bg2"/>
                </a:solidFill>
              </a:rPr>
              <a:t> </a:t>
            </a:r>
            <a:r>
              <a:rPr lang="en-US" sz="1600" b="1" dirty="0" smtClean="0">
                <a:solidFill>
                  <a:schemeClr val="bg2"/>
                </a:solidFill>
              </a:rPr>
              <a:t> </a:t>
            </a:r>
            <a:r>
              <a:rPr lang="en-US" sz="1600" b="1" dirty="0" err="1" smtClean="0">
                <a:solidFill>
                  <a:schemeClr val="bg2"/>
                </a:solidFill>
              </a:rPr>
              <a:t>Rekrutmen</a:t>
            </a:r>
            <a:r>
              <a:rPr lang="en-US" sz="1600" b="1" dirty="0" smtClean="0">
                <a:solidFill>
                  <a:schemeClr val="bg2"/>
                </a:solidFill>
              </a:rPr>
              <a:t> </a:t>
            </a:r>
            <a:r>
              <a:rPr lang="en-US" sz="1600" b="1" dirty="0" err="1" smtClean="0">
                <a:solidFill>
                  <a:schemeClr val="bg2"/>
                </a:solidFill>
              </a:rPr>
              <a:t>Pegawai</a:t>
            </a:r>
            <a:endParaRPr lang="en-US" sz="1600" b="1" dirty="0">
              <a:solidFill>
                <a:schemeClr val="bg2"/>
              </a:solidFill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="" xmlns:a16="http://schemas.microsoft.com/office/drawing/2014/main" id="{4279FCA5-7175-48FC-AC35-2A77F108D551}"/>
              </a:ext>
            </a:extLst>
          </p:cNvPr>
          <p:cNvCxnSpPr>
            <a:cxnSpLocks/>
          </p:cNvCxnSpPr>
          <p:nvPr/>
        </p:nvCxnSpPr>
        <p:spPr>
          <a:xfrm>
            <a:off x="6565045" y="1524956"/>
            <a:ext cx="0" cy="382740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itle 11"/>
          <p:cNvSpPr txBox="1">
            <a:spLocks/>
          </p:cNvSpPr>
          <p:nvPr/>
        </p:nvSpPr>
        <p:spPr>
          <a:xfrm>
            <a:off x="1747403" y="113944"/>
            <a:ext cx="8697279" cy="518157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dirty="0" smtClean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SISTEM INFORMASI LAIN</a:t>
            </a:r>
            <a:endParaRPr lang="en-US" sz="2800" dirty="0">
              <a:solidFill>
                <a:schemeClr val="bg1"/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grpSp>
        <p:nvGrpSpPr>
          <p:cNvPr id="2" name="Group 4"/>
          <p:cNvGrpSpPr/>
          <p:nvPr/>
        </p:nvGrpSpPr>
        <p:grpSpPr>
          <a:xfrm>
            <a:off x="2714979" y="666867"/>
            <a:ext cx="6762044" cy="37787"/>
            <a:chOff x="1190978" y="1043012"/>
            <a:chExt cx="6762044" cy="37787"/>
          </a:xfrm>
        </p:grpSpPr>
        <p:cxnSp>
          <p:nvCxnSpPr>
            <p:cNvPr id="16" name="Straight Connector 15"/>
            <p:cNvCxnSpPr/>
            <p:nvPr/>
          </p:nvCxnSpPr>
          <p:spPr>
            <a:xfrm>
              <a:off x="1190978" y="1061905"/>
              <a:ext cx="6762044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Rectangle 16"/>
            <p:cNvSpPr/>
            <p:nvPr/>
          </p:nvSpPr>
          <p:spPr>
            <a:xfrm>
              <a:off x="3205152" y="1043012"/>
              <a:ext cx="2733735" cy="37787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pic>
        <p:nvPicPr>
          <p:cNvPr id="7170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164349" y="1512833"/>
            <a:ext cx="4629150" cy="4610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35509052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="" xmlns:a16="http://schemas.microsoft.com/office/drawing/2014/main" id="{28669499-5A21-4B1F-9515-D793EC10792A}"/>
              </a:ext>
            </a:extLst>
          </p:cNvPr>
          <p:cNvSpPr txBox="1"/>
          <p:nvPr/>
        </p:nvSpPr>
        <p:spPr>
          <a:xfrm>
            <a:off x="990595" y="1002232"/>
            <a:ext cx="378154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 err="1">
                <a:solidFill>
                  <a:schemeClr val="bg2"/>
                </a:solidFill>
              </a:rPr>
              <a:t>Aplikasi</a:t>
            </a:r>
            <a:r>
              <a:rPr lang="en-US" sz="1600" b="1" dirty="0">
                <a:solidFill>
                  <a:schemeClr val="bg2"/>
                </a:solidFill>
              </a:rPr>
              <a:t> </a:t>
            </a:r>
            <a:r>
              <a:rPr lang="en-US" sz="1600" b="1" dirty="0" smtClean="0">
                <a:solidFill>
                  <a:schemeClr val="bg2"/>
                </a:solidFill>
              </a:rPr>
              <a:t> </a:t>
            </a:r>
            <a:r>
              <a:rPr lang="en-US" sz="1600" b="1" dirty="0" err="1" smtClean="0">
                <a:solidFill>
                  <a:schemeClr val="bg2"/>
                </a:solidFill>
              </a:rPr>
              <a:t>Pelaporan</a:t>
            </a:r>
            <a:r>
              <a:rPr lang="en-US" sz="1600" b="1" dirty="0" smtClean="0">
                <a:solidFill>
                  <a:schemeClr val="bg2"/>
                </a:solidFill>
              </a:rPr>
              <a:t> </a:t>
            </a:r>
            <a:r>
              <a:rPr lang="en-US" sz="1600" b="1" dirty="0" err="1" smtClean="0">
                <a:solidFill>
                  <a:schemeClr val="bg2"/>
                </a:solidFill>
              </a:rPr>
              <a:t>Dugaan</a:t>
            </a:r>
            <a:r>
              <a:rPr lang="en-US" sz="1600" b="1" dirty="0" smtClean="0">
                <a:solidFill>
                  <a:schemeClr val="bg2"/>
                </a:solidFill>
              </a:rPr>
              <a:t> </a:t>
            </a:r>
            <a:r>
              <a:rPr lang="en-US" sz="1600" b="1" dirty="0" err="1" smtClean="0">
                <a:solidFill>
                  <a:schemeClr val="bg2"/>
                </a:solidFill>
              </a:rPr>
              <a:t>Etik</a:t>
            </a:r>
            <a:r>
              <a:rPr lang="en-US" sz="1600" b="1" dirty="0" smtClean="0">
                <a:solidFill>
                  <a:schemeClr val="bg2"/>
                </a:solidFill>
              </a:rPr>
              <a:t> &amp; </a:t>
            </a:r>
            <a:r>
              <a:rPr lang="en-US" sz="1600" b="1" dirty="0" err="1" smtClean="0">
                <a:solidFill>
                  <a:schemeClr val="bg2"/>
                </a:solidFill>
              </a:rPr>
              <a:t>Perilaku</a:t>
            </a:r>
            <a:endParaRPr lang="en-US" sz="1600" b="1" dirty="0">
              <a:solidFill>
                <a:schemeClr val="bg2"/>
              </a:solidFill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="" xmlns:a16="http://schemas.microsoft.com/office/drawing/2014/main" id="{4279FCA5-7175-48FC-AC35-2A77F108D551}"/>
              </a:ext>
            </a:extLst>
          </p:cNvPr>
          <p:cNvCxnSpPr>
            <a:cxnSpLocks/>
          </p:cNvCxnSpPr>
          <p:nvPr/>
        </p:nvCxnSpPr>
        <p:spPr>
          <a:xfrm>
            <a:off x="6091709" y="1524956"/>
            <a:ext cx="0" cy="382740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itle 11"/>
          <p:cNvSpPr txBox="1">
            <a:spLocks/>
          </p:cNvSpPr>
          <p:nvPr/>
        </p:nvSpPr>
        <p:spPr>
          <a:xfrm>
            <a:off x="1747403" y="113944"/>
            <a:ext cx="8697279" cy="518157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dirty="0" smtClean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SISTEM INFORMASI LAIN</a:t>
            </a:r>
            <a:endParaRPr lang="en-US" sz="2800" dirty="0">
              <a:solidFill>
                <a:schemeClr val="bg1"/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grpSp>
        <p:nvGrpSpPr>
          <p:cNvPr id="2" name="Group 4"/>
          <p:cNvGrpSpPr/>
          <p:nvPr/>
        </p:nvGrpSpPr>
        <p:grpSpPr>
          <a:xfrm>
            <a:off x="2714979" y="666867"/>
            <a:ext cx="6762044" cy="37787"/>
            <a:chOff x="1190978" y="1043012"/>
            <a:chExt cx="6762044" cy="37787"/>
          </a:xfrm>
        </p:grpSpPr>
        <p:cxnSp>
          <p:nvCxnSpPr>
            <p:cNvPr id="16" name="Straight Connector 15"/>
            <p:cNvCxnSpPr/>
            <p:nvPr/>
          </p:nvCxnSpPr>
          <p:spPr>
            <a:xfrm>
              <a:off x="1190978" y="1061905"/>
              <a:ext cx="6762044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Rectangle 16"/>
            <p:cNvSpPr/>
            <p:nvPr/>
          </p:nvSpPr>
          <p:spPr>
            <a:xfrm>
              <a:off x="3205152" y="1043012"/>
              <a:ext cx="2733735" cy="37787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18" name="TextBox 17">
            <a:extLst>
              <a:ext uri="{FF2B5EF4-FFF2-40B4-BE49-F238E27FC236}">
                <a16:creationId xmlns="" xmlns:a16="http://schemas.microsoft.com/office/drawing/2014/main" id="{9A732C5A-F055-41CA-9024-15BE84C3DE41}"/>
              </a:ext>
            </a:extLst>
          </p:cNvPr>
          <p:cNvSpPr txBox="1"/>
          <p:nvPr/>
        </p:nvSpPr>
        <p:spPr>
          <a:xfrm>
            <a:off x="7783160" y="807174"/>
            <a:ext cx="187615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 err="1">
                <a:solidFill>
                  <a:schemeClr val="bg2"/>
                </a:solidFill>
              </a:rPr>
              <a:t>Aplikasi</a:t>
            </a:r>
            <a:r>
              <a:rPr lang="en-US" sz="1600" b="1" dirty="0">
                <a:solidFill>
                  <a:schemeClr val="bg2"/>
                </a:solidFill>
              </a:rPr>
              <a:t> </a:t>
            </a:r>
            <a:r>
              <a:rPr lang="en-US" sz="1600" b="1" dirty="0" smtClean="0">
                <a:solidFill>
                  <a:schemeClr val="bg2"/>
                </a:solidFill>
              </a:rPr>
              <a:t> </a:t>
            </a:r>
            <a:r>
              <a:rPr lang="en-US" sz="1600" b="1" dirty="0" err="1" smtClean="0">
                <a:solidFill>
                  <a:schemeClr val="bg2"/>
                </a:solidFill>
              </a:rPr>
              <a:t>HelpSIMRS</a:t>
            </a:r>
            <a:endParaRPr lang="en-US" sz="1600" b="1" dirty="0">
              <a:solidFill>
                <a:schemeClr val="bg2"/>
              </a:solidFill>
            </a:endParaRPr>
          </a:p>
        </p:txBody>
      </p:sp>
      <p:grpSp>
        <p:nvGrpSpPr>
          <p:cNvPr id="19" name="Group 18"/>
          <p:cNvGrpSpPr/>
          <p:nvPr/>
        </p:nvGrpSpPr>
        <p:grpSpPr>
          <a:xfrm>
            <a:off x="6669740" y="1788311"/>
            <a:ext cx="5034580" cy="3564047"/>
            <a:chOff x="6669740" y="1788312"/>
            <a:chExt cx="5034580" cy="2955810"/>
          </a:xfrm>
        </p:grpSpPr>
        <p:pic>
          <p:nvPicPr>
            <p:cNvPr id="8194" name="Picture 2"/>
            <p:cNvPicPr>
              <a:picLocks noChangeAspect="1" noChangeArrowheads="1"/>
            </p:cNvPicPr>
            <p:nvPr/>
          </p:nvPicPr>
          <p:blipFill>
            <a:blip r:embed="rId2"/>
            <a:srcRect r="32565" b="611"/>
            <a:stretch>
              <a:fillRect/>
            </a:stretch>
          </p:blipFill>
          <p:spPr bwMode="auto">
            <a:xfrm>
              <a:off x="6669740" y="1788312"/>
              <a:ext cx="5034580" cy="295581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sp>
          <p:nvSpPr>
            <p:cNvPr id="14" name="Rectangle 13"/>
            <p:cNvSpPr/>
            <p:nvPr/>
          </p:nvSpPr>
          <p:spPr>
            <a:xfrm>
              <a:off x="8122024" y="2538805"/>
              <a:ext cx="3528508" cy="172122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8195" name="Picture 3"/>
          <p:cNvPicPr>
            <a:picLocks noChangeAspect="1" noChangeArrowheads="1"/>
          </p:cNvPicPr>
          <p:nvPr/>
        </p:nvPicPr>
        <p:blipFill>
          <a:blip r:embed="rId3"/>
          <a:srcRect l="4171" t="7799" r="2460" b="4245"/>
          <a:stretch>
            <a:fillRect/>
          </a:stretch>
        </p:blipFill>
        <p:spPr bwMode="auto">
          <a:xfrm>
            <a:off x="204394" y="1869437"/>
            <a:ext cx="5732385" cy="34829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35509052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="" xmlns:a16="http://schemas.microsoft.com/office/drawing/2014/main" id="{28669499-5A21-4B1F-9515-D793EC10792A}"/>
              </a:ext>
            </a:extLst>
          </p:cNvPr>
          <p:cNvSpPr txBox="1"/>
          <p:nvPr/>
        </p:nvSpPr>
        <p:spPr>
          <a:xfrm>
            <a:off x="1309343" y="1355679"/>
            <a:ext cx="372832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 err="1">
                <a:solidFill>
                  <a:schemeClr val="bg2"/>
                </a:solidFill>
              </a:rPr>
              <a:t>Aplikasi</a:t>
            </a:r>
            <a:r>
              <a:rPr lang="en-US" sz="1600" b="1" dirty="0">
                <a:solidFill>
                  <a:schemeClr val="bg2"/>
                </a:solidFill>
              </a:rPr>
              <a:t> </a:t>
            </a:r>
            <a:r>
              <a:rPr lang="en-US" sz="1600" b="1" dirty="0" smtClean="0">
                <a:solidFill>
                  <a:schemeClr val="bg2"/>
                </a:solidFill>
              </a:rPr>
              <a:t> </a:t>
            </a:r>
            <a:r>
              <a:rPr lang="en-US" sz="1600" b="1" dirty="0" err="1" smtClean="0">
                <a:solidFill>
                  <a:schemeClr val="bg2"/>
                </a:solidFill>
              </a:rPr>
              <a:t>Pengaduan</a:t>
            </a:r>
            <a:r>
              <a:rPr lang="en-US" sz="1600" b="1" dirty="0" smtClean="0">
                <a:solidFill>
                  <a:schemeClr val="bg2"/>
                </a:solidFill>
              </a:rPr>
              <a:t> </a:t>
            </a:r>
            <a:r>
              <a:rPr lang="en-US" sz="1600" b="1" dirty="0" err="1" smtClean="0">
                <a:solidFill>
                  <a:schemeClr val="bg2"/>
                </a:solidFill>
              </a:rPr>
              <a:t>Pelayanan</a:t>
            </a:r>
            <a:r>
              <a:rPr lang="en-US" sz="1600" b="1" dirty="0" smtClean="0">
                <a:solidFill>
                  <a:schemeClr val="bg2"/>
                </a:solidFill>
              </a:rPr>
              <a:t> </a:t>
            </a:r>
            <a:r>
              <a:rPr lang="en-US" sz="1600" b="1" dirty="0" err="1" smtClean="0">
                <a:solidFill>
                  <a:schemeClr val="bg2"/>
                </a:solidFill>
              </a:rPr>
              <a:t>Pelanggan</a:t>
            </a:r>
            <a:endParaRPr lang="en-US" sz="1600" b="1" dirty="0">
              <a:solidFill>
                <a:schemeClr val="bg2"/>
              </a:solidFill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="" xmlns:a16="http://schemas.microsoft.com/office/drawing/2014/main" id="{4279FCA5-7175-48FC-AC35-2A77F108D551}"/>
              </a:ext>
            </a:extLst>
          </p:cNvPr>
          <p:cNvCxnSpPr>
            <a:cxnSpLocks/>
          </p:cNvCxnSpPr>
          <p:nvPr/>
        </p:nvCxnSpPr>
        <p:spPr>
          <a:xfrm>
            <a:off x="6565045" y="1524956"/>
            <a:ext cx="0" cy="382740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itle 11"/>
          <p:cNvSpPr txBox="1">
            <a:spLocks/>
          </p:cNvSpPr>
          <p:nvPr/>
        </p:nvSpPr>
        <p:spPr>
          <a:xfrm>
            <a:off x="1747403" y="113944"/>
            <a:ext cx="8697279" cy="518157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dirty="0" smtClean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PENGADUAN</a:t>
            </a:r>
            <a:endParaRPr lang="en-US" sz="2800" dirty="0">
              <a:solidFill>
                <a:schemeClr val="bg1"/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grpSp>
        <p:nvGrpSpPr>
          <p:cNvPr id="2" name="Group 4"/>
          <p:cNvGrpSpPr/>
          <p:nvPr/>
        </p:nvGrpSpPr>
        <p:grpSpPr>
          <a:xfrm>
            <a:off x="2714979" y="666867"/>
            <a:ext cx="6762044" cy="37787"/>
            <a:chOff x="1190978" y="1043012"/>
            <a:chExt cx="6762044" cy="37787"/>
          </a:xfrm>
        </p:grpSpPr>
        <p:cxnSp>
          <p:nvCxnSpPr>
            <p:cNvPr id="16" name="Straight Connector 15"/>
            <p:cNvCxnSpPr/>
            <p:nvPr/>
          </p:nvCxnSpPr>
          <p:spPr>
            <a:xfrm>
              <a:off x="1190978" y="1061905"/>
              <a:ext cx="6762044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Rectangle 16"/>
            <p:cNvSpPr/>
            <p:nvPr/>
          </p:nvSpPr>
          <p:spPr>
            <a:xfrm>
              <a:off x="3205152" y="1043012"/>
              <a:ext cx="2733735" cy="37787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18" name="TextBox 17">
            <a:extLst>
              <a:ext uri="{FF2B5EF4-FFF2-40B4-BE49-F238E27FC236}">
                <a16:creationId xmlns="" xmlns:a16="http://schemas.microsoft.com/office/drawing/2014/main" id="{9A732C5A-F055-41CA-9024-15BE84C3DE41}"/>
              </a:ext>
            </a:extLst>
          </p:cNvPr>
          <p:cNvSpPr txBox="1"/>
          <p:nvPr/>
        </p:nvSpPr>
        <p:spPr>
          <a:xfrm>
            <a:off x="7783159" y="1340786"/>
            <a:ext cx="331206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 err="1" smtClean="0">
                <a:solidFill>
                  <a:schemeClr val="bg2"/>
                </a:solidFill>
              </a:rPr>
              <a:t>Aplikasi</a:t>
            </a:r>
            <a:r>
              <a:rPr lang="en-US" sz="1600" b="1" dirty="0" smtClean="0">
                <a:solidFill>
                  <a:schemeClr val="bg2"/>
                </a:solidFill>
              </a:rPr>
              <a:t> Dashboard </a:t>
            </a:r>
            <a:r>
              <a:rPr lang="en-US" sz="1600" b="1" dirty="0" err="1" smtClean="0">
                <a:solidFill>
                  <a:schemeClr val="bg2"/>
                </a:solidFill>
              </a:rPr>
              <a:t>Tenaga</a:t>
            </a:r>
            <a:r>
              <a:rPr lang="en-US" sz="1600" b="1" dirty="0" smtClean="0">
                <a:solidFill>
                  <a:schemeClr val="bg2"/>
                </a:solidFill>
              </a:rPr>
              <a:t> </a:t>
            </a:r>
            <a:r>
              <a:rPr lang="en-US" sz="1600" b="1" dirty="0" err="1" smtClean="0">
                <a:solidFill>
                  <a:schemeClr val="bg2"/>
                </a:solidFill>
              </a:rPr>
              <a:t>Spsesialis</a:t>
            </a:r>
            <a:endParaRPr lang="en-US" sz="1600" b="1" dirty="0">
              <a:solidFill>
                <a:schemeClr val="bg2"/>
              </a:solidFill>
            </a:endParaRPr>
          </a:p>
        </p:txBody>
      </p:sp>
      <p:grpSp>
        <p:nvGrpSpPr>
          <p:cNvPr id="22" name="Group 21"/>
          <p:cNvGrpSpPr/>
          <p:nvPr/>
        </p:nvGrpSpPr>
        <p:grpSpPr>
          <a:xfrm>
            <a:off x="247427" y="1773387"/>
            <a:ext cx="5852160" cy="3013766"/>
            <a:chOff x="1775012" y="1332324"/>
            <a:chExt cx="9418320" cy="3391786"/>
          </a:xfrm>
        </p:grpSpPr>
        <p:pic>
          <p:nvPicPr>
            <p:cNvPr id="11266" name="Picture 2"/>
            <p:cNvPicPr>
              <a:picLocks noChangeAspect="1" noChangeArrowheads="1"/>
            </p:cNvPicPr>
            <p:nvPr/>
          </p:nvPicPr>
          <p:blipFill>
            <a:blip r:embed="rId2"/>
            <a:srcRect/>
            <a:stretch>
              <a:fillRect/>
            </a:stretch>
          </p:blipFill>
          <p:spPr bwMode="auto">
            <a:xfrm>
              <a:off x="1775012" y="1332324"/>
              <a:ext cx="9418320" cy="339178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sp>
          <p:nvSpPr>
            <p:cNvPr id="20" name="Rectangle 19"/>
            <p:cNvSpPr/>
            <p:nvPr/>
          </p:nvSpPr>
          <p:spPr>
            <a:xfrm>
              <a:off x="4001845" y="3205779"/>
              <a:ext cx="720762" cy="1097280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14" name="Picture 3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6646792" y="1773387"/>
            <a:ext cx="5204815" cy="30137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35509052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="" xmlns:a16="http://schemas.microsoft.com/office/drawing/2014/main" id="{28669499-5A21-4B1F-9515-D793EC10792A}"/>
              </a:ext>
            </a:extLst>
          </p:cNvPr>
          <p:cNvSpPr txBox="1"/>
          <p:nvPr/>
        </p:nvSpPr>
        <p:spPr>
          <a:xfrm>
            <a:off x="1568664" y="1033763"/>
            <a:ext cx="306103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 err="1">
                <a:solidFill>
                  <a:schemeClr val="bg2"/>
                </a:solidFill>
              </a:rPr>
              <a:t>Aplikasi</a:t>
            </a:r>
            <a:r>
              <a:rPr lang="en-US" sz="1600" b="1" dirty="0">
                <a:solidFill>
                  <a:schemeClr val="bg2"/>
                </a:solidFill>
              </a:rPr>
              <a:t> </a:t>
            </a:r>
            <a:r>
              <a:rPr lang="en-US" sz="1600" b="1" dirty="0" smtClean="0">
                <a:solidFill>
                  <a:schemeClr val="bg2"/>
                </a:solidFill>
              </a:rPr>
              <a:t> </a:t>
            </a:r>
            <a:r>
              <a:rPr lang="en-US" sz="1600" b="1" dirty="0" err="1" smtClean="0">
                <a:solidFill>
                  <a:schemeClr val="bg2"/>
                </a:solidFill>
              </a:rPr>
              <a:t>Absensi</a:t>
            </a:r>
            <a:r>
              <a:rPr lang="en-US" sz="1600" b="1" dirty="0" smtClean="0">
                <a:solidFill>
                  <a:schemeClr val="bg2"/>
                </a:solidFill>
              </a:rPr>
              <a:t> </a:t>
            </a:r>
            <a:r>
              <a:rPr lang="en-US" sz="1600" b="1" dirty="0" err="1" smtClean="0">
                <a:solidFill>
                  <a:schemeClr val="bg2"/>
                </a:solidFill>
              </a:rPr>
              <a:t>Berbasis</a:t>
            </a:r>
            <a:r>
              <a:rPr lang="en-US" sz="1600" b="1" dirty="0" smtClean="0">
                <a:solidFill>
                  <a:schemeClr val="bg2"/>
                </a:solidFill>
              </a:rPr>
              <a:t> </a:t>
            </a:r>
            <a:r>
              <a:rPr lang="en-US" sz="1600" b="1" dirty="0" err="1" smtClean="0">
                <a:solidFill>
                  <a:schemeClr val="bg2"/>
                </a:solidFill>
              </a:rPr>
              <a:t>Kamera</a:t>
            </a:r>
            <a:endParaRPr lang="en-US" sz="1600" b="1" dirty="0">
              <a:solidFill>
                <a:schemeClr val="bg2"/>
              </a:solidFill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="" xmlns:a16="http://schemas.microsoft.com/office/drawing/2014/main" id="{4279FCA5-7175-48FC-AC35-2A77F108D551}"/>
              </a:ext>
            </a:extLst>
          </p:cNvPr>
          <p:cNvCxnSpPr>
            <a:cxnSpLocks/>
          </p:cNvCxnSpPr>
          <p:nvPr/>
        </p:nvCxnSpPr>
        <p:spPr>
          <a:xfrm>
            <a:off x="6565045" y="1524956"/>
            <a:ext cx="0" cy="382740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itle 11"/>
          <p:cNvSpPr txBox="1">
            <a:spLocks/>
          </p:cNvSpPr>
          <p:nvPr/>
        </p:nvSpPr>
        <p:spPr>
          <a:xfrm>
            <a:off x="1747403" y="113944"/>
            <a:ext cx="8697279" cy="518157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dirty="0" smtClean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HRD : ABSEN &amp; PENGAJUAN CUTI</a:t>
            </a:r>
            <a:endParaRPr lang="en-US" sz="2800" dirty="0">
              <a:solidFill>
                <a:schemeClr val="bg1"/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grpSp>
        <p:nvGrpSpPr>
          <p:cNvPr id="2" name="Group 4"/>
          <p:cNvGrpSpPr/>
          <p:nvPr/>
        </p:nvGrpSpPr>
        <p:grpSpPr>
          <a:xfrm>
            <a:off x="2714979" y="666867"/>
            <a:ext cx="6762044" cy="37787"/>
            <a:chOff x="1190978" y="1043012"/>
            <a:chExt cx="6762044" cy="37787"/>
          </a:xfrm>
        </p:grpSpPr>
        <p:cxnSp>
          <p:nvCxnSpPr>
            <p:cNvPr id="16" name="Straight Connector 15"/>
            <p:cNvCxnSpPr/>
            <p:nvPr/>
          </p:nvCxnSpPr>
          <p:spPr>
            <a:xfrm>
              <a:off x="1190978" y="1061905"/>
              <a:ext cx="6762044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Rectangle 16"/>
            <p:cNvSpPr/>
            <p:nvPr/>
          </p:nvSpPr>
          <p:spPr>
            <a:xfrm>
              <a:off x="3205152" y="1043012"/>
              <a:ext cx="2733735" cy="37787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18" name="TextBox 17">
            <a:extLst>
              <a:ext uri="{FF2B5EF4-FFF2-40B4-BE49-F238E27FC236}">
                <a16:creationId xmlns="" xmlns:a16="http://schemas.microsoft.com/office/drawing/2014/main" id="{9A732C5A-F055-41CA-9024-15BE84C3DE41}"/>
              </a:ext>
            </a:extLst>
          </p:cNvPr>
          <p:cNvSpPr txBox="1"/>
          <p:nvPr/>
        </p:nvSpPr>
        <p:spPr>
          <a:xfrm>
            <a:off x="7783160" y="859726"/>
            <a:ext cx="302063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 err="1" smtClean="0">
                <a:solidFill>
                  <a:schemeClr val="bg2"/>
                </a:solidFill>
              </a:rPr>
              <a:t>Aplikasi</a:t>
            </a:r>
            <a:r>
              <a:rPr lang="en-US" sz="1600" b="1" dirty="0" smtClean="0">
                <a:solidFill>
                  <a:schemeClr val="bg2"/>
                </a:solidFill>
              </a:rPr>
              <a:t> </a:t>
            </a:r>
            <a:r>
              <a:rPr lang="en-US" sz="1600" b="1" dirty="0" err="1" smtClean="0">
                <a:solidFill>
                  <a:schemeClr val="bg2"/>
                </a:solidFill>
              </a:rPr>
              <a:t>Pengajuan</a:t>
            </a:r>
            <a:r>
              <a:rPr lang="en-US" sz="1600" b="1" dirty="0" smtClean="0">
                <a:solidFill>
                  <a:schemeClr val="bg2"/>
                </a:solidFill>
              </a:rPr>
              <a:t> </a:t>
            </a:r>
            <a:r>
              <a:rPr lang="en-US" sz="1600" b="1" dirty="0" err="1" smtClean="0">
                <a:solidFill>
                  <a:schemeClr val="bg2"/>
                </a:solidFill>
              </a:rPr>
              <a:t>Cuti</a:t>
            </a:r>
            <a:r>
              <a:rPr lang="en-US" sz="1600" b="1" dirty="0" smtClean="0">
                <a:solidFill>
                  <a:schemeClr val="bg2"/>
                </a:solidFill>
              </a:rPr>
              <a:t> Dan </a:t>
            </a:r>
            <a:r>
              <a:rPr lang="en-US" sz="1600" b="1" dirty="0" err="1" smtClean="0">
                <a:solidFill>
                  <a:schemeClr val="bg2"/>
                </a:solidFill>
              </a:rPr>
              <a:t>Sakit</a:t>
            </a:r>
            <a:endParaRPr lang="en-US" sz="1600" b="1" dirty="0">
              <a:solidFill>
                <a:schemeClr val="bg2"/>
              </a:solidFill>
            </a:endParaRPr>
          </a:p>
        </p:txBody>
      </p:sp>
      <p:pic>
        <p:nvPicPr>
          <p:cNvPr id="19" name="Picture 2" descr="D:\backup pc D\SIMRS\CAPAIAN IKU\CAPAIAN IKU 2019\IMG_20190709_120705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639613" y="1587062"/>
            <a:ext cx="3445675" cy="3388798"/>
          </a:xfrm>
          <a:prstGeom prst="rect">
            <a:avLst/>
          </a:prstGeom>
          <a:noFill/>
        </p:spPr>
      </p:pic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513234" y="1587062"/>
            <a:ext cx="3522628" cy="2196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028" name="Picture 4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7471213" y="4035643"/>
            <a:ext cx="3916599" cy="1356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35509052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="" xmlns:a16="http://schemas.microsoft.com/office/drawing/2014/main" id="{28669499-5A21-4B1F-9515-D793EC10792A}"/>
              </a:ext>
            </a:extLst>
          </p:cNvPr>
          <p:cNvSpPr txBox="1"/>
          <p:nvPr/>
        </p:nvSpPr>
        <p:spPr>
          <a:xfrm>
            <a:off x="1949664" y="1372317"/>
            <a:ext cx="226927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 err="1">
                <a:solidFill>
                  <a:schemeClr val="bg2"/>
                </a:solidFill>
              </a:rPr>
              <a:t>Aplikasi</a:t>
            </a:r>
            <a:r>
              <a:rPr lang="en-US" sz="1600" b="1" dirty="0">
                <a:solidFill>
                  <a:schemeClr val="bg2"/>
                </a:solidFill>
              </a:rPr>
              <a:t> </a:t>
            </a:r>
            <a:r>
              <a:rPr lang="en-US" sz="1600" b="1" dirty="0" smtClean="0">
                <a:solidFill>
                  <a:schemeClr val="bg2"/>
                </a:solidFill>
              </a:rPr>
              <a:t> </a:t>
            </a:r>
            <a:r>
              <a:rPr lang="en-US" sz="1600" b="1" dirty="0" err="1" smtClean="0">
                <a:solidFill>
                  <a:schemeClr val="bg2"/>
                </a:solidFill>
              </a:rPr>
              <a:t>Jadwal</a:t>
            </a:r>
            <a:r>
              <a:rPr lang="en-US" sz="1600" b="1" dirty="0" smtClean="0">
                <a:solidFill>
                  <a:schemeClr val="bg2"/>
                </a:solidFill>
              </a:rPr>
              <a:t> </a:t>
            </a:r>
            <a:r>
              <a:rPr lang="en-US" sz="1600" b="1" dirty="0" err="1" smtClean="0">
                <a:solidFill>
                  <a:schemeClr val="bg2"/>
                </a:solidFill>
              </a:rPr>
              <a:t>Pegawai</a:t>
            </a:r>
            <a:endParaRPr lang="en-US" sz="1600" b="1" dirty="0">
              <a:solidFill>
                <a:schemeClr val="bg2"/>
              </a:solidFill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="" xmlns:a16="http://schemas.microsoft.com/office/drawing/2014/main" id="{4279FCA5-7175-48FC-AC35-2A77F108D551}"/>
              </a:ext>
            </a:extLst>
          </p:cNvPr>
          <p:cNvCxnSpPr>
            <a:cxnSpLocks/>
          </p:cNvCxnSpPr>
          <p:nvPr/>
        </p:nvCxnSpPr>
        <p:spPr>
          <a:xfrm>
            <a:off x="6565045" y="1524956"/>
            <a:ext cx="0" cy="382740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itle 11"/>
          <p:cNvSpPr txBox="1">
            <a:spLocks/>
          </p:cNvSpPr>
          <p:nvPr/>
        </p:nvSpPr>
        <p:spPr>
          <a:xfrm>
            <a:off x="1747403" y="113944"/>
            <a:ext cx="8697279" cy="518157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dirty="0" smtClean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SHIFT &amp; GIZI</a:t>
            </a:r>
            <a:endParaRPr lang="en-US" sz="2800" dirty="0">
              <a:solidFill>
                <a:schemeClr val="bg1"/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grpSp>
        <p:nvGrpSpPr>
          <p:cNvPr id="2" name="Group 4"/>
          <p:cNvGrpSpPr/>
          <p:nvPr/>
        </p:nvGrpSpPr>
        <p:grpSpPr>
          <a:xfrm>
            <a:off x="2714979" y="666867"/>
            <a:ext cx="6762044" cy="37787"/>
            <a:chOff x="1190978" y="1043012"/>
            <a:chExt cx="6762044" cy="37787"/>
          </a:xfrm>
        </p:grpSpPr>
        <p:cxnSp>
          <p:nvCxnSpPr>
            <p:cNvPr id="16" name="Straight Connector 15"/>
            <p:cNvCxnSpPr/>
            <p:nvPr/>
          </p:nvCxnSpPr>
          <p:spPr>
            <a:xfrm>
              <a:off x="1190978" y="1061905"/>
              <a:ext cx="6762044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Rectangle 16"/>
            <p:cNvSpPr/>
            <p:nvPr/>
          </p:nvSpPr>
          <p:spPr>
            <a:xfrm>
              <a:off x="3205152" y="1043012"/>
              <a:ext cx="2733735" cy="37787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18" name="TextBox 17">
            <a:extLst>
              <a:ext uri="{FF2B5EF4-FFF2-40B4-BE49-F238E27FC236}">
                <a16:creationId xmlns="" xmlns:a16="http://schemas.microsoft.com/office/drawing/2014/main" id="{9A732C5A-F055-41CA-9024-15BE84C3DE41}"/>
              </a:ext>
            </a:extLst>
          </p:cNvPr>
          <p:cNvSpPr txBox="1"/>
          <p:nvPr/>
        </p:nvSpPr>
        <p:spPr>
          <a:xfrm>
            <a:off x="8264470" y="1372317"/>
            <a:ext cx="218021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 err="1" smtClean="0">
                <a:solidFill>
                  <a:schemeClr val="bg2"/>
                </a:solidFill>
              </a:rPr>
              <a:t>Aplikasi</a:t>
            </a:r>
            <a:r>
              <a:rPr lang="en-US" sz="1600" b="1" dirty="0" smtClean="0">
                <a:solidFill>
                  <a:schemeClr val="bg2"/>
                </a:solidFill>
              </a:rPr>
              <a:t> Dashboard </a:t>
            </a:r>
            <a:r>
              <a:rPr lang="en-US" sz="1600" b="1" dirty="0" err="1" smtClean="0">
                <a:solidFill>
                  <a:schemeClr val="bg2"/>
                </a:solidFill>
              </a:rPr>
              <a:t>Gizi</a:t>
            </a:r>
            <a:endParaRPr lang="en-US" sz="1600" b="1" dirty="0">
              <a:solidFill>
                <a:schemeClr val="bg2"/>
              </a:solidFill>
            </a:endParaRPr>
          </a:p>
        </p:txBody>
      </p:sp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580913" y="1817404"/>
            <a:ext cx="5356412" cy="36156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30698" y="1820277"/>
            <a:ext cx="5027468" cy="36127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09052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="" xmlns:a16="http://schemas.microsoft.com/office/drawing/2014/main" id="{28669499-5A21-4B1F-9515-D793EC10792A}"/>
              </a:ext>
            </a:extLst>
          </p:cNvPr>
          <p:cNvSpPr txBox="1"/>
          <p:nvPr/>
        </p:nvSpPr>
        <p:spPr>
          <a:xfrm>
            <a:off x="2163024" y="1642701"/>
            <a:ext cx="250395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 err="1">
                <a:solidFill>
                  <a:schemeClr val="bg2"/>
                </a:solidFill>
              </a:rPr>
              <a:t>Aplikasi</a:t>
            </a:r>
            <a:r>
              <a:rPr lang="en-US" sz="1600" b="1" dirty="0">
                <a:solidFill>
                  <a:schemeClr val="bg2"/>
                </a:solidFill>
              </a:rPr>
              <a:t> </a:t>
            </a:r>
            <a:r>
              <a:rPr lang="en-US" sz="1600" b="1" dirty="0" smtClean="0">
                <a:solidFill>
                  <a:schemeClr val="bg2"/>
                </a:solidFill>
              </a:rPr>
              <a:t> HISTOLOGI LAB PA</a:t>
            </a:r>
            <a:endParaRPr lang="en-US" sz="1600" b="1" dirty="0">
              <a:solidFill>
                <a:schemeClr val="bg2"/>
              </a:solidFill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="" xmlns:a16="http://schemas.microsoft.com/office/drawing/2014/main" id="{4279FCA5-7175-48FC-AC35-2A77F108D551}"/>
              </a:ext>
            </a:extLst>
          </p:cNvPr>
          <p:cNvCxnSpPr>
            <a:cxnSpLocks/>
          </p:cNvCxnSpPr>
          <p:nvPr/>
        </p:nvCxnSpPr>
        <p:spPr>
          <a:xfrm>
            <a:off x="6565045" y="1524956"/>
            <a:ext cx="0" cy="382740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itle 11"/>
          <p:cNvSpPr txBox="1">
            <a:spLocks/>
          </p:cNvSpPr>
          <p:nvPr/>
        </p:nvSpPr>
        <p:spPr>
          <a:xfrm>
            <a:off x="1747403" y="113944"/>
            <a:ext cx="8697279" cy="518157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dirty="0" smtClean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ORDER TINDAKAN PA &amp; DASHBOARD TENAGA </a:t>
            </a:r>
            <a:r>
              <a:rPr lang="en-US" sz="2800" dirty="0" err="1" smtClean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dr</a:t>
            </a:r>
            <a:endParaRPr lang="en-US" sz="2800" dirty="0">
              <a:solidFill>
                <a:schemeClr val="bg1"/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grpSp>
        <p:nvGrpSpPr>
          <p:cNvPr id="2" name="Group 4"/>
          <p:cNvGrpSpPr/>
          <p:nvPr/>
        </p:nvGrpSpPr>
        <p:grpSpPr>
          <a:xfrm>
            <a:off x="2714979" y="666867"/>
            <a:ext cx="6762044" cy="37787"/>
            <a:chOff x="1190978" y="1043012"/>
            <a:chExt cx="6762044" cy="37787"/>
          </a:xfrm>
        </p:grpSpPr>
        <p:cxnSp>
          <p:nvCxnSpPr>
            <p:cNvPr id="16" name="Straight Connector 15"/>
            <p:cNvCxnSpPr/>
            <p:nvPr/>
          </p:nvCxnSpPr>
          <p:spPr>
            <a:xfrm>
              <a:off x="1190978" y="1061905"/>
              <a:ext cx="6762044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Rectangle 16"/>
            <p:cNvSpPr/>
            <p:nvPr/>
          </p:nvSpPr>
          <p:spPr>
            <a:xfrm>
              <a:off x="3205152" y="1043012"/>
              <a:ext cx="2733735" cy="37787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18" name="TextBox 17">
            <a:extLst>
              <a:ext uri="{FF2B5EF4-FFF2-40B4-BE49-F238E27FC236}">
                <a16:creationId xmlns="" xmlns:a16="http://schemas.microsoft.com/office/drawing/2014/main" id="{9A732C5A-F055-41CA-9024-15BE84C3DE41}"/>
              </a:ext>
            </a:extLst>
          </p:cNvPr>
          <p:cNvSpPr txBox="1"/>
          <p:nvPr/>
        </p:nvSpPr>
        <p:spPr>
          <a:xfrm>
            <a:off x="7783159" y="1806915"/>
            <a:ext cx="244919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 err="1" smtClean="0">
                <a:solidFill>
                  <a:schemeClr val="bg2"/>
                </a:solidFill>
              </a:rPr>
              <a:t>Aplikasi</a:t>
            </a:r>
            <a:r>
              <a:rPr lang="en-US" sz="1600" b="1" dirty="0" smtClean="0">
                <a:solidFill>
                  <a:schemeClr val="bg2"/>
                </a:solidFill>
              </a:rPr>
              <a:t> Dashboard </a:t>
            </a:r>
            <a:r>
              <a:rPr lang="en-US" sz="1600" b="1" dirty="0" err="1" smtClean="0">
                <a:solidFill>
                  <a:schemeClr val="bg2"/>
                </a:solidFill>
              </a:rPr>
              <a:t>Dokter</a:t>
            </a:r>
            <a:endParaRPr lang="en-US" sz="1600" b="1" dirty="0">
              <a:solidFill>
                <a:schemeClr val="bg2"/>
              </a:solidFill>
            </a:endParaRPr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861848" y="2116323"/>
            <a:ext cx="5254212" cy="3659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099" name="Picture 3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6646794" y="2304000"/>
            <a:ext cx="5204815" cy="34719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35509052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Straight Connector 8">
            <a:extLst>
              <a:ext uri="{FF2B5EF4-FFF2-40B4-BE49-F238E27FC236}">
                <a16:creationId xmlns="" xmlns:a16="http://schemas.microsoft.com/office/drawing/2014/main" id="{4279FCA5-7175-48FC-AC35-2A77F108D551}"/>
              </a:ext>
            </a:extLst>
          </p:cNvPr>
          <p:cNvCxnSpPr>
            <a:cxnSpLocks/>
          </p:cNvCxnSpPr>
          <p:nvPr/>
        </p:nvCxnSpPr>
        <p:spPr>
          <a:xfrm>
            <a:off x="6565045" y="1524956"/>
            <a:ext cx="0" cy="382740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itle 11"/>
          <p:cNvSpPr txBox="1">
            <a:spLocks/>
          </p:cNvSpPr>
          <p:nvPr/>
        </p:nvSpPr>
        <p:spPr>
          <a:xfrm>
            <a:off x="1747403" y="113944"/>
            <a:ext cx="8697279" cy="518157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dirty="0" smtClean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REKAM MEDIK</a:t>
            </a:r>
            <a:endParaRPr lang="en-US" sz="2800" dirty="0">
              <a:solidFill>
                <a:schemeClr val="bg1"/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grpSp>
        <p:nvGrpSpPr>
          <p:cNvPr id="2" name="Group 4"/>
          <p:cNvGrpSpPr/>
          <p:nvPr/>
        </p:nvGrpSpPr>
        <p:grpSpPr>
          <a:xfrm>
            <a:off x="2714979" y="666867"/>
            <a:ext cx="6762044" cy="37787"/>
            <a:chOff x="1190978" y="1043012"/>
            <a:chExt cx="6762044" cy="37787"/>
          </a:xfrm>
        </p:grpSpPr>
        <p:cxnSp>
          <p:nvCxnSpPr>
            <p:cNvPr id="16" name="Straight Connector 15"/>
            <p:cNvCxnSpPr/>
            <p:nvPr/>
          </p:nvCxnSpPr>
          <p:spPr>
            <a:xfrm>
              <a:off x="1190978" y="1061905"/>
              <a:ext cx="6762044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Rectangle 16"/>
            <p:cNvSpPr/>
            <p:nvPr/>
          </p:nvSpPr>
          <p:spPr>
            <a:xfrm>
              <a:off x="3205152" y="1043012"/>
              <a:ext cx="2733735" cy="37787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641435" y="1534510"/>
            <a:ext cx="5640144" cy="40966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2" name="TextBox 11">
            <a:extLst>
              <a:ext uri="{FF2B5EF4-FFF2-40B4-BE49-F238E27FC236}">
                <a16:creationId xmlns="" xmlns:a16="http://schemas.microsoft.com/office/drawing/2014/main" id="{28669499-5A21-4B1F-9515-D793EC10792A}"/>
              </a:ext>
            </a:extLst>
          </p:cNvPr>
          <p:cNvSpPr txBox="1"/>
          <p:nvPr/>
        </p:nvSpPr>
        <p:spPr>
          <a:xfrm>
            <a:off x="3061133" y="1128356"/>
            <a:ext cx="101181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 smtClean="0">
                <a:solidFill>
                  <a:schemeClr val="bg2"/>
                </a:solidFill>
              </a:rPr>
              <a:t>PERAWAT</a:t>
            </a:r>
            <a:endParaRPr lang="en-US" sz="1600" b="1" dirty="0">
              <a:solidFill>
                <a:schemeClr val="bg2"/>
              </a:solidFill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="" xmlns:a16="http://schemas.microsoft.com/office/drawing/2014/main" id="{9A732C5A-F055-41CA-9024-15BE84C3DE41}"/>
              </a:ext>
            </a:extLst>
          </p:cNvPr>
          <p:cNvSpPr txBox="1"/>
          <p:nvPr/>
        </p:nvSpPr>
        <p:spPr>
          <a:xfrm>
            <a:off x="8886747" y="1122484"/>
            <a:ext cx="74571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 smtClean="0">
                <a:solidFill>
                  <a:schemeClr val="bg2"/>
                </a:solidFill>
              </a:rPr>
              <a:t>MEDIS</a:t>
            </a:r>
            <a:endParaRPr lang="en-US" sz="1600" b="1" dirty="0">
              <a:solidFill>
                <a:schemeClr val="bg2"/>
              </a:solidFill>
            </a:endParaRPr>
          </a:p>
        </p:txBody>
      </p: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6808966" y="1608080"/>
            <a:ext cx="5109764" cy="40764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35509052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 fontScale="77500" lnSpcReduction="20000"/>
          </a:bodyPr>
          <a:lstStyle/>
          <a:p>
            <a:r>
              <a:rPr lang="en-GB" b="1" dirty="0" smtClean="0">
                <a:solidFill>
                  <a:schemeClr val="bg2">
                    <a:lumMod val="90000"/>
                  </a:schemeClr>
                </a:solidFill>
              </a:rPr>
              <a:t>TANTANGAN IMPLEMENTASI SIMRS DI RUMAH SAKIT</a:t>
            </a:r>
            <a:endParaRPr lang="en-US" b="1" dirty="0">
              <a:solidFill>
                <a:schemeClr val="bg2">
                  <a:lumMod val="90000"/>
                </a:schemeClr>
              </a:solidFill>
            </a:endParaRPr>
          </a:p>
        </p:txBody>
      </p:sp>
      <p:grpSp>
        <p:nvGrpSpPr>
          <p:cNvPr id="7" name="그룹 4">
            <a:extLst>
              <a:ext uri="{FF2B5EF4-FFF2-40B4-BE49-F238E27FC236}">
                <a16:creationId xmlns="" xmlns:a16="http://schemas.microsoft.com/office/drawing/2014/main" id="{D590009E-5078-4D5C-9934-A502F1C34B09}"/>
              </a:ext>
            </a:extLst>
          </p:cNvPr>
          <p:cNvGrpSpPr/>
          <p:nvPr/>
        </p:nvGrpSpPr>
        <p:grpSpPr>
          <a:xfrm>
            <a:off x="6343779" y="1829475"/>
            <a:ext cx="2105711" cy="3567854"/>
            <a:chOff x="3676778" y="1829474"/>
            <a:chExt cx="2105711" cy="3567854"/>
          </a:xfrm>
        </p:grpSpPr>
        <p:sp>
          <p:nvSpPr>
            <p:cNvPr id="16" name="Isosceles Triangle 15">
              <a:extLst>
                <a:ext uri="{FF2B5EF4-FFF2-40B4-BE49-F238E27FC236}">
                  <a16:creationId xmlns="" xmlns:a16="http://schemas.microsoft.com/office/drawing/2014/main" id="{55EB54C3-D3B6-4D0F-BD21-12868CAE4AE4}"/>
                </a:ext>
              </a:extLst>
            </p:cNvPr>
            <p:cNvSpPr/>
            <p:nvPr/>
          </p:nvSpPr>
          <p:spPr>
            <a:xfrm rot="5400000">
              <a:off x="4917877" y="4532715"/>
              <a:ext cx="1029884" cy="699341"/>
            </a:xfrm>
            <a:prstGeom prst="triangl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700" dirty="0"/>
            </a:p>
          </p:txBody>
        </p:sp>
        <p:sp>
          <p:nvSpPr>
            <p:cNvPr id="17" name="Rectangle 16">
              <a:extLst>
                <a:ext uri="{FF2B5EF4-FFF2-40B4-BE49-F238E27FC236}">
                  <a16:creationId xmlns="" xmlns:a16="http://schemas.microsoft.com/office/drawing/2014/main" id="{9F89A89A-CD0F-4A71-8067-9326D0E5F9BC}"/>
                </a:ext>
              </a:extLst>
            </p:cNvPr>
            <p:cNvSpPr/>
            <p:nvPr/>
          </p:nvSpPr>
          <p:spPr>
            <a:xfrm>
              <a:off x="3676778" y="1829474"/>
              <a:ext cx="2068190" cy="3024336"/>
            </a:xfrm>
            <a:prstGeom prst="rect">
              <a:avLst/>
            </a:prstGeom>
            <a:solidFill>
              <a:schemeClr val="bg1"/>
            </a:solidFill>
            <a:ln w="63500">
              <a:solidFill>
                <a:schemeClr val="accent2"/>
              </a:solidFill>
            </a:ln>
            <a:effectLst>
              <a:innerShdw blurRad="127000" dist="127000" dir="13200000">
                <a:prstClr val="black">
                  <a:alpha val="50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700" dirty="0">
                <a:cs typeface="Arial" pitchFamily="34" charset="0"/>
              </a:endParaRPr>
            </a:p>
          </p:txBody>
        </p:sp>
      </p:grpSp>
      <p:sp>
        <p:nvSpPr>
          <p:cNvPr id="28" name="Rectangle 27">
            <a:extLst>
              <a:ext uri="{FF2B5EF4-FFF2-40B4-BE49-F238E27FC236}">
                <a16:creationId xmlns="" xmlns:a16="http://schemas.microsoft.com/office/drawing/2014/main" id="{39DD1CB1-0F78-4A7E-A323-A3F692647AA8}"/>
              </a:ext>
            </a:extLst>
          </p:cNvPr>
          <p:cNvSpPr/>
          <p:nvPr/>
        </p:nvSpPr>
        <p:spPr>
          <a:xfrm>
            <a:off x="6352633" y="5512769"/>
            <a:ext cx="2088000" cy="432048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70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="" xmlns:a16="http://schemas.microsoft.com/office/drawing/2014/main" id="{74DECAC1-7F0E-411E-846E-372B5672405E}"/>
              </a:ext>
            </a:extLst>
          </p:cNvPr>
          <p:cNvSpPr txBox="1"/>
          <p:nvPr/>
        </p:nvSpPr>
        <p:spPr>
          <a:xfrm>
            <a:off x="6496533" y="5559516"/>
            <a:ext cx="1800200" cy="338554"/>
          </a:xfrm>
          <a:prstGeom prst="rect">
            <a:avLst/>
          </a:prstGeom>
          <a:noFill/>
        </p:spPr>
        <p:txBody>
          <a:bodyPr wrap="square" lIns="108000" rIns="108000" rtlCol="0">
            <a:spAutoFit/>
          </a:bodyPr>
          <a:lstStyle/>
          <a:p>
            <a:pPr algn="ctr"/>
            <a:r>
              <a:rPr lang="en-US" altLang="ko-KR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USER</a:t>
            </a:r>
            <a:endParaRPr lang="ko-KR" altLang="en-US" sz="1600" b="1" dirty="0">
              <a:solidFill>
                <a:schemeClr val="tx1">
                  <a:lumMod val="75000"/>
                  <a:lumOff val="25000"/>
                </a:schemeClr>
              </a:solidFill>
              <a:cs typeface="Arial" pitchFamily="34" charset="0"/>
            </a:endParaRPr>
          </a:p>
        </p:txBody>
      </p:sp>
      <p:grpSp>
        <p:nvGrpSpPr>
          <p:cNvPr id="8" name="Group 40">
            <a:extLst>
              <a:ext uri="{FF2B5EF4-FFF2-40B4-BE49-F238E27FC236}">
                <a16:creationId xmlns="" xmlns:a16="http://schemas.microsoft.com/office/drawing/2014/main" id="{A760981A-D28D-43FE-B84E-4FDA3FA64C78}"/>
              </a:ext>
            </a:extLst>
          </p:cNvPr>
          <p:cNvGrpSpPr/>
          <p:nvPr/>
        </p:nvGrpSpPr>
        <p:grpSpPr>
          <a:xfrm>
            <a:off x="3594844" y="1829476"/>
            <a:ext cx="2124760" cy="4115341"/>
            <a:chOff x="927844" y="1829475"/>
            <a:chExt cx="2124760" cy="4115341"/>
          </a:xfrm>
        </p:grpSpPr>
        <p:grpSp>
          <p:nvGrpSpPr>
            <p:cNvPr id="9" name="그룹 3">
              <a:extLst>
                <a:ext uri="{FF2B5EF4-FFF2-40B4-BE49-F238E27FC236}">
                  <a16:creationId xmlns="" xmlns:a16="http://schemas.microsoft.com/office/drawing/2014/main" id="{9B2B715F-BEBC-4C36-8BD9-461D838C64BB}"/>
                </a:ext>
              </a:extLst>
            </p:cNvPr>
            <p:cNvGrpSpPr/>
            <p:nvPr/>
          </p:nvGrpSpPr>
          <p:grpSpPr>
            <a:xfrm>
              <a:off x="927844" y="1829475"/>
              <a:ext cx="2124760" cy="3567853"/>
              <a:chOff x="927844" y="1829474"/>
              <a:chExt cx="2124760" cy="3567853"/>
            </a:xfrm>
          </p:grpSpPr>
          <p:sp>
            <p:nvSpPr>
              <p:cNvPr id="22" name="Isosceles Triangle 21">
                <a:extLst>
                  <a:ext uri="{FF2B5EF4-FFF2-40B4-BE49-F238E27FC236}">
                    <a16:creationId xmlns="" xmlns:a16="http://schemas.microsoft.com/office/drawing/2014/main" id="{F632CAC4-47C5-427E-B858-B8A3ACDBA77B}"/>
                  </a:ext>
                </a:extLst>
              </p:cNvPr>
              <p:cNvSpPr/>
              <p:nvPr/>
            </p:nvSpPr>
            <p:spPr>
              <a:xfrm rot="5400000">
                <a:off x="2187992" y="4532715"/>
                <a:ext cx="1029884" cy="699340"/>
              </a:xfrm>
              <a:prstGeom prst="triangl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2700" dirty="0"/>
              </a:p>
            </p:txBody>
          </p:sp>
          <p:sp>
            <p:nvSpPr>
              <p:cNvPr id="23" name="Rectangle 22">
                <a:extLst>
                  <a:ext uri="{FF2B5EF4-FFF2-40B4-BE49-F238E27FC236}">
                    <a16:creationId xmlns="" xmlns:a16="http://schemas.microsoft.com/office/drawing/2014/main" id="{ECC316DB-B01E-4E20-8072-74715A47F5A1}"/>
                  </a:ext>
                </a:extLst>
              </p:cNvPr>
              <p:cNvSpPr/>
              <p:nvPr/>
            </p:nvSpPr>
            <p:spPr>
              <a:xfrm>
                <a:off x="927844" y="1829474"/>
                <a:ext cx="2068189" cy="3024336"/>
              </a:xfrm>
              <a:prstGeom prst="rect">
                <a:avLst/>
              </a:prstGeom>
              <a:solidFill>
                <a:schemeClr val="bg1"/>
              </a:solidFill>
              <a:ln w="63500">
                <a:solidFill>
                  <a:schemeClr val="accent1"/>
                </a:solidFill>
              </a:ln>
              <a:effectLst>
                <a:innerShdw blurRad="127000" dist="127000" dir="13200000">
                  <a:prstClr val="black">
                    <a:alpha val="50000"/>
                  </a:prstClr>
                </a:inn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2700" dirty="0">
                  <a:cs typeface="Arial" pitchFamily="34" charset="0"/>
                </a:endParaRPr>
              </a:p>
            </p:txBody>
          </p:sp>
        </p:grpSp>
        <p:sp>
          <p:nvSpPr>
            <p:cNvPr id="27" name="Rectangle 26">
              <a:extLst>
                <a:ext uri="{FF2B5EF4-FFF2-40B4-BE49-F238E27FC236}">
                  <a16:creationId xmlns="" xmlns:a16="http://schemas.microsoft.com/office/drawing/2014/main" id="{B8531E0E-2AFD-4F4D-96BC-595FCD4897EE}"/>
                </a:ext>
              </a:extLst>
            </p:cNvPr>
            <p:cNvSpPr/>
            <p:nvPr/>
          </p:nvSpPr>
          <p:spPr>
            <a:xfrm>
              <a:off x="936699" y="5512768"/>
              <a:ext cx="2088000" cy="432048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70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31" name="TextBox 30">
              <a:extLst>
                <a:ext uri="{FF2B5EF4-FFF2-40B4-BE49-F238E27FC236}">
                  <a16:creationId xmlns="" xmlns:a16="http://schemas.microsoft.com/office/drawing/2014/main" id="{67055A80-14F8-4CD8-A356-D481BC7480B4}"/>
                </a:ext>
              </a:extLst>
            </p:cNvPr>
            <p:cNvSpPr txBox="1"/>
            <p:nvPr/>
          </p:nvSpPr>
          <p:spPr>
            <a:xfrm>
              <a:off x="1080599" y="5559515"/>
              <a:ext cx="1800200" cy="338554"/>
            </a:xfrm>
            <a:prstGeom prst="rect">
              <a:avLst/>
            </a:prstGeom>
            <a:noFill/>
          </p:spPr>
          <p:txBody>
            <a:bodyPr wrap="square" lIns="108000" rIns="108000" rtlCol="0">
              <a:spAutoFit/>
            </a:bodyPr>
            <a:lstStyle/>
            <a:p>
              <a:pPr algn="ctr"/>
              <a:r>
                <a:rPr lang="en-US" altLang="ko-KR" sz="16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  <a:t>KEAMANAN</a:t>
              </a:r>
              <a:endParaRPr lang="ko-KR" alt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endParaRPr>
            </a:p>
          </p:txBody>
        </p:sp>
      </p:grpSp>
      <p:sp>
        <p:nvSpPr>
          <p:cNvPr id="49" name="Graphic 11">
            <a:extLst>
              <a:ext uri="{FF2B5EF4-FFF2-40B4-BE49-F238E27FC236}">
                <a16:creationId xmlns="" xmlns:a16="http://schemas.microsoft.com/office/drawing/2014/main" id="{03CCF36E-D6A1-49C3-AF4D-17AD7C746CBB}"/>
              </a:ext>
            </a:extLst>
          </p:cNvPr>
          <p:cNvSpPr/>
          <p:nvPr/>
        </p:nvSpPr>
        <p:spPr>
          <a:xfrm>
            <a:off x="6982518" y="3167326"/>
            <a:ext cx="555130" cy="1431810"/>
          </a:xfrm>
          <a:custGeom>
            <a:avLst/>
            <a:gdLst>
              <a:gd name="connsiteX0" fmla="*/ 1732970 w 1743075"/>
              <a:gd name="connsiteY0" fmla="*/ 1329937 h 4495800"/>
              <a:gd name="connsiteX1" fmla="*/ 1726302 w 1743075"/>
              <a:gd name="connsiteY1" fmla="*/ 1291837 h 4495800"/>
              <a:gd name="connsiteX2" fmla="*/ 1698680 w 1743075"/>
              <a:gd name="connsiteY2" fmla="*/ 1230877 h 4495800"/>
              <a:gd name="connsiteX3" fmla="*/ 1666295 w 1743075"/>
              <a:gd name="connsiteY3" fmla="*/ 1177537 h 4495800"/>
              <a:gd name="connsiteX4" fmla="*/ 1643435 w 1743075"/>
              <a:gd name="connsiteY4" fmla="*/ 1128959 h 4495800"/>
              <a:gd name="connsiteX5" fmla="*/ 1636767 w 1743075"/>
              <a:gd name="connsiteY5" fmla="*/ 1117529 h 4495800"/>
              <a:gd name="connsiteX6" fmla="*/ 1595810 w 1743075"/>
              <a:gd name="connsiteY6" fmla="*/ 1023232 h 4495800"/>
              <a:gd name="connsiteX7" fmla="*/ 1586285 w 1743075"/>
              <a:gd name="connsiteY7" fmla="*/ 1007039 h 4495800"/>
              <a:gd name="connsiteX8" fmla="*/ 1573902 w 1743075"/>
              <a:gd name="connsiteY8" fmla="*/ 972749 h 4495800"/>
              <a:gd name="connsiteX9" fmla="*/ 1560567 w 1743075"/>
              <a:gd name="connsiteY9" fmla="*/ 923219 h 4495800"/>
              <a:gd name="connsiteX10" fmla="*/ 1550090 w 1743075"/>
              <a:gd name="connsiteY10" fmla="*/ 880357 h 4495800"/>
              <a:gd name="connsiteX11" fmla="*/ 1547232 w 1743075"/>
              <a:gd name="connsiteY11" fmla="*/ 863212 h 4495800"/>
              <a:gd name="connsiteX12" fmla="*/ 1508180 w 1743075"/>
              <a:gd name="connsiteY12" fmla="*/ 747959 h 4495800"/>
              <a:gd name="connsiteX13" fmla="*/ 1468175 w 1743075"/>
              <a:gd name="connsiteY13" fmla="*/ 705097 h 4495800"/>
              <a:gd name="connsiteX14" fmla="*/ 1428170 w 1743075"/>
              <a:gd name="connsiteY14" fmla="*/ 685094 h 4495800"/>
              <a:gd name="connsiteX15" fmla="*/ 1380545 w 1743075"/>
              <a:gd name="connsiteY15" fmla="*/ 669854 h 4495800"/>
              <a:gd name="connsiteX16" fmla="*/ 1303392 w 1743075"/>
              <a:gd name="connsiteY16" fmla="*/ 650804 h 4495800"/>
              <a:gd name="connsiteX17" fmla="*/ 1301487 w 1743075"/>
              <a:gd name="connsiteY17" fmla="*/ 649852 h 4495800"/>
              <a:gd name="connsiteX18" fmla="*/ 1223382 w 1743075"/>
              <a:gd name="connsiteY18" fmla="*/ 629849 h 4495800"/>
              <a:gd name="connsiteX19" fmla="*/ 1160517 w 1743075"/>
              <a:gd name="connsiteY19" fmla="*/ 610799 h 4495800"/>
              <a:gd name="connsiteX20" fmla="*/ 1101462 w 1743075"/>
              <a:gd name="connsiteY20" fmla="*/ 511739 h 4495800"/>
              <a:gd name="connsiteX21" fmla="*/ 1106225 w 1743075"/>
              <a:gd name="connsiteY21" fmla="*/ 422204 h 4495800"/>
              <a:gd name="connsiteX22" fmla="*/ 1119560 w 1743075"/>
              <a:gd name="connsiteY22" fmla="*/ 398392 h 4495800"/>
              <a:gd name="connsiteX23" fmla="*/ 1150040 w 1743075"/>
              <a:gd name="connsiteY23" fmla="*/ 352672 h 4495800"/>
              <a:gd name="connsiteX24" fmla="*/ 1155755 w 1743075"/>
              <a:gd name="connsiteY24" fmla="*/ 326002 h 4495800"/>
              <a:gd name="connsiteX25" fmla="*/ 1153850 w 1743075"/>
              <a:gd name="connsiteY25" fmla="*/ 263137 h 4495800"/>
              <a:gd name="connsiteX26" fmla="*/ 1135752 w 1743075"/>
              <a:gd name="connsiteY26" fmla="*/ 252659 h 4495800"/>
              <a:gd name="connsiteX27" fmla="*/ 1124322 w 1743075"/>
              <a:gd name="connsiteY27" fmla="*/ 241229 h 4495800"/>
              <a:gd name="connsiteX28" fmla="*/ 1125275 w 1743075"/>
              <a:gd name="connsiteY28" fmla="*/ 203129 h 4495800"/>
              <a:gd name="connsiteX29" fmla="*/ 1124322 w 1743075"/>
              <a:gd name="connsiteY29" fmla="*/ 182174 h 4495800"/>
              <a:gd name="connsiteX30" fmla="*/ 1074792 w 1743075"/>
              <a:gd name="connsiteY30" fmla="*/ 56444 h 4495800"/>
              <a:gd name="connsiteX31" fmla="*/ 1048122 w 1743075"/>
              <a:gd name="connsiteY31" fmla="*/ 37394 h 4495800"/>
              <a:gd name="connsiteX32" fmla="*/ 1005260 w 1743075"/>
              <a:gd name="connsiteY32" fmla="*/ 20249 h 4495800"/>
              <a:gd name="connsiteX33" fmla="*/ 873815 w 1743075"/>
              <a:gd name="connsiteY33" fmla="*/ 24059 h 4495800"/>
              <a:gd name="connsiteX34" fmla="*/ 782375 w 1743075"/>
              <a:gd name="connsiteY34" fmla="*/ 104069 h 4495800"/>
              <a:gd name="connsiteX35" fmla="*/ 775707 w 1743075"/>
              <a:gd name="connsiteY35" fmla="*/ 117404 h 4495800"/>
              <a:gd name="connsiteX36" fmla="*/ 769040 w 1743075"/>
              <a:gd name="connsiteY36" fmla="*/ 159314 h 4495800"/>
              <a:gd name="connsiteX37" fmla="*/ 759515 w 1743075"/>
              <a:gd name="connsiteY37" fmla="*/ 293617 h 4495800"/>
              <a:gd name="connsiteX38" fmla="*/ 759515 w 1743075"/>
              <a:gd name="connsiteY38" fmla="*/ 297427 h 4495800"/>
              <a:gd name="connsiteX39" fmla="*/ 762372 w 1743075"/>
              <a:gd name="connsiteY39" fmla="*/ 370769 h 4495800"/>
              <a:gd name="connsiteX40" fmla="*/ 786185 w 1743075"/>
              <a:gd name="connsiteY40" fmla="*/ 424109 h 4495800"/>
              <a:gd name="connsiteX41" fmla="*/ 799520 w 1743075"/>
              <a:gd name="connsiteY41" fmla="*/ 446969 h 4495800"/>
              <a:gd name="connsiteX42" fmla="*/ 811902 w 1743075"/>
              <a:gd name="connsiteY42" fmla="*/ 517454 h 4495800"/>
              <a:gd name="connsiteX43" fmla="*/ 806187 w 1743075"/>
              <a:gd name="connsiteY43" fmla="*/ 540314 h 4495800"/>
              <a:gd name="connsiteX44" fmla="*/ 729035 w 1743075"/>
              <a:gd name="connsiteY44" fmla="*/ 576509 h 4495800"/>
              <a:gd name="connsiteX45" fmla="*/ 717605 w 1743075"/>
              <a:gd name="connsiteY45" fmla="*/ 579367 h 4495800"/>
              <a:gd name="connsiteX46" fmla="*/ 546155 w 1743075"/>
              <a:gd name="connsiteY46" fmla="*/ 617467 h 4495800"/>
              <a:gd name="connsiteX47" fmla="*/ 469955 w 1743075"/>
              <a:gd name="connsiteY47" fmla="*/ 627944 h 4495800"/>
              <a:gd name="connsiteX48" fmla="*/ 396612 w 1743075"/>
              <a:gd name="connsiteY48" fmla="*/ 646994 h 4495800"/>
              <a:gd name="connsiteX49" fmla="*/ 348035 w 1743075"/>
              <a:gd name="connsiteY49" fmla="*/ 688904 h 4495800"/>
              <a:gd name="connsiteX50" fmla="*/ 311840 w 1743075"/>
              <a:gd name="connsiteY50" fmla="*/ 807014 h 4495800"/>
              <a:gd name="connsiteX51" fmla="*/ 287075 w 1743075"/>
              <a:gd name="connsiteY51" fmla="*/ 848924 h 4495800"/>
              <a:gd name="connsiteX52" fmla="*/ 246117 w 1743075"/>
              <a:gd name="connsiteY52" fmla="*/ 896549 h 4495800"/>
              <a:gd name="connsiteX53" fmla="*/ 233735 w 1743075"/>
              <a:gd name="connsiteY53" fmla="*/ 922267 h 4495800"/>
              <a:gd name="connsiteX54" fmla="*/ 164202 w 1743075"/>
              <a:gd name="connsiteY54" fmla="*/ 1008944 h 4495800"/>
              <a:gd name="connsiteX55" fmla="*/ 152772 w 1743075"/>
              <a:gd name="connsiteY55" fmla="*/ 1024184 h 4495800"/>
              <a:gd name="connsiteX56" fmla="*/ 81335 w 1743075"/>
              <a:gd name="connsiteY56" fmla="*/ 1130864 h 4495800"/>
              <a:gd name="connsiteX57" fmla="*/ 10850 w 1743075"/>
              <a:gd name="connsiteY57" fmla="*/ 1280407 h 4495800"/>
              <a:gd name="connsiteX58" fmla="*/ 27042 w 1743075"/>
              <a:gd name="connsiteY58" fmla="*/ 1395659 h 4495800"/>
              <a:gd name="connsiteX59" fmla="*/ 61332 w 1743075"/>
              <a:gd name="connsiteY59" fmla="*/ 1453762 h 4495800"/>
              <a:gd name="connsiteX60" fmla="*/ 74667 w 1743075"/>
              <a:gd name="connsiteY60" fmla="*/ 1474717 h 4495800"/>
              <a:gd name="connsiteX61" fmla="*/ 97527 w 1743075"/>
              <a:gd name="connsiteY61" fmla="*/ 1509007 h 4495800"/>
              <a:gd name="connsiteX62" fmla="*/ 108005 w 1743075"/>
              <a:gd name="connsiteY62" fmla="*/ 1522342 h 4495800"/>
              <a:gd name="connsiteX63" fmla="*/ 162297 w 1743075"/>
              <a:gd name="connsiteY63" fmla="*/ 1602352 h 4495800"/>
              <a:gd name="connsiteX64" fmla="*/ 201350 w 1743075"/>
              <a:gd name="connsiteY64" fmla="*/ 1654739 h 4495800"/>
              <a:gd name="connsiteX65" fmla="*/ 288980 w 1743075"/>
              <a:gd name="connsiteY65" fmla="*/ 1768087 h 4495800"/>
              <a:gd name="connsiteX66" fmla="*/ 300410 w 1743075"/>
              <a:gd name="connsiteY66" fmla="*/ 1810949 h 4495800"/>
              <a:gd name="connsiteX67" fmla="*/ 288027 w 1743075"/>
              <a:gd name="connsiteY67" fmla="*/ 1909057 h 4495800"/>
              <a:gd name="connsiteX68" fmla="*/ 279455 w 1743075"/>
              <a:gd name="connsiteY68" fmla="*/ 2064314 h 4495800"/>
              <a:gd name="connsiteX69" fmla="*/ 277550 w 1743075"/>
              <a:gd name="connsiteY69" fmla="*/ 2079554 h 4495800"/>
              <a:gd name="connsiteX70" fmla="*/ 266120 w 1743075"/>
              <a:gd name="connsiteY70" fmla="*/ 2192902 h 4495800"/>
              <a:gd name="connsiteX71" fmla="*/ 265167 w 1743075"/>
              <a:gd name="connsiteY71" fmla="*/ 2338634 h 4495800"/>
              <a:gd name="connsiteX72" fmla="*/ 251832 w 1743075"/>
              <a:gd name="connsiteY72" fmla="*/ 2463412 h 4495800"/>
              <a:gd name="connsiteX73" fmla="*/ 268025 w 1743075"/>
              <a:gd name="connsiteY73" fmla="*/ 2496749 h 4495800"/>
              <a:gd name="connsiteX74" fmla="*/ 358512 w 1743075"/>
              <a:gd name="connsiteY74" fmla="*/ 2521514 h 4495800"/>
              <a:gd name="connsiteX75" fmla="*/ 377562 w 1743075"/>
              <a:gd name="connsiteY75" fmla="*/ 2525324 h 4495800"/>
              <a:gd name="connsiteX76" fmla="*/ 467097 w 1743075"/>
              <a:gd name="connsiteY76" fmla="*/ 2499607 h 4495800"/>
              <a:gd name="connsiteX77" fmla="*/ 496625 w 1743075"/>
              <a:gd name="connsiteY77" fmla="*/ 2472937 h 4495800"/>
              <a:gd name="connsiteX78" fmla="*/ 498530 w 1743075"/>
              <a:gd name="connsiteY78" fmla="*/ 2500559 h 4495800"/>
              <a:gd name="connsiteX79" fmla="*/ 497577 w 1743075"/>
              <a:gd name="connsiteY79" fmla="*/ 2653912 h 4495800"/>
              <a:gd name="connsiteX80" fmla="*/ 491862 w 1743075"/>
              <a:gd name="connsiteY80" fmla="*/ 2752972 h 4495800"/>
              <a:gd name="connsiteX81" fmla="*/ 489957 w 1743075"/>
              <a:gd name="connsiteY81" fmla="*/ 2915849 h 4495800"/>
              <a:gd name="connsiteX82" fmla="*/ 483290 w 1743075"/>
              <a:gd name="connsiteY82" fmla="*/ 3303517 h 4495800"/>
              <a:gd name="connsiteX83" fmla="*/ 483290 w 1743075"/>
              <a:gd name="connsiteY83" fmla="*/ 3423532 h 4495800"/>
              <a:gd name="connsiteX84" fmla="*/ 489005 w 1743075"/>
              <a:gd name="connsiteY84" fmla="*/ 3666419 h 4495800"/>
              <a:gd name="connsiteX85" fmla="*/ 497577 w 1743075"/>
              <a:gd name="connsiteY85" fmla="*/ 3953122 h 4495800"/>
              <a:gd name="connsiteX86" fmla="*/ 498530 w 1743075"/>
              <a:gd name="connsiteY86" fmla="*/ 3964552 h 4495800"/>
              <a:gd name="connsiteX87" fmla="*/ 505197 w 1743075"/>
              <a:gd name="connsiteY87" fmla="*/ 4019797 h 4495800"/>
              <a:gd name="connsiteX88" fmla="*/ 507102 w 1743075"/>
              <a:gd name="connsiteY88" fmla="*/ 4083614 h 4495800"/>
              <a:gd name="connsiteX89" fmla="*/ 513770 w 1743075"/>
              <a:gd name="connsiteY89" fmla="*/ 4111237 h 4495800"/>
              <a:gd name="connsiteX90" fmla="*/ 539487 w 1743075"/>
              <a:gd name="connsiteY90" fmla="*/ 4176959 h 4495800"/>
              <a:gd name="connsiteX91" fmla="*/ 562347 w 1743075"/>
              <a:gd name="connsiteY91" fmla="*/ 4278877 h 4495800"/>
              <a:gd name="connsiteX92" fmla="*/ 561395 w 1743075"/>
              <a:gd name="connsiteY92" fmla="*/ 4299832 h 4495800"/>
              <a:gd name="connsiteX93" fmla="*/ 551870 w 1743075"/>
              <a:gd name="connsiteY93" fmla="*/ 4354124 h 4495800"/>
              <a:gd name="connsiteX94" fmla="*/ 583302 w 1743075"/>
              <a:gd name="connsiteY94" fmla="*/ 4404607 h 4495800"/>
              <a:gd name="connsiteX95" fmla="*/ 600447 w 1743075"/>
              <a:gd name="connsiteY95" fmla="*/ 4423657 h 4495800"/>
              <a:gd name="connsiteX96" fmla="*/ 628070 w 1743075"/>
              <a:gd name="connsiteY96" fmla="*/ 4459852 h 4495800"/>
              <a:gd name="connsiteX97" fmla="*/ 690935 w 1743075"/>
              <a:gd name="connsiteY97" fmla="*/ 4483664 h 4495800"/>
              <a:gd name="connsiteX98" fmla="*/ 762372 w 1743075"/>
              <a:gd name="connsiteY98" fmla="*/ 4492237 h 4495800"/>
              <a:gd name="connsiteX99" fmla="*/ 898580 w 1743075"/>
              <a:gd name="connsiteY99" fmla="*/ 4493189 h 4495800"/>
              <a:gd name="connsiteX100" fmla="*/ 913820 w 1743075"/>
              <a:gd name="connsiteY100" fmla="*/ 4464614 h 4495800"/>
              <a:gd name="connsiteX101" fmla="*/ 901437 w 1743075"/>
              <a:gd name="connsiteY101" fmla="*/ 4434134 h 4495800"/>
              <a:gd name="connsiteX102" fmla="*/ 869052 w 1743075"/>
              <a:gd name="connsiteY102" fmla="*/ 4351267 h 4495800"/>
              <a:gd name="connsiteX103" fmla="*/ 859527 w 1743075"/>
              <a:gd name="connsiteY103" fmla="*/ 4338884 h 4495800"/>
              <a:gd name="connsiteX104" fmla="*/ 811902 w 1743075"/>
              <a:gd name="connsiteY104" fmla="*/ 4263637 h 4495800"/>
              <a:gd name="connsiteX105" fmla="*/ 812855 w 1743075"/>
              <a:gd name="connsiteY105" fmla="*/ 4206487 h 4495800"/>
              <a:gd name="connsiteX106" fmla="*/ 823332 w 1743075"/>
              <a:gd name="connsiteY106" fmla="*/ 4165529 h 4495800"/>
              <a:gd name="connsiteX107" fmla="*/ 841430 w 1743075"/>
              <a:gd name="connsiteY107" fmla="*/ 4050277 h 4495800"/>
              <a:gd name="connsiteX108" fmla="*/ 849050 w 1743075"/>
              <a:gd name="connsiteY108" fmla="*/ 3982649 h 4495800"/>
              <a:gd name="connsiteX109" fmla="*/ 837620 w 1743075"/>
              <a:gd name="connsiteY109" fmla="*/ 3734999 h 4495800"/>
              <a:gd name="connsiteX110" fmla="*/ 826190 w 1743075"/>
              <a:gd name="connsiteY110" fmla="*/ 3662609 h 4495800"/>
              <a:gd name="connsiteX111" fmla="*/ 807140 w 1743075"/>
              <a:gd name="connsiteY111" fmla="*/ 3601649 h 4495800"/>
              <a:gd name="connsiteX112" fmla="*/ 789995 w 1743075"/>
              <a:gd name="connsiteY112" fmla="*/ 3537832 h 4495800"/>
              <a:gd name="connsiteX113" fmla="*/ 786185 w 1743075"/>
              <a:gd name="connsiteY113" fmla="*/ 3494017 h 4495800"/>
              <a:gd name="connsiteX114" fmla="*/ 790947 w 1743075"/>
              <a:gd name="connsiteY114" fmla="*/ 3454012 h 4495800"/>
              <a:gd name="connsiteX115" fmla="*/ 798567 w 1743075"/>
              <a:gd name="connsiteY115" fmla="*/ 3393052 h 4495800"/>
              <a:gd name="connsiteX116" fmla="*/ 799520 w 1743075"/>
              <a:gd name="connsiteY116" fmla="*/ 3274942 h 4495800"/>
              <a:gd name="connsiteX117" fmla="*/ 803330 w 1743075"/>
              <a:gd name="connsiteY117" fmla="*/ 3260654 h 4495800"/>
              <a:gd name="connsiteX118" fmla="*/ 819522 w 1743075"/>
              <a:gd name="connsiteY118" fmla="*/ 3223507 h 4495800"/>
              <a:gd name="connsiteX119" fmla="*/ 825237 w 1743075"/>
              <a:gd name="connsiteY119" fmla="*/ 3178739 h 4495800"/>
              <a:gd name="connsiteX120" fmla="*/ 903342 w 1743075"/>
              <a:gd name="connsiteY120" fmla="*/ 2818694 h 4495800"/>
              <a:gd name="connsiteX121" fmla="*/ 921440 w 1743075"/>
              <a:gd name="connsiteY121" fmla="*/ 2752019 h 4495800"/>
              <a:gd name="connsiteX122" fmla="*/ 927155 w 1743075"/>
              <a:gd name="connsiteY122" fmla="*/ 2753924 h 4495800"/>
              <a:gd name="connsiteX123" fmla="*/ 917630 w 1743075"/>
              <a:gd name="connsiteY123" fmla="*/ 2838697 h 4495800"/>
              <a:gd name="connsiteX124" fmla="*/ 899532 w 1743075"/>
              <a:gd name="connsiteY124" fmla="*/ 3093967 h 4495800"/>
              <a:gd name="connsiteX125" fmla="*/ 902390 w 1743075"/>
              <a:gd name="connsiteY125" fmla="*/ 3124447 h 4495800"/>
              <a:gd name="connsiteX126" fmla="*/ 893817 w 1743075"/>
              <a:gd name="connsiteY126" fmla="*/ 3190169 h 4495800"/>
              <a:gd name="connsiteX127" fmla="*/ 894770 w 1743075"/>
              <a:gd name="connsiteY127" fmla="*/ 3224459 h 4495800"/>
              <a:gd name="connsiteX128" fmla="*/ 905247 w 1743075"/>
              <a:gd name="connsiteY128" fmla="*/ 3328282 h 4495800"/>
              <a:gd name="connsiteX129" fmla="*/ 905247 w 1743075"/>
              <a:gd name="connsiteY129" fmla="*/ 3412102 h 4495800"/>
              <a:gd name="connsiteX130" fmla="*/ 913820 w 1743075"/>
              <a:gd name="connsiteY130" fmla="*/ 3633082 h 4495800"/>
              <a:gd name="connsiteX131" fmla="*/ 919535 w 1743075"/>
              <a:gd name="connsiteY131" fmla="*/ 3730237 h 4495800"/>
              <a:gd name="connsiteX132" fmla="*/ 916677 w 1743075"/>
              <a:gd name="connsiteY132" fmla="*/ 3760717 h 4495800"/>
              <a:gd name="connsiteX133" fmla="*/ 896675 w 1743075"/>
              <a:gd name="connsiteY133" fmla="*/ 3862634 h 4495800"/>
              <a:gd name="connsiteX134" fmla="*/ 883340 w 1743075"/>
              <a:gd name="connsiteY134" fmla="*/ 4033132 h 4495800"/>
              <a:gd name="connsiteX135" fmla="*/ 855717 w 1743075"/>
              <a:gd name="connsiteY135" fmla="*/ 4201724 h 4495800"/>
              <a:gd name="connsiteX136" fmla="*/ 880482 w 1743075"/>
              <a:gd name="connsiteY136" fmla="*/ 4262684 h 4495800"/>
              <a:gd name="connsiteX137" fmla="*/ 936680 w 1743075"/>
              <a:gd name="connsiteY137" fmla="*/ 4289354 h 4495800"/>
              <a:gd name="connsiteX138" fmla="*/ 979542 w 1743075"/>
              <a:gd name="connsiteY138" fmla="*/ 4295069 h 4495800"/>
              <a:gd name="connsiteX139" fmla="*/ 1015737 w 1743075"/>
              <a:gd name="connsiteY139" fmla="*/ 4306499 h 4495800"/>
              <a:gd name="connsiteX140" fmla="*/ 1038597 w 1743075"/>
              <a:gd name="connsiteY140" fmla="*/ 4339837 h 4495800"/>
              <a:gd name="connsiteX141" fmla="*/ 1059552 w 1743075"/>
              <a:gd name="connsiteY141" fmla="*/ 4361744 h 4495800"/>
              <a:gd name="connsiteX142" fmla="*/ 1170995 w 1743075"/>
              <a:gd name="connsiteY142" fmla="*/ 4391272 h 4495800"/>
              <a:gd name="connsiteX143" fmla="*/ 1283390 w 1743075"/>
              <a:gd name="connsiteY143" fmla="*/ 4390319 h 4495800"/>
              <a:gd name="connsiteX144" fmla="*/ 1321490 w 1743075"/>
              <a:gd name="connsiteY144" fmla="*/ 4385557 h 4495800"/>
              <a:gd name="connsiteX145" fmla="*/ 1333872 w 1743075"/>
              <a:gd name="connsiteY145" fmla="*/ 4358887 h 4495800"/>
              <a:gd name="connsiteX146" fmla="*/ 1317680 w 1743075"/>
              <a:gd name="connsiteY146" fmla="*/ 4324597 h 4495800"/>
              <a:gd name="connsiteX147" fmla="*/ 1297677 w 1743075"/>
              <a:gd name="connsiteY147" fmla="*/ 4296974 h 4495800"/>
              <a:gd name="connsiteX148" fmla="*/ 1258625 w 1743075"/>
              <a:gd name="connsiteY148" fmla="*/ 4268399 h 4495800"/>
              <a:gd name="connsiteX149" fmla="*/ 1196712 w 1743075"/>
              <a:gd name="connsiteY149" fmla="*/ 4203629 h 4495800"/>
              <a:gd name="connsiteX150" fmla="*/ 1195760 w 1743075"/>
              <a:gd name="connsiteY150" fmla="*/ 4201724 h 4495800"/>
              <a:gd name="connsiteX151" fmla="*/ 1173852 w 1743075"/>
              <a:gd name="connsiteY151" fmla="*/ 4137907 h 4495800"/>
              <a:gd name="connsiteX152" fmla="*/ 1159565 w 1743075"/>
              <a:gd name="connsiteY152" fmla="*/ 4061707 h 4495800"/>
              <a:gd name="connsiteX153" fmla="*/ 1165280 w 1743075"/>
              <a:gd name="connsiteY153" fmla="*/ 4002652 h 4495800"/>
              <a:gd name="connsiteX154" fmla="*/ 1172900 w 1743075"/>
              <a:gd name="connsiteY154" fmla="*/ 3971219 h 4495800"/>
              <a:gd name="connsiteX155" fmla="*/ 1185282 w 1743075"/>
              <a:gd name="connsiteY155" fmla="*/ 3875017 h 4495800"/>
              <a:gd name="connsiteX156" fmla="*/ 1194807 w 1743075"/>
              <a:gd name="connsiteY156" fmla="*/ 3808342 h 4495800"/>
              <a:gd name="connsiteX157" fmla="*/ 1204332 w 1743075"/>
              <a:gd name="connsiteY157" fmla="*/ 3674992 h 4495800"/>
              <a:gd name="connsiteX158" fmla="*/ 1206237 w 1743075"/>
              <a:gd name="connsiteY158" fmla="*/ 3661657 h 4495800"/>
              <a:gd name="connsiteX159" fmla="*/ 1226240 w 1743075"/>
              <a:gd name="connsiteY159" fmla="*/ 3498779 h 4495800"/>
              <a:gd name="connsiteX160" fmla="*/ 1231002 w 1743075"/>
              <a:gd name="connsiteY160" fmla="*/ 3436867 h 4495800"/>
              <a:gd name="connsiteX161" fmla="*/ 1230050 w 1743075"/>
              <a:gd name="connsiteY161" fmla="*/ 3412102 h 4495800"/>
              <a:gd name="connsiteX162" fmla="*/ 1225287 w 1743075"/>
              <a:gd name="connsiteY162" fmla="*/ 3374002 h 4495800"/>
              <a:gd name="connsiteX163" fmla="*/ 1225287 w 1743075"/>
              <a:gd name="connsiteY163" fmla="*/ 3293992 h 4495800"/>
              <a:gd name="connsiteX164" fmla="*/ 1231955 w 1743075"/>
              <a:gd name="connsiteY164" fmla="*/ 3253987 h 4495800"/>
              <a:gd name="connsiteX165" fmla="*/ 1239575 w 1743075"/>
              <a:gd name="connsiteY165" fmla="*/ 3222554 h 4495800"/>
              <a:gd name="connsiteX166" fmla="*/ 1248147 w 1743075"/>
              <a:gd name="connsiteY166" fmla="*/ 3120637 h 4495800"/>
              <a:gd name="connsiteX167" fmla="*/ 1250052 w 1743075"/>
              <a:gd name="connsiteY167" fmla="*/ 3109207 h 4495800"/>
              <a:gd name="connsiteX168" fmla="*/ 1263387 w 1743075"/>
              <a:gd name="connsiteY168" fmla="*/ 3019672 h 4495800"/>
              <a:gd name="connsiteX169" fmla="*/ 1274817 w 1743075"/>
              <a:gd name="connsiteY169" fmla="*/ 2951092 h 4495800"/>
              <a:gd name="connsiteX170" fmla="*/ 1287200 w 1743075"/>
              <a:gd name="connsiteY170" fmla="*/ 2882512 h 4495800"/>
              <a:gd name="connsiteX171" fmla="*/ 1289105 w 1743075"/>
              <a:gd name="connsiteY171" fmla="*/ 2861557 h 4495800"/>
              <a:gd name="connsiteX172" fmla="*/ 1302440 w 1743075"/>
              <a:gd name="connsiteY172" fmla="*/ 2764402 h 4495800"/>
              <a:gd name="connsiteX173" fmla="*/ 1308155 w 1743075"/>
              <a:gd name="connsiteY173" fmla="*/ 2728207 h 4495800"/>
              <a:gd name="connsiteX174" fmla="*/ 1317680 w 1743075"/>
              <a:gd name="connsiteY174" fmla="*/ 2672962 h 4495800"/>
              <a:gd name="connsiteX175" fmla="*/ 1328157 w 1743075"/>
              <a:gd name="connsiteY175" fmla="*/ 2557709 h 4495800"/>
              <a:gd name="connsiteX176" fmla="*/ 1329110 w 1743075"/>
              <a:gd name="connsiteY176" fmla="*/ 2553899 h 4495800"/>
              <a:gd name="connsiteX177" fmla="*/ 1348160 w 1743075"/>
              <a:gd name="connsiteY177" fmla="*/ 2535802 h 4495800"/>
              <a:gd name="connsiteX178" fmla="*/ 1445315 w 1743075"/>
              <a:gd name="connsiteY178" fmla="*/ 2494844 h 4495800"/>
              <a:gd name="connsiteX179" fmla="*/ 1474842 w 1743075"/>
              <a:gd name="connsiteY179" fmla="*/ 2438647 h 4495800"/>
              <a:gd name="connsiteX180" fmla="*/ 1470080 w 1743075"/>
              <a:gd name="connsiteY180" fmla="*/ 2388164 h 4495800"/>
              <a:gd name="connsiteX181" fmla="*/ 1468175 w 1743075"/>
              <a:gd name="connsiteY181" fmla="*/ 2351017 h 4495800"/>
              <a:gd name="connsiteX182" fmla="*/ 1460555 w 1743075"/>
              <a:gd name="connsiteY182" fmla="*/ 1997639 h 4495800"/>
              <a:gd name="connsiteX183" fmla="*/ 1460555 w 1743075"/>
              <a:gd name="connsiteY183" fmla="*/ 1976684 h 4495800"/>
              <a:gd name="connsiteX184" fmla="*/ 1471985 w 1743075"/>
              <a:gd name="connsiteY184" fmla="*/ 1951919 h 4495800"/>
              <a:gd name="connsiteX185" fmla="*/ 1495797 w 1743075"/>
              <a:gd name="connsiteY185" fmla="*/ 1918582 h 4495800"/>
              <a:gd name="connsiteX186" fmla="*/ 1513895 w 1743075"/>
              <a:gd name="connsiteY186" fmla="*/ 1884292 h 4495800"/>
              <a:gd name="connsiteX187" fmla="*/ 1573902 w 1743075"/>
              <a:gd name="connsiteY187" fmla="*/ 1793804 h 4495800"/>
              <a:gd name="connsiteX188" fmla="*/ 1599620 w 1743075"/>
              <a:gd name="connsiteY188" fmla="*/ 1739512 h 4495800"/>
              <a:gd name="connsiteX189" fmla="*/ 1692965 w 1743075"/>
              <a:gd name="connsiteY189" fmla="*/ 1561394 h 4495800"/>
              <a:gd name="connsiteX190" fmla="*/ 1714872 w 1743075"/>
              <a:gd name="connsiteY190" fmla="*/ 1491862 h 4495800"/>
              <a:gd name="connsiteX191" fmla="*/ 1729160 w 1743075"/>
              <a:gd name="connsiteY191" fmla="*/ 1408042 h 4495800"/>
              <a:gd name="connsiteX192" fmla="*/ 1732970 w 1743075"/>
              <a:gd name="connsiteY192" fmla="*/ 1329937 h 4495800"/>
              <a:gd name="connsiteX193" fmla="*/ 373752 w 1743075"/>
              <a:gd name="connsiteY193" fmla="*/ 1452809 h 4495800"/>
              <a:gd name="connsiteX194" fmla="*/ 367085 w 1743075"/>
              <a:gd name="connsiteY194" fmla="*/ 1460429 h 4495800"/>
              <a:gd name="connsiteX195" fmla="*/ 361370 w 1743075"/>
              <a:gd name="connsiteY195" fmla="*/ 1453762 h 4495800"/>
              <a:gd name="connsiteX196" fmla="*/ 319460 w 1743075"/>
              <a:gd name="connsiteY196" fmla="*/ 1365179 h 4495800"/>
              <a:gd name="connsiteX197" fmla="*/ 310887 w 1743075"/>
              <a:gd name="connsiteY197" fmla="*/ 1351844 h 4495800"/>
              <a:gd name="connsiteX198" fmla="*/ 311840 w 1743075"/>
              <a:gd name="connsiteY198" fmla="*/ 1334699 h 4495800"/>
              <a:gd name="connsiteX199" fmla="*/ 343272 w 1743075"/>
              <a:gd name="connsiteY199" fmla="*/ 1297552 h 4495800"/>
              <a:gd name="connsiteX200" fmla="*/ 367085 w 1743075"/>
              <a:gd name="connsiteY200" fmla="*/ 1301362 h 4495800"/>
              <a:gd name="connsiteX201" fmla="*/ 377562 w 1743075"/>
              <a:gd name="connsiteY201" fmla="*/ 1348034 h 4495800"/>
              <a:gd name="connsiteX202" fmla="*/ 377562 w 1743075"/>
              <a:gd name="connsiteY202" fmla="*/ 1381372 h 4495800"/>
              <a:gd name="connsiteX203" fmla="*/ 381372 w 1743075"/>
              <a:gd name="connsiteY203" fmla="*/ 1381372 h 4495800"/>
              <a:gd name="connsiteX204" fmla="*/ 373752 w 1743075"/>
              <a:gd name="connsiteY204" fmla="*/ 1452809 h 4495800"/>
              <a:gd name="connsiteX205" fmla="*/ 575682 w 1743075"/>
              <a:gd name="connsiteY205" fmla="*/ 1686172 h 4495800"/>
              <a:gd name="connsiteX206" fmla="*/ 559490 w 1743075"/>
              <a:gd name="connsiteY206" fmla="*/ 1708079 h 4495800"/>
              <a:gd name="connsiteX207" fmla="*/ 480432 w 1743075"/>
              <a:gd name="connsiteY207" fmla="*/ 1817617 h 4495800"/>
              <a:gd name="connsiteX208" fmla="*/ 476622 w 1743075"/>
              <a:gd name="connsiteY208" fmla="*/ 1834762 h 4495800"/>
              <a:gd name="connsiteX209" fmla="*/ 437570 w 1743075"/>
              <a:gd name="connsiteY209" fmla="*/ 1828094 h 4495800"/>
              <a:gd name="connsiteX210" fmla="*/ 466145 w 1743075"/>
              <a:gd name="connsiteY210" fmla="*/ 1792852 h 4495800"/>
              <a:gd name="connsiteX211" fmla="*/ 557585 w 1743075"/>
              <a:gd name="connsiteY211" fmla="*/ 1688077 h 4495800"/>
              <a:gd name="connsiteX212" fmla="*/ 567110 w 1743075"/>
              <a:gd name="connsiteY212" fmla="*/ 1678552 h 4495800"/>
              <a:gd name="connsiteX213" fmla="*/ 573777 w 1743075"/>
              <a:gd name="connsiteY213" fmla="*/ 1678552 h 4495800"/>
              <a:gd name="connsiteX214" fmla="*/ 575682 w 1743075"/>
              <a:gd name="connsiteY214" fmla="*/ 1686172 h 4495800"/>
              <a:gd name="connsiteX215" fmla="*/ 889055 w 1743075"/>
              <a:gd name="connsiteY215" fmla="*/ 1877624 h 4495800"/>
              <a:gd name="connsiteX216" fmla="*/ 890007 w 1743075"/>
              <a:gd name="connsiteY216" fmla="*/ 1871909 h 4495800"/>
              <a:gd name="connsiteX217" fmla="*/ 887150 w 1743075"/>
              <a:gd name="connsiteY217" fmla="*/ 1834762 h 4495800"/>
              <a:gd name="connsiteX218" fmla="*/ 789995 w 1743075"/>
              <a:gd name="connsiteY218" fmla="*/ 1769992 h 4495800"/>
              <a:gd name="connsiteX219" fmla="*/ 689030 w 1743075"/>
              <a:gd name="connsiteY219" fmla="*/ 1727129 h 4495800"/>
              <a:gd name="connsiteX220" fmla="*/ 655692 w 1743075"/>
              <a:gd name="connsiteY220" fmla="*/ 1712842 h 4495800"/>
              <a:gd name="connsiteX221" fmla="*/ 604257 w 1743075"/>
              <a:gd name="connsiteY221" fmla="*/ 1685219 h 4495800"/>
              <a:gd name="connsiteX222" fmla="*/ 602352 w 1743075"/>
              <a:gd name="connsiteY222" fmla="*/ 1636642 h 4495800"/>
              <a:gd name="connsiteX223" fmla="*/ 618545 w 1743075"/>
              <a:gd name="connsiteY223" fmla="*/ 1626164 h 4495800"/>
              <a:gd name="connsiteX224" fmla="*/ 628070 w 1743075"/>
              <a:gd name="connsiteY224" fmla="*/ 1608067 h 4495800"/>
              <a:gd name="connsiteX225" fmla="*/ 637595 w 1743075"/>
              <a:gd name="connsiteY225" fmla="*/ 1581397 h 4495800"/>
              <a:gd name="connsiteX226" fmla="*/ 711890 w 1743075"/>
              <a:gd name="connsiteY226" fmla="*/ 1492814 h 4495800"/>
              <a:gd name="connsiteX227" fmla="*/ 788090 w 1743075"/>
              <a:gd name="connsiteY227" fmla="*/ 1357559 h 4495800"/>
              <a:gd name="connsiteX228" fmla="*/ 821427 w 1743075"/>
              <a:gd name="connsiteY228" fmla="*/ 1114672 h 4495800"/>
              <a:gd name="connsiteX229" fmla="*/ 819522 w 1743075"/>
              <a:gd name="connsiteY229" fmla="*/ 889882 h 4495800"/>
              <a:gd name="connsiteX230" fmla="*/ 813807 w 1743075"/>
              <a:gd name="connsiteY230" fmla="*/ 738434 h 4495800"/>
              <a:gd name="connsiteX231" fmla="*/ 813807 w 1743075"/>
              <a:gd name="connsiteY231" fmla="*/ 720337 h 4495800"/>
              <a:gd name="connsiteX232" fmla="*/ 818570 w 1743075"/>
              <a:gd name="connsiteY232" fmla="*/ 718432 h 4495800"/>
              <a:gd name="connsiteX233" fmla="*/ 863337 w 1743075"/>
              <a:gd name="connsiteY233" fmla="*/ 815587 h 4495800"/>
              <a:gd name="connsiteX234" fmla="*/ 866195 w 1743075"/>
              <a:gd name="connsiteY234" fmla="*/ 814634 h 4495800"/>
              <a:gd name="connsiteX235" fmla="*/ 848097 w 1743075"/>
              <a:gd name="connsiteY235" fmla="*/ 771772 h 4495800"/>
              <a:gd name="connsiteX236" fmla="*/ 828095 w 1743075"/>
              <a:gd name="connsiteY236" fmla="*/ 727004 h 4495800"/>
              <a:gd name="connsiteX237" fmla="*/ 810950 w 1743075"/>
              <a:gd name="connsiteY237" fmla="*/ 617467 h 4495800"/>
              <a:gd name="connsiteX238" fmla="*/ 812855 w 1743075"/>
              <a:gd name="connsiteY238" fmla="*/ 580319 h 4495800"/>
              <a:gd name="connsiteX239" fmla="*/ 816665 w 1743075"/>
              <a:gd name="connsiteY239" fmla="*/ 556507 h 4495800"/>
              <a:gd name="connsiteX240" fmla="*/ 821427 w 1743075"/>
              <a:gd name="connsiteY240" fmla="*/ 554602 h 4495800"/>
              <a:gd name="connsiteX241" fmla="*/ 856670 w 1743075"/>
              <a:gd name="connsiteY241" fmla="*/ 594607 h 4495800"/>
              <a:gd name="connsiteX242" fmla="*/ 913820 w 1743075"/>
              <a:gd name="connsiteY242" fmla="*/ 638422 h 4495800"/>
              <a:gd name="connsiteX243" fmla="*/ 974780 w 1743075"/>
              <a:gd name="connsiteY243" fmla="*/ 679379 h 4495800"/>
              <a:gd name="connsiteX244" fmla="*/ 973827 w 1743075"/>
              <a:gd name="connsiteY244" fmla="*/ 696524 h 4495800"/>
              <a:gd name="connsiteX245" fmla="*/ 950015 w 1743075"/>
              <a:gd name="connsiteY245" fmla="*/ 721289 h 4495800"/>
              <a:gd name="connsiteX246" fmla="*/ 899532 w 1743075"/>
              <a:gd name="connsiteY246" fmla="*/ 797489 h 4495800"/>
              <a:gd name="connsiteX247" fmla="*/ 930012 w 1743075"/>
              <a:gd name="connsiteY247" fmla="*/ 759389 h 4495800"/>
              <a:gd name="connsiteX248" fmla="*/ 945252 w 1743075"/>
              <a:gd name="connsiteY248" fmla="*/ 759389 h 4495800"/>
              <a:gd name="connsiteX249" fmla="*/ 954777 w 1743075"/>
              <a:gd name="connsiteY249" fmla="*/ 800347 h 4495800"/>
              <a:gd name="connsiteX250" fmla="*/ 910962 w 1743075"/>
              <a:gd name="connsiteY250" fmla="*/ 1142294 h 4495800"/>
              <a:gd name="connsiteX251" fmla="*/ 917630 w 1743075"/>
              <a:gd name="connsiteY251" fmla="*/ 1495672 h 4495800"/>
              <a:gd name="connsiteX252" fmla="*/ 929060 w 1743075"/>
              <a:gd name="connsiteY252" fmla="*/ 1776659 h 4495800"/>
              <a:gd name="connsiteX253" fmla="*/ 938585 w 1743075"/>
              <a:gd name="connsiteY253" fmla="*/ 1802377 h 4495800"/>
              <a:gd name="connsiteX254" fmla="*/ 1026215 w 1743075"/>
              <a:gd name="connsiteY254" fmla="*/ 1895722 h 4495800"/>
              <a:gd name="connsiteX255" fmla="*/ 1036692 w 1743075"/>
              <a:gd name="connsiteY255" fmla="*/ 1909057 h 4495800"/>
              <a:gd name="connsiteX256" fmla="*/ 889055 w 1743075"/>
              <a:gd name="connsiteY256" fmla="*/ 1877624 h 4495800"/>
              <a:gd name="connsiteX257" fmla="*/ 1279580 w 1743075"/>
              <a:gd name="connsiteY257" fmla="*/ 1673789 h 4495800"/>
              <a:gd name="connsiteX258" fmla="*/ 1275770 w 1743075"/>
              <a:gd name="connsiteY258" fmla="*/ 1747132 h 4495800"/>
              <a:gd name="connsiteX259" fmla="*/ 1250052 w 1743075"/>
              <a:gd name="connsiteY259" fmla="*/ 1809044 h 4495800"/>
              <a:gd name="connsiteX260" fmla="*/ 1188140 w 1743075"/>
              <a:gd name="connsiteY260" fmla="*/ 1870004 h 4495800"/>
              <a:gd name="connsiteX261" fmla="*/ 1170042 w 1743075"/>
              <a:gd name="connsiteY261" fmla="*/ 1907152 h 4495800"/>
              <a:gd name="connsiteX262" fmla="*/ 1160517 w 1743075"/>
              <a:gd name="connsiteY262" fmla="*/ 1919534 h 4495800"/>
              <a:gd name="connsiteX263" fmla="*/ 1142420 w 1743075"/>
              <a:gd name="connsiteY263" fmla="*/ 1924297 h 4495800"/>
              <a:gd name="connsiteX264" fmla="*/ 1045265 w 1743075"/>
              <a:gd name="connsiteY264" fmla="*/ 1916677 h 4495800"/>
              <a:gd name="connsiteX265" fmla="*/ 1053837 w 1743075"/>
              <a:gd name="connsiteY265" fmla="*/ 1901437 h 4495800"/>
              <a:gd name="connsiteX266" fmla="*/ 1132895 w 1743075"/>
              <a:gd name="connsiteY266" fmla="*/ 1803329 h 4495800"/>
              <a:gd name="connsiteX267" fmla="*/ 1143372 w 1743075"/>
              <a:gd name="connsiteY267" fmla="*/ 1770944 h 4495800"/>
              <a:gd name="connsiteX268" fmla="*/ 1137657 w 1743075"/>
              <a:gd name="connsiteY268" fmla="*/ 1666169 h 4495800"/>
              <a:gd name="connsiteX269" fmla="*/ 1130037 w 1743075"/>
              <a:gd name="connsiteY269" fmla="*/ 1505197 h 4495800"/>
              <a:gd name="connsiteX270" fmla="*/ 1115750 w 1743075"/>
              <a:gd name="connsiteY270" fmla="*/ 1296599 h 4495800"/>
              <a:gd name="connsiteX271" fmla="*/ 1094795 w 1743075"/>
              <a:gd name="connsiteY271" fmla="*/ 1091812 h 4495800"/>
              <a:gd name="connsiteX272" fmla="*/ 1037645 w 1743075"/>
              <a:gd name="connsiteY272" fmla="*/ 839399 h 4495800"/>
              <a:gd name="connsiteX273" fmla="*/ 1019547 w 1743075"/>
              <a:gd name="connsiteY273" fmla="*/ 780344 h 4495800"/>
              <a:gd name="connsiteX274" fmla="*/ 1024310 w 1743075"/>
              <a:gd name="connsiteY274" fmla="*/ 761294 h 4495800"/>
              <a:gd name="connsiteX275" fmla="*/ 1042407 w 1743075"/>
              <a:gd name="connsiteY275" fmla="*/ 744149 h 4495800"/>
              <a:gd name="connsiteX276" fmla="*/ 1069077 w 1743075"/>
              <a:gd name="connsiteY276" fmla="*/ 806062 h 4495800"/>
              <a:gd name="connsiteX277" fmla="*/ 1014785 w 1743075"/>
              <a:gd name="connsiteY277" fmla="*/ 699382 h 4495800"/>
              <a:gd name="connsiteX278" fmla="*/ 1015737 w 1743075"/>
              <a:gd name="connsiteY278" fmla="*/ 677474 h 4495800"/>
              <a:gd name="connsiteX279" fmla="*/ 1068125 w 1743075"/>
              <a:gd name="connsiteY279" fmla="*/ 631754 h 4495800"/>
              <a:gd name="connsiteX280" fmla="*/ 1096700 w 1743075"/>
              <a:gd name="connsiteY280" fmla="*/ 571747 h 4495800"/>
              <a:gd name="connsiteX281" fmla="*/ 1102415 w 1743075"/>
              <a:gd name="connsiteY281" fmla="*/ 552697 h 4495800"/>
              <a:gd name="connsiteX282" fmla="*/ 1120512 w 1743075"/>
              <a:gd name="connsiteY282" fmla="*/ 606989 h 4495800"/>
              <a:gd name="connsiteX283" fmla="*/ 1107177 w 1743075"/>
              <a:gd name="connsiteY283" fmla="*/ 742244 h 4495800"/>
              <a:gd name="connsiteX284" fmla="*/ 1108130 w 1743075"/>
              <a:gd name="connsiteY284" fmla="*/ 761294 h 4495800"/>
              <a:gd name="connsiteX285" fmla="*/ 1127180 w 1743075"/>
              <a:gd name="connsiteY285" fmla="*/ 621277 h 4495800"/>
              <a:gd name="connsiteX286" fmla="*/ 1187187 w 1743075"/>
              <a:gd name="connsiteY286" fmla="*/ 829874 h 4495800"/>
              <a:gd name="connsiteX287" fmla="*/ 1228145 w 1743075"/>
              <a:gd name="connsiteY287" fmla="*/ 993704 h 4495800"/>
              <a:gd name="connsiteX288" fmla="*/ 1246242 w 1743075"/>
              <a:gd name="connsiteY288" fmla="*/ 1128007 h 4495800"/>
              <a:gd name="connsiteX289" fmla="*/ 1270055 w 1743075"/>
              <a:gd name="connsiteY289" fmla="*/ 1363274 h 4495800"/>
              <a:gd name="connsiteX290" fmla="*/ 1276722 w 1743075"/>
              <a:gd name="connsiteY290" fmla="*/ 1427092 h 4495800"/>
              <a:gd name="connsiteX291" fmla="*/ 1284342 w 1743075"/>
              <a:gd name="connsiteY291" fmla="*/ 1534724 h 4495800"/>
              <a:gd name="connsiteX292" fmla="*/ 1279580 w 1743075"/>
              <a:gd name="connsiteY292" fmla="*/ 1673789 h 4495800"/>
              <a:gd name="connsiteX293" fmla="*/ 1437695 w 1743075"/>
              <a:gd name="connsiteY293" fmla="*/ 1289932 h 4495800"/>
              <a:gd name="connsiteX294" fmla="*/ 1442457 w 1743075"/>
              <a:gd name="connsiteY294" fmla="*/ 1288979 h 4495800"/>
              <a:gd name="connsiteX295" fmla="*/ 1447220 w 1743075"/>
              <a:gd name="connsiteY295" fmla="*/ 1300409 h 4495800"/>
              <a:gd name="connsiteX296" fmla="*/ 1448172 w 1743075"/>
              <a:gd name="connsiteY296" fmla="*/ 1327079 h 4495800"/>
              <a:gd name="connsiteX297" fmla="*/ 1470080 w 1743075"/>
              <a:gd name="connsiteY297" fmla="*/ 1394707 h 4495800"/>
              <a:gd name="connsiteX298" fmla="*/ 1476747 w 1743075"/>
              <a:gd name="connsiteY298" fmla="*/ 1433759 h 4495800"/>
              <a:gd name="connsiteX299" fmla="*/ 1439600 w 1743075"/>
              <a:gd name="connsiteY299" fmla="*/ 1497577 h 4495800"/>
              <a:gd name="connsiteX300" fmla="*/ 1437695 w 1743075"/>
              <a:gd name="connsiteY300" fmla="*/ 1289932 h 4495800"/>
              <a:gd name="connsiteX301" fmla="*/ 1475795 w 1743075"/>
              <a:gd name="connsiteY301" fmla="*/ 1882387 h 4495800"/>
              <a:gd name="connsiteX302" fmla="*/ 1462460 w 1743075"/>
              <a:gd name="connsiteY302" fmla="*/ 1874767 h 4495800"/>
              <a:gd name="connsiteX303" fmla="*/ 1371972 w 1743075"/>
              <a:gd name="connsiteY303" fmla="*/ 1769992 h 4495800"/>
              <a:gd name="connsiteX304" fmla="*/ 1336730 w 1743075"/>
              <a:gd name="connsiteY304" fmla="*/ 1750942 h 4495800"/>
              <a:gd name="connsiteX305" fmla="*/ 1319585 w 1743075"/>
              <a:gd name="connsiteY305" fmla="*/ 1744274 h 4495800"/>
              <a:gd name="connsiteX306" fmla="*/ 1320537 w 1743075"/>
              <a:gd name="connsiteY306" fmla="*/ 1738559 h 4495800"/>
              <a:gd name="connsiteX307" fmla="*/ 1337682 w 1743075"/>
              <a:gd name="connsiteY307" fmla="*/ 1740464 h 4495800"/>
              <a:gd name="connsiteX308" fmla="*/ 1416740 w 1743075"/>
              <a:gd name="connsiteY308" fmla="*/ 1788089 h 4495800"/>
              <a:gd name="connsiteX309" fmla="*/ 1473890 w 1743075"/>
              <a:gd name="connsiteY309" fmla="*/ 1853812 h 4495800"/>
              <a:gd name="connsiteX310" fmla="*/ 1480557 w 1743075"/>
              <a:gd name="connsiteY310" fmla="*/ 1865242 h 4495800"/>
              <a:gd name="connsiteX311" fmla="*/ 1475795 w 1743075"/>
              <a:gd name="connsiteY311" fmla="*/ 1882387 h 4495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</a:cxnLst>
            <a:rect l="l" t="t" r="r" b="b"/>
            <a:pathLst>
              <a:path w="1743075" h="4495800">
                <a:moveTo>
                  <a:pt x="1732970" y="1329937"/>
                </a:moveTo>
                <a:cubicBezTo>
                  <a:pt x="1728207" y="1318507"/>
                  <a:pt x="1726302" y="1304219"/>
                  <a:pt x="1726302" y="1291837"/>
                </a:cubicBezTo>
                <a:cubicBezTo>
                  <a:pt x="1728207" y="1266119"/>
                  <a:pt x="1718682" y="1246117"/>
                  <a:pt x="1698680" y="1230877"/>
                </a:cubicBezTo>
                <a:cubicBezTo>
                  <a:pt x="1680582" y="1216589"/>
                  <a:pt x="1672962" y="1197539"/>
                  <a:pt x="1666295" y="1177537"/>
                </a:cubicBezTo>
                <a:cubicBezTo>
                  <a:pt x="1660580" y="1160392"/>
                  <a:pt x="1651055" y="1145152"/>
                  <a:pt x="1643435" y="1128959"/>
                </a:cubicBezTo>
                <a:cubicBezTo>
                  <a:pt x="1641530" y="1125149"/>
                  <a:pt x="1638672" y="1121339"/>
                  <a:pt x="1636767" y="1117529"/>
                </a:cubicBezTo>
                <a:cubicBezTo>
                  <a:pt x="1623432" y="1086097"/>
                  <a:pt x="1610097" y="1054664"/>
                  <a:pt x="1595810" y="1023232"/>
                </a:cubicBezTo>
                <a:cubicBezTo>
                  <a:pt x="1592952" y="1017517"/>
                  <a:pt x="1588190" y="1012754"/>
                  <a:pt x="1586285" y="1007039"/>
                </a:cubicBezTo>
                <a:cubicBezTo>
                  <a:pt x="1581522" y="995609"/>
                  <a:pt x="1574855" y="984179"/>
                  <a:pt x="1573902" y="972749"/>
                </a:cubicBezTo>
                <a:cubicBezTo>
                  <a:pt x="1571997" y="955604"/>
                  <a:pt x="1569140" y="939412"/>
                  <a:pt x="1560567" y="923219"/>
                </a:cubicBezTo>
                <a:cubicBezTo>
                  <a:pt x="1553900" y="910837"/>
                  <a:pt x="1552947" y="894644"/>
                  <a:pt x="1550090" y="880357"/>
                </a:cubicBezTo>
                <a:cubicBezTo>
                  <a:pt x="1549137" y="874642"/>
                  <a:pt x="1549137" y="868927"/>
                  <a:pt x="1547232" y="863212"/>
                </a:cubicBezTo>
                <a:cubicBezTo>
                  <a:pt x="1534850" y="824159"/>
                  <a:pt x="1521515" y="786059"/>
                  <a:pt x="1508180" y="747959"/>
                </a:cubicBezTo>
                <a:cubicBezTo>
                  <a:pt x="1501512" y="727957"/>
                  <a:pt x="1488177" y="713669"/>
                  <a:pt x="1468175" y="705097"/>
                </a:cubicBezTo>
                <a:cubicBezTo>
                  <a:pt x="1454840" y="699382"/>
                  <a:pt x="1442457" y="690809"/>
                  <a:pt x="1428170" y="685094"/>
                </a:cubicBezTo>
                <a:cubicBezTo>
                  <a:pt x="1412930" y="678427"/>
                  <a:pt x="1396737" y="673664"/>
                  <a:pt x="1380545" y="669854"/>
                </a:cubicBezTo>
                <a:cubicBezTo>
                  <a:pt x="1354827" y="663187"/>
                  <a:pt x="1329110" y="657472"/>
                  <a:pt x="1303392" y="650804"/>
                </a:cubicBezTo>
                <a:cubicBezTo>
                  <a:pt x="1302440" y="650804"/>
                  <a:pt x="1302440" y="649852"/>
                  <a:pt x="1301487" y="649852"/>
                </a:cubicBezTo>
                <a:cubicBezTo>
                  <a:pt x="1275770" y="643184"/>
                  <a:pt x="1249100" y="636517"/>
                  <a:pt x="1223382" y="629849"/>
                </a:cubicBezTo>
                <a:cubicBezTo>
                  <a:pt x="1202427" y="624134"/>
                  <a:pt x="1180520" y="619372"/>
                  <a:pt x="1160517" y="610799"/>
                </a:cubicBezTo>
                <a:cubicBezTo>
                  <a:pt x="1118607" y="591749"/>
                  <a:pt x="1104320" y="552697"/>
                  <a:pt x="1101462" y="511739"/>
                </a:cubicBezTo>
                <a:cubicBezTo>
                  <a:pt x="1098605" y="482212"/>
                  <a:pt x="1104320" y="452684"/>
                  <a:pt x="1106225" y="422204"/>
                </a:cubicBezTo>
                <a:cubicBezTo>
                  <a:pt x="1107177" y="411727"/>
                  <a:pt x="1110987" y="404107"/>
                  <a:pt x="1119560" y="398392"/>
                </a:cubicBezTo>
                <a:cubicBezTo>
                  <a:pt x="1136705" y="387914"/>
                  <a:pt x="1146230" y="371722"/>
                  <a:pt x="1150040" y="352672"/>
                </a:cubicBezTo>
                <a:cubicBezTo>
                  <a:pt x="1151945" y="344099"/>
                  <a:pt x="1155755" y="335527"/>
                  <a:pt x="1155755" y="326002"/>
                </a:cubicBezTo>
                <a:cubicBezTo>
                  <a:pt x="1155755" y="305047"/>
                  <a:pt x="1155755" y="284092"/>
                  <a:pt x="1153850" y="263137"/>
                </a:cubicBezTo>
                <a:cubicBezTo>
                  <a:pt x="1152897" y="254564"/>
                  <a:pt x="1148135" y="247897"/>
                  <a:pt x="1135752" y="252659"/>
                </a:cubicBezTo>
                <a:cubicBezTo>
                  <a:pt x="1125275" y="256469"/>
                  <a:pt x="1123370" y="252659"/>
                  <a:pt x="1124322" y="241229"/>
                </a:cubicBezTo>
                <a:cubicBezTo>
                  <a:pt x="1125275" y="228847"/>
                  <a:pt x="1125275" y="215512"/>
                  <a:pt x="1125275" y="203129"/>
                </a:cubicBezTo>
                <a:cubicBezTo>
                  <a:pt x="1125275" y="196462"/>
                  <a:pt x="1123370" y="188842"/>
                  <a:pt x="1124322" y="182174"/>
                </a:cubicBezTo>
                <a:cubicBezTo>
                  <a:pt x="1125275" y="133597"/>
                  <a:pt x="1102415" y="93592"/>
                  <a:pt x="1074792" y="56444"/>
                </a:cubicBezTo>
                <a:cubicBezTo>
                  <a:pt x="1069077" y="47872"/>
                  <a:pt x="1057647" y="42157"/>
                  <a:pt x="1048122" y="37394"/>
                </a:cubicBezTo>
                <a:cubicBezTo>
                  <a:pt x="1033835" y="30727"/>
                  <a:pt x="1019547" y="24059"/>
                  <a:pt x="1005260" y="20249"/>
                </a:cubicBezTo>
                <a:cubicBezTo>
                  <a:pt x="959540" y="5009"/>
                  <a:pt x="914772" y="-706"/>
                  <a:pt x="873815" y="24059"/>
                </a:cubicBezTo>
                <a:cubicBezTo>
                  <a:pt x="839525" y="45967"/>
                  <a:pt x="808092" y="71684"/>
                  <a:pt x="782375" y="104069"/>
                </a:cubicBezTo>
                <a:cubicBezTo>
                  <a:pt x="779517" y="107879"/>
                  <a:pt x="776660" y="112642"/>
                  <a:pt x="775707" y="117404"/>
                </a:cubicBezTo>
                <a:cubicBezTo>
                  <a:pt x="772850" y="131692"/>
                  <a:pt x="770945" y="145027"/>
                  <a:pt x="769040" y="159314"/>
                </a:cubicBezTo>
                <a:cubicBezTo>
                  <a:pt x="765230" y="204082"/>
                  <a:pt x="777612" y="249802"/>
                  <a:pt x="759515" y="293617"/>
                </a:cubicBezTo>
                <a:cubicBezTo>
                  <a:pt x="759515" y="294569"/>
                  <a:pt x="759515" y="296474"/>
                  <a:pt x="759515" y="297427"/>
                </a:cubicBezTo>
                <a:cubicBezTo>
                  <a:pt x="760467" y="322192"/>
                  <a:pt x="760467" y="346957"/>
                  <a:pt x="762372" y="370769"/>
                </a:cubicBezTo>
                <a:cubicBezTo>
                  <a:pt x="763325" y="390772"/>
                  <a:pt x="769040" y="409822"/>
                  <a:pt x="786185" y="424109"/>
                </a:cubicBezTo>
                <a:cubicBezTo>
                  <a:pt x="792852" y="429824"/>
                  <a:pt x="797615" y="438397"/>
                  <a:pt x="799520" y="446969"/>
                </a:cubicBezTo>
                <a:cubicBezTo>
                  <a:pt x="805235" y="469829"/>
                  <a:pt x="809045" y="493642"/>
                  <a:pt x="811902" y="517454"/>
                </a:cubicBezTo>
                <a:cubicBezTo>
                  <a:pt x="812855" y="525074"/>
                  <a:pt x="810950" y="536504"/>
                  <a:pt x="806187" y="540314"/>
                </a:cubicBezTo>
                <a:cubicBezTo>
                  <a:pt x="783327" y="557459"/>
                  <a:pt x="761420" y="578414"/>
                  <a:pt x="729035" y="576509"/>
                </a:cubicBezTo>
                <a:cubicBezTo>
                  <a:pt x="725225" y="576509"/>
                  <a:pt x="721415" y="578414"/>
                  <a:pt x="717605" y="579367"/>
                </a:cubicBezTo>
                <a:cubicBezTo>
                  <a:pt x="660455" y="592702"/>
                  <a:pt x="603305" y="606037"/>
                  <a:pt x="546155" y="617467"/>
                </a:cubicBezTo>
                <a:cubicBezTo>
                  <a:pt x="521390" y="622229"/>
                  <a:pt x="494720" y="623182"/>
                  <a:pt x="469955" y="627944"/>
                </a:cubicBezTo>
                <a:cubicBezTo>
                  <a:pt x="445190" y="632707"/>
                  <a:pt x="421377" y="639374"/>
                  <a:pt x="396612" y="646994"/>
                </a:cubicBezTo>
                <a:cubicBezTo>
                  <a:pt x="374705" y="653662"/>
                  <a:pt x="357560" y="668902"/>
                  <a:pt x="348035" y="688904"/>
                </a:cubicBezTo>
                <a:cubicBezTo>
                  <a:pt x="329937" y="727004"/>
                  <a:pt x="321365" y="767009"/>
                  <a:pt x="311840" y="807014"/>
                </a:cubicBezTo>
                <a:cubicBezTo>
                  <a:pt x="308030" y="824159"/>
                  <a:pt x="302315" y="838447"/>
                  <a:pt x="287075" y="848924"/>
                </a:cubicBezTo>
                <a:cubicBezTo>
                  <a:pt x="269930" y="861307"/>
                  <a:pt x="253737" y="875594"/>
                  <a:pt x="246117" y="896549"/>
                </a:cubicBezTo>
                <a:cubicBezTo>
                  <a:pt x="243260" y="905122"/>
                  <a:pt x="239450" y="914647"/>
                  <a:pt x="233735" y="922267"/>
                </a:cubicBezTo>
                <a:cubicBezTo>
                  <a:pt x="209922" y="950842"/>
                  <a:pt x="195635" y="987037"/>
                  <a:pt x="164202" y="1008944"/>
                </a:cubicBezTo>
                <a:cubicBezTo>
                  <a:pt x="159440" y="1012754"/>
                  <a:pt x="155630" y="1018469"/>
                  <a:pt x="152772" y="1024184"/>
                </a:cubicBezTo>
                <a:cubicBezTo>
                  <a:pt x="128960" y="1059427"/>
                  <a:pt x="105147" y="1094669"/>
                  <a:pt x="81335" y="1130864"/>
                </a:cubicBezTo>
                <a:cubicBezTo>
                  <a:pt x="50855" y="1177537"/>
                  <a:pt x="22280" y="1225162"/>
                  <a:pt x="10850" y="1280407"/>
                </a:cubicBezTo>
                <a:cubicBezTo>
                  <a:pt x="2277" y="1320412"/>
                  <a:pt x="8945" y="1359464"/>
                  <a:pt x="27042" y="1395659"/>
                </a:cubicBezTo>
                <a:cubicBezTo>
                  <a:pt x="36567" y="1415662"/>
                  <a:pt x="49902" y="1434712"/>
                  <a:pt x="61332" y="1453762"/>
                </a:cubicBezTo>
                <a:cubicBezTo>
                  <a:pt x="66095" y="1460429"/>
                  <a:pt x="71810" y="1467097"/>
                  <a:pt x="74667" y="1474717"/>
                </a:cubicBezTo>
                <a:cubicBezTo>
                  <a:pt x="78477" y="1489004"/>
                  <a:pt x="83240" y="1501387"/>
                  <a:pt x="97527" y="1509007"/>
                </a:cubicBezTo>
                <a:cubicBezTo>
                  <a:pt x="102290" y="1510912"/>
                  <a:pt x="104195" y="1517579"/>
                  <a:pt x="108005" y="1522342"/>
                </a:cubicBezTo>
                <a:cubicBezTo>
                  <a:pt x="126102" y="1549012"/>
                  <a:pt x="143247" y="1575682"/>
                  <a:pt x="162297" y="1602352"/>
                </a:cubicBezTo>
                <a:cubicBezTo>
                  <a:pt x="174680" y="1620449"/>
                  <a:pt x="189920" y="1636642"/>
                  <a:pt x="201350" y="1654739"/>
                </a:cubicBezTo>
                <a:cubicBezTo>
                  <a:pt x="228020" y="1694744"/>
                  <a:pt x="257547" y="1731892"/>
                  <a:pt x="288980" y="1768087"/>
                </a:cubicBezTo>
                <a:cubicBezTo>
                  <a:pt x="300410" y="1781422"/>
                  <a:pt x="303267" y="1794757"/>
                  <a:pt x="300410" y="1810949"/>
                </a:cubicBezTo>
                <a:cubicBezTo>
                  <a:pt x="295647" y="1843334"/>
                  <a:pt x="290885" y="1875719"/>
                  <a:pt x="288027" y="1909057"/>
                </a:cubicBezTo>
                <a:cubicBezTo>
                  <a:pt x="284217" y="1960492"/>
                  <a:pt x="282312" y="2012879"/>
                  <a:pt x="279455" y="2064314"/>
                </a:cubicBezTo>
                <a:cubicBezTo>
                  <a:pt x="279455" y="2069077"/>
                  <a:pt x="278502" y="2074792"/>
                  <a:pt x="277550" y="2079554"/>
                </a:cubicBezTo>
                <a:cubicBezTo>
                  <a:pt x="273740" y="2117654"/>
                  <a:pt x="268025" y="2154802"/>
                  <a:pt x="266120" y="2192902"/>
                </a:cubicBezTo>
                <a:cubicBezTo>
                  <a:pt x="264215" y="2241479"/>
                  <a:pt x="263262" y="2290057"/>
                  <a:pt x="265167" y="2338634"/>
                </a:cubicBezTo>
                <a:cubicBezTo>
                  <a:pt x="266120" y="2381497"/>
                  <a:pt x="259452" y="2422454"/>
                  <a:pt x="251832" y="2463412"/>
                </a:cubicBezTo>
                <a:cubicBezTo>
                  <a:pt x="248975" y="2479604"/>
                  <a:pt x="253737" y="2490082"/>
                  <a:pt x="268025" y="2496749"/>
                </a:cubicBezTo>
                <a:cubicBezTo>
                  <a:pt x="297552" y="2508179"/>
                  <a:pt x="326127" y="2523419"/>
                  <a:pt x="358512" y="2521514"/>
                </a:cubicBezTo>
                <a:cubicBezTo>
                  <a:pt x="365180" y="2521514"/>
                  <a:pt x="370895" y="2523419"/>
                  <a:pt x="377562" y="2525324"/>
                </a:cubicBezTo>
                <a:cubicBezTo>
                  <a:pt x="411852" y="2531039"/>
                  <a:pt x="443285" y="2530087"/>
                  <a:pt x="467097" y="2499607"/>
                </a:cubicBezTo>
                <a:cubicBezTo>
                  <a:pt x="474717" y="2490082"/>
                  <a:pt x="485195" y="2483414"/>
                  <a:pt x="496625" y="2472937"/>
                </a:cubicBezTo>
                <a:cubicBezTo>
                  <a:pt x="497577" y="2485319"/>
                  <a:pt x="498530" y="2492939"/>
                  <a:pt x="498530" y="2500559"/>
                </a:cubicBezTo>
                <a:cubicBezTo>
                  <a:pt x="498530" y="2551994"/>
                  <a:pt x="498530" y="2602477"/>
                  <a:pt x="497577" y="2653912"/>
                </a:cubicBezTo>
                <a:cubicBezTo>
                  <a:pt x="496625" y="2687249"/>
                  <a:pt x="492815" y="2719634"/>
                  <a:pt x="491862" y="2752972"/>
                </a:cubicBezTo>
                <a:cubicBezTo>
                  <a:pt x="490910" y="2807264"/>
                  <a:pt x="491862" y="2861557"/>
                  <a:pt x="489957" y="2915849"/>
                </a:cubicBezTo>
                <a:cubicBezTo>
                  <a:pt x="486147" y="3045389"/>
                  <a:pt x="496625" y="3174929"/>
                  <a:pt x="483290" y="3303517"/>
                </a:cubicBezTo>
                <a:cubicBezTo>
                  <a:pt x="479480" y="3343522"/>
                  <a:pt x="482337" y="3383527"/>
                  <a:pt x="483290" y="3423532"/>
                </a:cubicBezTo>
                <a:cubicBezTo>
                  <a:pt x="484242" y="3504494"/>
                  <a:pt x="483290" y="3585457"/>
                  <a:pt x="489005" y="3666419"/>
                </a:cubicBezTo>
                <a:cubicBezTo>
                  <a:pt x="495672" y="3761669"/>
                  <a:pt x="495672" y="3857872"/>
                  <a:pt x="497577" y="3953122"/>
                </a:cubicBezTo>
                <a:cubicBezTo>
                  <a:pt x="497577" y="3956932"/>
                  <a:pt x="498530" y="3960742"/>
                  <a:pt x="498530" y="3964552"/>
                </a:cubicBezTo>
                <a:cubicBezTo>
                  <a:pt x="500435" y="3982649"/>
                  <a:pt x="503292" y="4001699"/>
                  <a:pt x="505197" y="4019797"/>
                </a:cubicBezTo>
                <a:cubicBezTo>
                  <a:pt x="506150" y="4040752"/>
                  <a:pt x="506150" y="4062659"/>
                  <a:pt x="507102" y="4083614"/>
                </a:cubicBezTo>
                <a:cubicBezTo>
                  <a:pt x="508055" y="4093139"/>
                  <a:pt x="509007" y="4104569"/>
                  <a:pt x="513770" y="4111237"/>
                </a:cubicBezTo>
                <a:cubicBezTo>
                  <a:pt x="528057" y="4131239"/>
                  <a:pt x="534725" y="4153147"/>
                  <a:pt x="539487" y="4176959"/>
                </a:cubicBezTo>
                <a:cubicBezTo>
                  <a:pt x="546155" y="4211249"/>
                  <a:pt x="554727" y="4244587"/>
                  <a:pt x="562347" y="4278877"/>
                </a:cubicBezTo>
                <a:cubicBezTo>
                  <a:pt x="563300" y="4285544"/>
                  <a:pt x="565205" y="4295069"/>
                  <a:pt x="561395" y="4299832"/>
                </a:cubicBezTo>
                <a:cubicBezTo>
                  <a:pt x="549965" y="4316977"/>
                  <a:pt x="553775" y="4336027"/>
                  <a:pt x="551870" y="4354124"/>
                </a:cubicBezTo>
                <a:cubicBezTo>
                  <a:pt x="549965" y="4379842"/>
                  <a:pt x="563300" y="4395082"/>
                  <a:pt x="583302" y="4404607"/>
                </a:cubicBezTo>
                <a:cubicBezTo>
                  <a:pt x="591875" y="4409369"/>
                  <a:pt x="597590" y="4414132"/>
                  <a:pt x="600447" y="4423657"/>
                </a:cubicBezTo>
                <a:cubicBezTo>
                  <a:pt x="605210" y="4438897"/>
                  <a:pt x="614735" y="4452232"/>
                  <a:pt x="628070" y="4459852"/>
                </a:cubicBezTo>
                <a:cubicBezTo>
                  <a:pt x="648072" y="4469377"/>
                  <a:pt x="669027" y="4478902"/>
                  <a:pt x="690935" y="4483664"/>
                </a:cubicBezTo>
                <a:cubicBezTo>
                  <a:pt x="713795" y="4489379"/>
                  <a:pt x="738560" y="4491284"/>
                  <a:pt x="762372" y="4492237"/>
                </a:cubicBezTo>
                <a:cubicBezTo>
                  <a:pt x="808092" y="4493189"/>
                  <a:pt x="852860" y="4493189"/>
                  <a:pt x="898580" y="4493189"/>
                </a:cubicBezTo>
                <a:cubicBezTo>
                  <a:pt x="917630" y="4493189"/>
                  <a:pt x="922392" y="4482712"/>
                  <a:pt x="913820" y="4464614"/>
                </a:cubicBezTo>
                <a:cubicBezTo>
                  <a:pt x="909057" y="4455089"/>
                  <a:pt x="906200" y="4444612"/>
                  <a:pt x="901437" y="4434134"/>
                </a:cubicBezTo>
                <a:cubicBezTo>
                  <a:pt x="890960" y="4406512"/>
                  <a:pt x="880482" y="4378889"/>
                  <a:pt x="869052" y="4351267"/>
                </a:cubicBezTo>
                <a:cubicBezTo>
                  <a:pt x="867147" y="4346504"/>
                  <a:pt x="863337" y="4342694"/>
                  <a:pt x="859527" y="4338884"/>
                </a:cubicBezTo>
                <a:cubicBezTo>
                  <a:pt x="837620" y="4317929"/>
                  <a:pt x="818570" y="4295069"/>
                  <a:pt x="811902" y="4263637"/>
                </a:cubicBezTo>
                <a:cubicBezTo>
                  <a:pt x="808092" y="4244587"/>
                  <a:pt x="806187" y="4225537"/>
                  <a:pt x="812855" y="4206487"/>
                </a:cubicBezTo>
                <a:cubicBezTo>
                  <a:pt x="817617" y="4193152"/>
                  <a:pt x="820475" y="4178864"/>
                  <a:pt x="823332" y="4165529"/>
                </a:cubicBezTo>
                <a:cubicBezTo>
                  <a:pt x="830000" y="4127429"/>
                  <a:pt x="835715" y="4089329"/>
                  <a:pt x="841430" y="4050277"/>
                </a:cubicBezTo>
                <a:cubicBezTo>
                  <a:pt x="845240" y="4028369"/>
                  <a:pt x="850955" y="4005509"/>
                  <a:pt x="849050" y="3982649"/>
                </a:cubicBezTo>
                <a:cubicBezTo>
                  <a:pt x="843335" y="3899782"/>
                  <a:pt x="839525" y="3817867"/>
                  <a:pt x="837620" y="3734999"/>
                </a:cubicBezTo>
                <a:cubicBezTo>
                  <a:pt x="836667" y="3711187"/>
                  <a:pt x="831905" y="3686422"/>
                  <a:pt x="826190" y="3662609"/>
                </a:cubicBezTo>
                <a:cubicBezTo>
                  <a:pt x="821427" y="3641654"/>
                  <a:pt x="813807" y="3622604"/>
                  <a:pt x="807140" y="3601649"/>
                </a:cubicBezTo>
                <a:cubicBezTo>
                  <a:pt x="801425" y="3580694"/>
                  <a:pt x="794757" y="3559739"/>
                  <a:pt x="789995" y="3537832"/>
                </a:cubicBezTo>
                <a:cubicBezTo>
                  <a:pt x="787137" y="3523544"/>
                  <a:pt x="785232" y="3508304"/>
                  <a:pt x="786185" y="3494017"/>
                </a:cubicBezTo>
                <a:cubicBezTo>
                  <a:pt x="786185" y="3480682"/>
                  <a:pt x="789995" y="3467347"/>
                  <a:pt x="790947" y="3454012"/>
                </a:cubicBezTo>
                <a:cubicBezTo>
                  <a:pt x="793805" y="3434009"/>
                  <a:pt x="797615" y="3413054"/>
                  <a:pt x="798567" y="3393052"/>
                </a:cubicBezTo>
                <a:cubicBezTo>
                  <a:pt x="799520" y="3353999"/>
                  <a:pt x="799520" y="3313994"/>
                  <a:pt x="799520" y="3274942"/>
                </a:cubicBezTo>
                <a:cubicBezTo>
                  <a:pt x="799520" y="3270179"/>
                  <a:pt x="800472" y="3262559"/>
                  <a:pt x="803330" y="3260654"/>
                </a:cubicBezTo>
                <a:cubicBezTo>
                  <a:pt x="818570" y="3252082"/>
                  <a:pt x="817617" y="3237794"/>
                  <a:pt x="819522" y="3223507"/>
                </a:cubicBezTo>
                <a:cubicBezTo>
                  <a:pt x="820475" y="3208267"/>
                  <a:pt x="822380" y="3193979"/>
                  <a:pt x="825237" y="3178739"/>
                </a:cubicBezTo>
                <a:cubicBezTo>
                  <a:pt x="847145" y="3057772"/>
                  <a:pt x="868100" y="2936804"/>
                  <a:pt x="903342" y="2818694"/>
                </a:cubicBezTo>
                <a:cubicBezTo>
                  <a:pt x="910010" y="2796787"/>
                  <a:pt x="915725" y="2773927"/>
                  <a:pt x="921440" y="2752019"/>
                </a:cubicBezTo>
                <a:cubicBezTo>
                  <a:pt x="923345" y="2752972"/>
                  <a:pt x="925250" y="2752972"/>
                  <a:pt x="927155" y="2753924"/>
                </a:cubicBezTo>
                <a:cubicBezTo>
                  <a:pt x="924297" y="2782499"/>
                  <a:pt x="921440" y="2810122"/>
                  <a:pt x="917630" y="2838697"/>
                </a:cubicBezTo>
                <a:cubicBezTo>
                  <a:pt x="906200" y="2923469"/>
                  <a:pt x="895722" y="3008242"/>
                  <a:pt x="899532" y="3093967"/>
                </a:cubicBezTo>
                <a:cubicBezTo>
                  <a:pt x="900485" y="3104444"/>
                  <a:pt x="903342" y="3113969"/>
                  <a:pt x="902390" y="3124447"/>
                </a:cubicBezTo>
                <a:cubicBezTo>
                  <a:pt x="900485" y="3146354"/>
                  <a:pt x="895722" y="3168262"/>
                  <a:pt x="893817" y="3190169"/>
                </a:cubicBezTo>
                <a:cubicBezTo>
                  <a:pt x="892865" y="3201599"/>
                  <a:pt x="893817" y="3213029"/>
                  <a:pt x="894770" y="3224459"/>
                </a:cubicBezTo>
                <a:cubicBezTo>
                  <a:pt x="898580" y="3258749"/>
                  <a:pt x="903342" y="3293039"/>
                  <a:pt x="905247" y="3328282"/>
                </a:cubicBezTo>
                <a:cubicBezTo>
                  <a:pt x="907152" y="3355904"/>
                  <a:pt x="904295" y="3383527"/>
                  <a:pt x="905247" y="3412102"/>
                </a:cubicBezTo>
                <a:cubicBezTo>
                  <a:pt x="908105" y="3485444"/>
                  <a:pt x="910962" y="3559739"/>
                  <a:pt x="913820" y="3633082"/>
                </a:cubicBezTo>
                <a:cubicBezTo>
                  <a:pt x="914772" y="3665467"/>
                  <a:pt x="917630" y="3697852"/>
                  <a:pt x="919535" y="3730237"/>
                </a:cubicBezTo>
                <a:cubicBezTo>
                  <a:pt x="919535" y="3740714"/>
                  <a:pt x="919535" y="3751192"/>
                  <a:pt x="916677" y="3760717"/>
                </a:cubicBezTo>
                <a:cubicBezTo>
                  <a:pt x="907152" y="3794054"/>
                  <a:pt x="897627" y="3827392"/>
                  <a:pt x="896675" y="3862634"/>
                </a:cubicBezTo>
                <a:cubicBezTo>
                  <a:pt x="894770" y="3919784"/>
                  <a:pt x="887150" y="3975982"/>
                  <a:pt x="883340" y="4033132"/>
                </a:cubicBezTo>
                <a:cubicBezTo>
                  <a:pt x="879530" y="4090282"/>
                  <a:pt x="874767" y="4147432"/>
                  <a:pt x="855717" y="4201724"/>
                </a:cubicBezTo>
                <a:cubicBezTo>
                  <a:pt x="845240" y="4233157"/>
                  <a:pt x="850955" y="4246492"/>
                  <a:pt x="880482" y="4262684"/>
                </a:cubicBezTo>
                <a:cubicBezTo>
                  <a:pt x="898580" y="4272209"/>
                  <a:pt x="917630" y="4279829"/>
                  <a:pt x="936680" y="4289354"/>
                </a:cubicBezTo>
                <a:cubicBezTo>
                  <a:pt x="950015" y="4296022"/>
                  <a:pt x="964302" y="4299832"/>
                  <a:pt x="979542" y="4295069"/>
                </a:cubicBezTo>
                <a:cubicBezTo>
                  <a:pt x="993830" y="4290307"/>
                  <a:pt x="1007165" y="4294117"/>
                  <a:pt x="1015737" y="4306499"/>
                </a:cubicBezTo>
                <a:cubicBezTo>
                  <a:pt x="1023357" y="4316977"/>
                  <a:pt x="1030977" y="4329359"/>
                  <a:pt x="1038597" y="4339837"/>
                </a:cubicBezTo>
                <a:cubicBezTo>
                  <a:pt x="1044312" y="4347457"/>
                  <a:pt x="1050980" y="4357934"/>
                  <a:pt x="1059552" y="4361744"/>
                </a:cubicBezTo>
                <a:cubicBezTo>
                  <a:pt x="1093842" y="4379842"/>
                  <a:pt x="1131942" y="4389367"/>
                  <a:pt x="1170995" y="4391272"/>
                </a:cubicBezTo>
                <a:cubicBezTo>
                  <a:pt x="1208142" y="4393177"/>
                  <a:pt x="1246242" y="4391272"/>
                  <a:pt x="1283390" y="4390319"/>
                </a:cubicBezTo>
                <a:cubicBezTo>
                  <a:pt x="1295772" y="4390319"/>
                  <a:pt x="1309107" y="4387462"/>
                  <a:pt x="1321490" y="4385557"/>
                </a:cubicBezTo>
                <a:cubicBezTo>
                  <a:pt x="1336730" y="4382699"/>
                  <a:pt x="1342445" y="4370317"/>
                  <a:pt x="1333872" y="4358887"/>
                </a:cubicBezTo>
                <a:cubicBezTo>
                  <a:pt x="1325300" y="4348409"/>
                  <a:pt x="1323395" y="4336027"/>
                  <a:pt x="1317680" y="4324597"/>
                </a:cubicBezTo>
                <a:cubicBezTo>
                  <a:pt x="1312917" y="4314119"/>
                  <a:pt x="1306250" y="4304594"/>
                  <a:pt x="1297677" y="4296974"/>
                </a:cubicBezTo>
                <a:cubicBezTo>
                  <a:pt x="1286247" y="4286497"/>
                  <a:pt x="1273865" y="4274114"/>
                  <a:pt x="1258625" y="4268399"/>
                </a:cubicBezTo>
                <a:cubicBezTo>
                  <a:pt x="1228145" y="4256017"/>
                  <a:pt x="1207190" y="4235062"/>
                  <a:pt x="1196712" y="4203629"/>
                </a:cubicBezTo>
                <a:cubicBezTo>
                  <a:pt x="1196712" y="4202677"/>
                  <a:pt x="1195760" y="4202677"/>
                  <a:pt x="1195760" y="4201724"/>
                </a:cubicBezTo>
                <a:cubicBezTo>
                  <a:pt x="1188140" y="4180769"/>
                  <a:pt x="1179567" y="4159814"/>
                  <a:pt x="1173852" y="4137907"/>
                </a:cubicBezTo>
                <a:cubicBezTo>
                  <a:pt x="1167185" y="4113142"/>
                  <a:pt x="1165280" y="4087424"/>
                  <a:pt x="1159565" y="4061707"/>
                </a:cubicBezTo>
                <a:cubicBezTo>
                  <a:pt x="1154802" y="4041704"/>
                  <a:pt x="1151945" y="4021702"/>
                  <a:pt x="1165280" y="4002652"/>
                </a:cubicBezTo>
                <a:cubicBezTo>
                  <a:pt x="1170995" y="3994079"/>
                  <a:pt x="1170995" y="3981697"/>
                  <a:pt x="1172900" y="3971219"/>
                </a:cubicBezTo>
                <a:cubicBezTo>
                  <a:pt x="1177662" y="3938834"/>
                  <a:pt x="1181472" y="3907402"/>
                  <a:pt x="1185282" y="3875017"/>
                </a:cubicBezTo>
                <a:cubicBezTo>
                  <a:pt x="1188140" y="3853109"/>
                  <a:pt x="1192902" y="3830249"/>
                  <a:pt x="1194807" y="3808342"/>
                </a:cubicBezTo>
                <a:cubicBezTo>
                  <a:pt x="1198617" y="3763574"/>
                  <a:pt x="1201475" y="3719759"/>
                  <a:pt x="1204332" y="3674992"/>
                </a:cubicBezTo>
                <a:cubicBezTo>
                  <a:pt x="1204332" y="3670229"/>
                  <a:pt x="1205285" y="3666419"/>
                  <a:pt x="1206237" y="3661657"/>
                </a:cubicBezTo>
                <a:cubicBezTo>
                  <a:pt x="1216715" y="3607364"/>
                  <a:pt x="1222430" y="3553072"/>
                  <a:pt x="1226240" y="3498779"/>
                </a:cubicBezTo>
                <a:cubicBezTo>
                  <a:pt x="1227192" y="3477824"/>
                  <a:pt x="1230050" y="3457822"/>
                  <a:pt x="1231002" y="3436867"/>
                </a:cubicBezTo>
                <a:cubicBezTo>
                  <a:pt x="1231955" y="3428294"/>
                  <a:pt x="1231002" y="3419722"/>
                  <a:pt x="1230050" y="3412102"/>
                </a:cubicBezTo>
                <a:cubicBezTo>
                  <a:pt x="1229097" y="3399719"/>
                  <a:pt x="1225287" y="3386384"/>
                  <a:pt x="1225287" y="3374002"/>
                </a:cubicBezTo>
                <a:cubicBezTo>
                  <a:pt x="1224335" y="3347332"/>
                  <a:pt x="1224335" y="3320662"/>
                  <a:pt x="1225287" y="3293992"/>
                </a:cubicBezTo>
                <a:cubicBezTo>
                  <a:pt x="1226240" y="3280657"/>
                  <a:pt x="1229097" y="3267322"/>
                  <a:pt x="1231955" y="3253987"/>
                </a:cubicBezTo>
                <a:cubicBezTo>
                  <a:pt x="1233860" y="3243509"/>
                  <a:pt x="1238622" y="3233032"/>
                  <a:pt x="1239575" y="3222554"/>
                </a:cubicBezTo>
                <a:cubicBezTo>
                  <a:pt x="1243385" y="3188264"/>
                  <a:pt x="1245290" y="3154927"/>
                  <a:pt x="1248147" y="3120637"/>
                </a:cubicBezTo>
                <a:cubicBezTo>
                  <a:pt x="1248147" y="3116827"/>
                  <a:pt x="1249100" y="3113017"/>
                  <a:pt x="1250052" y="3109207"/>
                </a:cubicBezTo>
                <a:cubicBezTo>
                  <a:pt x="1254815" y="3079679"/>
                  <a:pt x="1258625" y="3049199"/>
                  <a:pt x="1263387" y="3019672"/>
                </a:cubicBezTo>
                <a:cubicBezTo>
                  <a:pt x="1267197" y="2996812"/>
                  <a:pt x="1270055" y="2973952"/>
                  <a:pt x="1274817" y="2951092"/>
                </a:cubicBezTo>
                <a:cubicBezTo>
                  <a:pt x="1279580" y="2928232"/>
                  <a:pt x="1288152" y="2906324"/>
                  <a:pt x="1287200" y="2882512"/>
                </a:cubicBezTo>
                <a:cubicBezTo>
                  <a:pt x="1287200" y="2875844"/>
                  <a:pt x="1288152" y="2868224"/>
                  <a:pt x="1289105" y="2861557"/>
                </a:cubicBezTo>
                <a:cubicBezTo>
                  <a:pt x="1293867" y="2829172"/>
                  <a:pt x="1297677" y="2796787"/>
                  <a:pt x="1302440" y="2764402"/>
                </a:cubicBezTo>
                <a:cubicBezTo>
                  <a:pt x="1304345" y="2752019"/>
                  <a:pt x="1306250" y="2740589"/>
                  <a:pt x="1308155" y="2728207"/>
                </a:cubicBezTo>
                <a:cubicBezTo>
                  <a:pt x="1311012" y="2710109"/>
                  <a:pt x="1315775" y="2692012"/>
                  <a:pt x="1317680" y="2672962"/>
                </a:cubicBezTo>
                <a:cubicBezTo>
                  <a:pt x="1322442" y="2634862"/>
                  <a:pt x="1332920" y="2596762"/>
                  <a:pt x="1328157" y="2557709"/>
                </a:cubicBezTo>
                <a:cubicBezTo>
                  <a:pt x="1328157" y="2556757"/>
                  <a:pt x="1328157" y="2554852"/>
                  <a:pt x="1329110" y="2553899"/>
                </a:cubicBezTo>
                <a:cubicBezTo>
                  <a:pt x="1330062" y="2542469"/>
                  <a:pt x="1336730" y="2536754"/>
                  <a:pt x="1348160" y="2535802"/>
                </a:cubicBezTo>
                <a:cubicBezTo>
                  <a:pt x="1384355" y="2531992"/>
                  <a:pt x="1416740" y="2517704"/>
                  <a:pt x="1445315" y="2494844"/>
                </a:cubicBezTo>
                <a:cubicBezTo>
                  <a:pt x="1463412" y="2480557"/>
                  <a:pt x="1479605" y="2465317"/>
                  <a:pt x="1474842" y="2438647"/>
                </a:cubicBezTo>
                <a:cubicBezTo>
                  <a:pt x="1471985" y="2422454"/>
                  <a:pt x="1471985" y="2405309"/>
                  <a:pt x="1470080" y="2388164"/>
                </a:cubicBezTo>
                <a:cubicBezTo>
                  <a:pt x="1469127" y="2375782"/>
                  <a:pt x="1468175" y="2363399"/>
                  <a:pt x="1468175" y="2351017"/>
                </a:cubicBezTo>
                <a:cubicBezTo>
                  <a:pt x="1465317" y="2232907"/>
                  <a:pt x="1472937" y="2115749"/>
                  <a:pt x="1460555" y="1997639"/>
                </a:cubicBezTo>
                <a:cubicBezTo>
                  <a:pt x="1459602" y="1990972"/>
                  <a:pt x="1460555" y="1983352"/>
                  <a:pt x="1460555" y="1976684"/>
                </a:cubicBezTo>
                <a:cubicBezTo>
                  <a:pt x="1460555" y="1966207"/>
                  <a:pt x="1463412" y="1957634"/>
                  <a:pt x="1471985" y="1951919"/>
                </a:cubicBezTo>
                <a:cubicBezTo>
                  <a:pt x="1483415" y="1943347"/>
                  <a:pt x="1491987" y="1932869"/>
                  <a:pt x="1495797" y="1918582"/>
                </a:cubicBezTo>
                <a:cubicBezTo>
                  <a:pt x="1499607" y="1906199"/>
                  <a:pt x="1507227" y="1895722"/>
                  <a:pt x="1513895" y="1884292"/>
                </a:cubicBezTo>
                <a:cubicBezTo>
                  <a:pt x="1533897" y="1853812"/>
                  <a:pt x="1554852" y="1825237"/>
                  <a:pt x="1573902" y="1793804"/>
                </a:cubicBezTo>
                <a:cubicBezTo>
                  <a:pt x="1584380" y="1776659"/>
                  <a:pt x="1590095" y="1757609"/>
                  <a:pt x="1599620" y="1739512"/>
                </a:cubicBezTo>
                <a:cubicBezTo>
                  <a:pt x="1631052" y="1679504"/>
                  <a:pt x="1663437" y="1621402"/>
                  <a:pt x="1692965" y="1561394"/>
                </a:cubicBezTo>
                <a:cubicBezTo>
                  <a:pt x="1703442" y="1539487"/>
                  <a:pt x="1712967" y="1515674"/>
                  <a:pt x="1714872" y="1491862"/>
                </a:cubicBezTo>
                <a:cubicBezTo>
                  <a:pt x="1716777" y="1463287"/>
                  <a:pt x="1723445" y="1435664"/>
                  <a:pt x="1729160" y="1408042"/>
                </a:cubicBezTo>
                <a:cubicBezTo>
                  <a:pt x="1737732" y="1383277"/>
                  <a:pt x="1743447" y="1357559"/>
                  <a:pt x="1732970" y="1329937"/>
                </a:cubicBezTo>
                <a:close/>
                <a:moveTo>
                  <a:pt x="373752" y="1452809"/>
                </a:moveTo>
                <a:cubicBezTo>
                  <a:pt x="373752" y="1455667"/>
                  <a:pt x="368990" y="1457572"/>
                  <a:pt x="367085" y="1460429"/>
                </a:cubicBezTo>
                <a:cubicBezTo>
                  <a:pt x="365180" y="1458524"/>
                  <a:pt x="361370" y="1455667"/>
                  <a:pt x="361370" y="1453762"/>
                </a:cubicBezTo>
                <a:cubicBezTo>
                  <a:pt x="358512" y="1418519"/>
                  <a:pt x="334700" y="1394707"/>
                  <a:pt x="319460" y="1365179"/>
                </a:cubicBezTo>
                <a:cubicBezTo>
                  <a:pt x="317555" y="1360417"/>
                  <a:pt x="313745" y="1356607"/>
                  <a:pt x="310887" y="1351844"/>
                </a:cubicBezTo>
                <a:cubicBezTo>
                  <a:pt x="307077" y="1346129"/>
                  <a:pt x="307077" y="1340414"/>
                  <a:pt x="311840" y="1334699"/>
                </a:cubicBezTo>
                <a:cubicBezTo>
                  <a:pt x="322317" y="1322317"/>
                  <a:pt x="331842" y="1309934"/>
                  <a:pt x="343272" y="1297552"/>
                </a:cubicBezTo>
                <a:cubicBezTo>
                  <a:pt x="354702" y="1285169"/>
                  <a:pt x="360417" y="1285169"/>
                  <a:pt x="367085" y="1301362"/>
                </a:cubicBezTo>
                <a:cubicBezTo>
                  <a:pt x="372800" y="1315649"/>
                  <a:pt x="375657" y="1331842"/>
                  <a:pt x="377562" y="1348034"/>
                </a:cubicBezTo>
                <a:cubicBezTo>
                  <a:pt x="379467" y="1358512"/>
                  <a:pt x="377562" y="1369942"/>
                  <a:pt x="377562" y="1381372"/>
                </a:cubicBezTo>
                <a:cubicBezTo>
                  <a:pt x="378515" y="1381372"/>
                  <a:pt x="379467" y="1381372"/>
                  <a:pt x="381372" y="1381372"/>
                </a:cubicBezTo>
                <a:cubicBezTo>
                  <a:pt x="378515" y="1404232"/>
                  <a:pt x="376610" y="1428044"/>
                  <a:pt x="373752" y="1452809"/>
                </a:cubicBezTo>
                <a:close/>
                <a:moveTo>
                  <a:pt x="575682" y="1686172"/>
                </a:moveTo>
                <a:cubicBezTo>
                  <a:pt x="570920" y="1693792"/>
                  <a:pt x="565205" y="1700459"/>
                  <a:pt x="559490" y="1708079"/>
                </a:cubicBezTo>
                <a:cubicBezTo>
                  <a:pt x="532820" y="1744274"/>
                  <a:pt x="506150" y="1781422"/>
                  <a:pt x="480432" y="1817617"/>
                </a:cubicBezTo>
                <a:cubicBezTo>
                  <a:pt x="477575" y="1821427"/>
                  <a:pt x="477575" y="1828094"/>
                  <a:pt x="476622" y="1834762"/>
                </a:cubicBezTo>
                <a:cubicBezTo>
                  <a:pt x="465192" y="1832857"/>
                  <a:pt x="453762" y="1830952"/>
                  <a:pt x="437570" y="1828094"/>
                </a:cubicBezTo>
                <a:cubicBezTo>
                  <a:pt x="449000" y="1814759"/>
                  <a:pt x="457572" y="1803329"/>
                  <a:pt x="466145" y="1792852"/>
                </a:cubicBezTo>
                <a:cubicBezTo>
                  <a:pt x="496625" y="1757609"/>
                  <a:pt x="527105" y="1723319"/>
                  <a:pt x="557585" y="1688077"/>
                </a:cubicBezTo>
                <a:cubicBezTo>
                  <a:pt x="560442" y="1684267"/>
                  <a:pt x="564252" y="1681409"/>
                  <a:pt x="567110" y="1678552"/>
                </a:cubicBezTo>
                <a:cubicBezTo>
                  <a:pt x="569015" y="1677599"/>
                  <a:pt x="572825" y="1677599"/>
                  <a:pt x="573777" y="1678552"/>
                </a:cubicBezTo>
                <a:cubicBezTo>
                  <a:pt x="575682" y="1680457"/>
                  <a:pt x="576635" y="1685219"/>
                  <a:pt x="575682" y="1686172"/>
                </a:cubicBezTo>
                <a:close/>
                <a:moveTo>
                  <a:pt x="889055" y="1877624"/>
                </a:moveTo>
                <a:cubicBezTo>
                  <a:pt x="889055" y="1874767"/>
                  <a:pt x="889055" y="1872862"/>
                  <a:pt x="890007" y="1871909"/>
                </a:cubicBezTo>
                <a:cubicBezTo>
                  <a:pt x="907152" y="1852859"/>
                  <a:pt x="907152" y="1849049"/>
                  <a:pt x="887150" y="1834762"/>
                </a:cubicBezTo>
                <a:cubicBezTo>
                  <a:pt x="854765" y="1812854"/>
                  <a:pt x="824285" y="1789042"/>
                  <a:pt x="789995" y="1769992"/>
                </a:cubicBezTo>
                <a:cubicBezTo>
                  <a:pt x="757610" y="1752847"/>
                  <a:pt x="722367" y="1741417"/>
                  <a:pt x="689030" y="1727129"/>
                </a:cubicBezTo>
                <a:cubicBezTo>
                  <a:pt x="677600" y="1722367"/>
                  <a:pt x="666170" y="1718557"/>
                  <a:pt x="655692" y="1712842"/>
                </a:cubicBezTo>
                <a:cubicBezTo>
                  <a:pt x="638547" y="1704269"/>
                  <a:pt x="621402" y="1693792"/>
                  <a:pt x="604257" y="1685219"/>
                </a:cubicBezTo>
                <a:cubicBezTo>
                  <a:pt x="586160" y="1675694"/>
                  <a:pt x="585207" y="1648072"/>
                  <a:pt x="602352" y="1636642"/>
                </a:cubicBezTo>
                <a:cubicBezTo>
                  <a:pt x="608067" y="1632832"/>
                  <a:pt x="614735" y="1630927"/>
                  <a:pt x="618545" y="1626164"/>
                </a:cubicBezTo>
                <a:cubicBezTo>
                  <a:pt x="623307" y="1621402"/>
                  <a:pt x="625212" y="1614734"/>
                  <a:pt x="628070" y="1608067"/>
                </a:cubicBezTo>
                <a:cubicBezTo>
                  <a:pt x="631880" y="1599494"/>
                  <a:pt x="632832" y="1589017"/>
                  <a:pt x="637595" y="1581397"/>
                </a:cubicBezTo>
                <a:cubicBezTo>
                  <a:pt x="658550" y="1549012"/>
                  <a:pt x="683315" y="1519484"/>
                  <a:pt x="711890" y="1492814"/>
                </a:cubicBezTo>
                <a:cubicBezTo>
                  <a:pt x="749990" y="1455667"/>
                  <a:pt x="771897" y="1408042"/>
                  <a:pt x="788090" y="1357559"/>
                </a:cubicBezTo>
                <a:cubicBezTo>
                  <a:pt x="812855" y="1278502"/>
                  <a:pt x="823332" y="1197539"/>
                  <a:pt x="821427" y="1114672"/>
                </a:cubicBezTo>
                <a:cubicBezTo>
                  <a:pt x="819522" y="1039424"/>
                  <a:pt x="820475" y="964177"/>
                  <a:pt x="819522" y="889882"/>
                </a:cubicBezTo>
                <a:cubicBezTo>
                  <a:pt x="818570" y="839399"/>
                  <a:pt x="815712" y="788917"/>
                  <a:pt x="813807" y="738434"/>
                </a:cubicBezTo>
                <a:cubicBezTo>
                  <a:pt x="813807" y="732719"/>
                  <a:pt x="813807" y="726052"/>
                  <a:pt x="813807" y="720337"/>
                </a:cubicBezTo>
                <a:cubicBezTo>
                  <a:pt x="815712" y="719384"/>
                  <a:pt x="817617" y="719384"/>
                  <a:pt x="818570" y="718432"/>
                </a:cubicBezTo>
                <a:cubicBezTo>
                  <a:pt x="833810" y="750817"/>
                  <a:pt x="848097" y="783202"/>
                  <a:pt x="863337" y="815587"/>
                </a:cubicBezTo>
                <a:cubicBezTo>
                  <a:pt x="864290" y="815587"/>
                  <a:pt x="865242" y="814634"/>
                  <a:pt x="866195" y="814634"/>
                </a:cubicBezTo>
                <a:cubicBezTo>
                  <a:pt x="860480" y="800347"/>
                  <a:pt x="853812" y="786059"/>
                  <a:pt x="848097" y="771772"/>
                </a:cubicBezTo>
                <a:cubicBezTo>
                  <a:pt x="841430" y="756532"/>
                  <a:pt x="836667" y="741292"/>
                  <a:pt x="828095" y="727004"/>
                </a:cubicBezTo>
                <a:cubicBezTo>
                  <a:pt x="809045" y="692714"/>
                  <a:pt x="809997" y="654614"/>
                  <a:pt x="810950" y="617467"/>
                </a:cubicBezTo>
                <a:cubicBezTo>
                  <a:pt x="810950" y="605084"/>
                  <a:pt x="811902" y="592702"/>
                  <a:pt x="812855" y="580319"/>
                </a:cubicBezTo>
                <a:cubicBezTo>
                  <a:pt x="813807" y="571747"/>
                  <a:pt x="815712" y="564127"/>
                  <a:pt x="816665" y="556507"/>
                </a:cubicBezTo>
                <a:cubicBezTo>
                  <a:pt x="818570" y="555554"/>
                  <a:pt x="819522" y="555554"/>
                  <a:pt x="821427" y="554602"/>
                </a:cubicBezTo>
                <a:cubicBezTo>
                  <a:pt x="832857" y="567937"/>
                  <a:pt x="844287" y="581272"/>
                  <a:pt x="856670" y="594607"/>
                </a:cubicBezTo>
                <a:cubicBezTo>
                  <a:pt x="872862" y="613657"/>
                  <a:pt x="887150" y="635564"/>
                  <a:pt x="913820" y="638422"/>
                </a:cubicBezTo>
                <a:cubicBezTo>
                  <a:pt x="942395" y="642232"/>
                  <a:pt x="956682" y="661282"/>
                  <a:pt x="974780" y="679379"/>
                </a:cubicBezTo>
                <a:cubicBezTo>
                  <a:pt x="981447" y="686047"/>
                  <a:pt x="984305" y="689857"/>
                  <a:pt x="973827" y="696524"/>
                </a:cubicBezTo>
                <a:cubicBezTo>
                  <a:pt x="964302" y="702239"/>
                  <a:pt x="956682" y="711764"/>
                  <a:pt x="950015" y="721289"/>
                </a:cubicBezTo>
                <a:cubicBezTo>
                  <a:pt x="931917" y="746054"/>
                  <a:pt x="914772" y="770819"/>
                  <a:pt x="899532" y="797489"/>
                </a:cubicBezTo>
                <a:cubicBezTo>
                  <a:pt x="910010" y="785107"/>
                  <a:pt x="920487" y="772724"/>
                  <a:pt x="930012" y="759389"/>
                </a:cubicBezTo>
                <a:cubicBezTo>
                  <a:pt x="935727" y="751769"/>
                  <a:pt x="939537" y="749864"/>
                  <a:pt x="945252" y="759389"/>
                </a:cubicBezTo>
                <a:cubicBezTo>
                  <a:pt x="952872" y="771772"/>
                  <a:pt x="961445" y="784154"/>
                  <a:pt x="954777" y="800347"/>
                </a:cubicBezTo>
                <a:cubicBezTo>
                  <a:pt x="913820" y="910837"/>
                  <a:pt x="909057" y="1026089"/>
                  <a:pt x="910962" y="1142294"/>
                </a:cubicBezTo>
                <a:cubicBezTo>
                  <a:pt x="913820" y="1260404"/>
                  <a:pt x="913820" y="1377562"/>
                  <a:pt x="917630" y="1495672"/>
                </a:cubicBezTo>
                <a:cubicBezTo>
                  <a:pt x="920487" y="1589017"/>
                  <a:pt x="924297" y="1683314"/>
                  <a:pt x="929060" y="1776659"/>
                </a:cubicBezTo>
                <a:cubicBezTo>
                  <a:pt x="929060" y="1785232"/>
                  <a:pt x="932870" y="1796662"/>
                  <a:pt x="938585" y="1802377"/>
                </a:cubicBezTo>
                <a:cubicBezTo>
                  <a:pt x="967160" y="1833809"/>
                  <a:pt x="996687" y="1865242"/>
                  <a:pt x="1026215" y="1895722"/>
                </a:cubicBezTo>
                <a:cubicBezTo>
                  <a:pt x="1030025" y="1899532"/>
                  <a:pt x="1033835" y="1903342"/>
                  <a:pt x="1036692" y="1909057"/>
                </a:cubicBezTo>
                <a:cubicBezTo>
                  <a:pt x="983352" y="1909057"/>
                  <a:pt x="935727" y="1897627"/>
                  <a:pt x="889055" y="1877624"/>
                </a:cubicBezTo>
                <a:close/>
                <a:moveTo>
                  <a:pt x="1279580" y="1673789"/>
                </a:moveTo>
                <a:cubicBezTo>
                  <a:pt x="1278627" y="1698554"/>
                  <a:pt x="1274817" y="1723319"/>
                  <a:pt x="1275770" y="1747132"/>
                </a:cubicBezTo>
                <a:cubicBezTo>
                  <a:pt x="1275770" y="1771897"/>
                  <a:pt x="1267197" y="1791899"/>
                  <a:pt x="1250052" y="1809044"/>
                </a:cubicBezTo>
                <a:cubicBezTo>
                  <a:pt x="1229097" y="1829047"/>
                  <a:pt x="1208142" y="1850002"/>
                  <a:pt x="1188140" y="1870004"/>
                </a:cubicBezTo>
                <a:cubicBezTo>
                  <a:pt x="1177662" y="1880482"/>
                  <a:pt x="1170042" y="1891912"/>
                  <a:pt x="1170042" y="1907152"/>
                </a:cubicBezTo>
                <a:cubicBezTo>
                  <a:pt x="1170042" y="1911914"/>
                  <a:pt x="1165280" y="1917629"/>
                  <a:pt x="1160517" y="1919534"/>
                </a:cubicBezTo>
                <a:cubicBezTo>
                  <a:pt x="1154802" y="1922392"/>
                  <a:pt x="1148135" y="1925249"/>
                  <a:pt x="1142420" y="1924297"/>
                </a:cubicBezTo>
                <a:cubicBezTo>
                  <a:pt x="1110987" y="1922392"/>
                  <a:pt x="1079555" y="1919534"/>
                  <a:pt x="1045265" y="1916677"/>
                </a:cubicBezTo>
                <a:cubicBezTo>
                  <a:pt x="1049075" y="1910009"/>
                  <a:pt x="1050980" y="1905247"/>
                  <a:pt x="1053837" y="1901437"/>
                </a:cubicBezTo>
                <a:cubicBezTo>
                  <a:pt x="1079555" y="1868099"/>
                  <a:pt x="1106225" y="1835714"/>
                  <a:pt x="1132895" y="1803329"/>
                </a:cubicBezTo>
                <a:cubicBezTo>
                  <a:pt x="1140515" y="1793804"/>
                  <a:pt x="1144325" y="1784279"/>
                  <a:pt x="1143372" y="1770944"/>
                </a:cubicBezTo>
                <a:cubicBezTo>
                  <a:pt x="1141467" y="1735702"/>
                  <a:pt x="1139562" y="1701412"/>
                  <a:pt x="1137657" y="1666169"/>
                </a:cubicBezTo>
                <a:cubicBezTo>
                  <a:pt x="1134800" y="1612829"/>
                  <a:pt x="1133847" y="1558537"/>
                  <a:pt x="1130037" y="1505197"/>
                </a:cubicBezTo>
                <a:cubicBezTo>
                  <a:pt x="1126227" y="1435664"/>
                  <a:pt x="1121465" y="1366132"/>
                  <a:pt x="1115750" y="1296599"/>
                </a:cubicBezTo>
                <a:cubicBezTo>
                  <a:pt x="1110035" y="1228019"/>
                  <a:pt x="1103367" y="1160392"/>
                  <a:pt x="1094795" y="1091812"/>
                </a:cubicBezTo>
                <a:cubicBezTo>
                  <a:pt x="1084317" y="1006087"/>
                  <a:pt x="1071935" y="920362"/>
                  <a:pt x="1037645" y="839399"/>
                </a:cubicBezTo>
                <a:cubicBezTo>
                  <a:pt x="1029072" y="820349"/>
                  <a:pt x="1024310" y="800347"/>
                  <a:pt x="1019547" y="780344"/>
                </a:cubicBezTo>
                <a:cubicBezTo>
                  <a:pt x="1018595" y="774629"/>
                  <a:pt x="1020500" y="767009"/>
                  <a:pt x="1024310" y="761294"/>
                </a:cubicBezTo>
                <a:cubicBezTo>
                  <a:pt x="1028120" y="755579"/>
                  <a:pt x="1034787" y="751769"/>
                  <a:pt x="1042407" y="744149"/>
                </a:cubicBezTo>
                <a:cubicBezTo>
                  <a:pt x="1051932" y="766057"/>
                  <a:pt x="1060505" y="785107"/>
                  <a:pt x="1069077" y="806062"/>
                </a:cubicBezTo>
                <a:cubicBezTo>
                  <a:pt x="1065267" y="773677"/>
                  <a:pt x="1037645" y="721289"/>
                  <a:pt x="1014785" y="699382"/>
                </a:cubicBezTo>
                <a:cubicBezTo>
                  <a:pt x="1003355" y="688904"/>
                  <a:pt x="1003355" y="687952"/>
                  <a:pt x="1015737" y="677474"/>
                </a:cubicBezTo>
                <a:cubicBezTo>
                  <a:pt x="1033835" y="662234"/>
                  <a:pt x="1051932" y="647947"/>
                  <a:pt x="1068125" y="631754"/>
                </a:cubicBezTo>
                <a:cubicBezTo>
                  <a:pt x="1084317" y="615562"/>
                  <a:pt x="1095747" y="596512"/>
                  <a:pt x="1096700" y="571747"/>
                </a:cubicBezTo>
                <a:cubicBezTo>
                  <a:pt x="1096700" y="565079"/>
                  <a:pt x="1099557" y="559364"/>
                  <a:pt x="1102415" y="552697"/>
                </a:cubicBezTo>
                <a:cubicBezTo>
                  <a:pt x="1111940" y="569842"/>
                  <a:pt x="1122417" y="586987"/>
                  <a:pt x="1120512" y="606989"/>
                </a:cubicBezTo>
                <a:cubicBezTo>
                  <a:pt x="1116702" y="651757"/>
                  <a:pt x="1111940" y="697477"/>
                  <a:pt x="1107177" y="742244"/>
                </a:cubicBezTo>
                <a:cubicBezTo>
                  <a:pt x="1106225" y="748912"/>
                  <a:pt x="1105272" y="754627"/>
                  <a:pt x="1108130" y="761294"/>
                </a:cubicBezTo>
                <a:cubicBezTo>
                  <a:pt x="1114797" y="714622"/>
                  <a:pt x="1120512" y="667949"/>
                  <a:pt x="1127180" y="621277"/>
                </a:cubicBezTo>
                <a:cubicBezTo>
                  <a:pt x="1150992" y="690809"/>
                  <a:pt x="1176710" y="758437"/>
                  <a:pt x="1187187" y="829874"/>
                </a:cubicBezTo>
                <a:cubicBezTo>
                  <a:pt x="1194807" y="886072"/>
                  <a:pt x="1212905" y="939412"/>
                  <a:pt x="1228145" y="993704"/>
                </a:cubicBezTo>
                <a:cubicBezTo>
                  <a:pt x="1240527" y="1037519"/>
                  <a:pt x="1247195" y="1082287"/>
                  <a:pt x="1246242" y="1128007"/>
                </a:cubicBezTo>
                <a:cubicBezTo>
                  <a:pt x="1244337" y="1207064"/>
                  <a:pt x="1252910" y="1285169"/>
                  <a:pt x="1270055" y="1363274"/>
                </a:cubicBezTo>
                <a:cubicBezTo>
                  <a:pt x="1274817" y="1384229"/>
                  <a:pt x="1274817" y="1405184"/>
                  <a:pt x="1276722" y="1427092"/>
                </a:cubicBezTo>
                <a:cubicBezTo>
                  <a:pt x="1279580" y="1463287"/>
                  <a:pt x="1284342" y="1499482"/>
                  <a:pt x="1284342" y="1534724"/>
                </a:cubicBezTo>
                <a:cubicBezTo>
                  <a:pt x="1284342" y="1581397"/>
                  <a:pt x="1281485" y="1628069"/>
                  <a:pt x="1279580" y="1673789"/>
                </a:cubicBezTo>
                <a:close/>
                <a:moveTo>
                  <a:pt x="1437695" y="1289932"/>
                </a:moveTo>
                <a:cubicBezTo>
                  <a:pt x="1439600" y="1289932"/>
                  <a:pt x="1440552" y="1288979"/>
                  <a:pt x="1442457" y="1288979"/>
                </a:cubicBezTo>
                <a:cubicBezTo>
                  <a:pt x="1444362" y="1292789"/>
                  <a:pt x="1446267" y="1296599"/>
                  <a:pt x="1447220" y="1300409"/>
                </a:cubicBezTo>
                <a:cubicBezTo>
                  <a:pt x="1448172" y="1308982"/>
                  <a:pt x="1448172" y="1318507"/>
                  <a:pt x="1448172" y="1327079"/>
                </a:cubicBezTo>
                <a:cubicBezTo>
                  <a:pt x="1446267" y="1352797"/>
                  <a:pt x="1451030" y="1375657"/>
                  <a:pt x="1470080" y="1394707"/>
                </a:cubicBezTo>
                <a:cubicBezTo>
                  <a:pt x="1481510" y="1406137"/>
                  <a:pt x="1481510" y="1418519"/>
                  <a:pt x="1476747" y="1433759"/>
                </a:cubicBezTo>
                <a:cubicBezTo>
                  <a:pt x="1469127" y="1457572"/>
                  <a:pt x="1453887" y="1476622"/>
                  <a:pt x="1439600" y="1497577"/>
                </a:cubicBezTo>
                <a:cubicBezTo>
                  <a:pt x="1431980" y="1428044"/>
                  <a:pt x="1431027" y="1359464"/>
                  <a:pt x="1437695" y="1289932"/>
                </a:cubicBezTo>
                <a:close/>
                <a:moveTo>
                  <a:pt x="1475795" y="1882387"/>
                </a:moveTo>
                <a:cubicBezTo>
                  <a:pt x="1468175" y="1887149"/>
                  <a:pt x="1465317" y="1880482"/>
                  <a:pt x="1462460" y="1874767"/>
                </a:cubicBezTo>
                <a:cubicBezTo>
                  <a:pt x="1438647" y="1833809"/>
                  <a:pt x="1411977" y="1796662"/>
                  <a:pt x="1371972" y="1769992"/>
                </a:cubicBezTo>
                <a:cubicBezTo>
                  <a:pt x="1360542" y="1762372"/>
                  <a:pt x="1348160" y="1756657"/>
                  <a:pt x="1336730" y="1750942"/>
                </a:cubicBezTo>
                <a:cubicBezTo>
                  <a:pt x="1331015" y="1748084"/>
                  <a:pt x="1325300" y="1746179"/>
                  <a:pt x="1319585" y="1744274"/>
                </a:cubicBezTo>
                <a:cubicBezTo>
                  <a:pt x="1319585" y="1742369"/>
                  <a:pt x="1320537" y="1740464"/>
                  <a:pt x="1320537" y="1738559"/>
                </a:cubicBezTo>
                <a:cubicBezTo>
                  <a:pt x="1326252" y="1739512"/>
                  <a:pt x="1331967" y="1738559"/>
                  <a:pt x="1337682" y="1740464"/>
                </a:cubicBezTo>
                <a:cubicBezTo>
                  <a:pt x="1367210" y="1749989"/>
                  <a:pt x="1395785" y="1762372"/>
                  <a:pt x="1416740" y="1788089"/>
                </a:cubicBezTo>
                <a:cubicBezTo>
                  <a:pt x="1434837" y="1809997"/>
                  <a:pt x="1454840" y="1831904"/>
                  <a:pt x="1473890" y="1853812"/>
                </a:cubicBezTo>
                <a:cubicBezTo>
                  <a:pt x="1476747" y="1857622"/>
                  <a:pt x="1478652" y="1861432"/>
                  <a:pt x="1480557" y="1865242"/>
                </a:cubicBezTo>
                <a:cubicBezTo>
                  <a:pt x="1483415" y="1872862"/>
                  <a:pt x="1482462" y="1878577"/>
                  <a:pt x="1475795" y="1882387"/>
                </a:cubicBezTo>
                <a:close/>
              </a:path>
            </a:pathLst>
          </a:custGeom>
          <a:solidFill>
            <a:schemeClr val="accent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50" name="Freeform 3">
            <a:extLst>
              <a:ext uri="{FF2B5EF4-FFF2-40B4-BE49-F238E27FC236}">
                <a16:creationId xmlns="" xmlns:a16="http://schemas.microsoft.com/office/drawing/2014/main" id="{5FE5C471-86EF-4BDA-A279-588BB8713865}"/>
              </a:ext>
            </a:extLst>
          </p:cNvPr>
          <p:cNvSpPr/>
          <p:nvPr/>
        </p:nvSpPr>
        <p:spPr>
          <a:xfrm flipH="1">
            <a:off x="6502859" y="3534149"/>
            <a:ext cx="773572" cy="1064987"/>
          </a:xfrm>
          <a:custGeom>
            <a:avLst/>
            <a:gdLst>
              <a:gd name="connsiteX0" fmla="*/ 2614174 w 2816128"/>
              <a:gd name="connsiteY0" fmla="*/ 72928 h 3814675"/>
              <a:gd name="connsiteX1" fmla="*/ 2322464 w 2816128"/>
              <a:gd name="connsiteY1" fmla="*/ 0 h 3814675"/>
              <a:gd name="connsiteX2" fmla="*/ 2193438 w 2816128"/>
              <a:gd name="connsiteY2" fmla="*/ 185124 h 3814675"/>
              <a:gd name="connsiteX3" fmla="*/ 2114901 w 2816128"/>
              <a:gd name="connsiteY3" fmla="*/ 201953 h 3814675"/>
              <a:gd name="connsiteX4" fmla="*/ 2142950 w 2816128"/>
              <a:gd name="connsiteY4" fmla="*/ 314150 h 3814675"/>
              <a:gd name="connsiteX5" fmla="*/ 2047583 w 2816128"/>
              <a:gd name="connsiteY5" fmla="*/ 482444 h 3814675"/>
              <a:gd name="connsiteX6" fmla="*/ 2159779 w 2816128"/>
              <a:gd name="connsiteY6" fmla="*/ 734886 h 3814675"/>
              <a:gd name="connsiteX7" fmla="*/ 2030754 w 2816128"/>
              <a:gd name="connsiteY7" fmla="*/ 779764 h 3814675"/>
              <a:gd name="connsiteX8" fmla="*/ 1997095 w 2816128"/>
              <a:gd name="connsiteY8" fmla="*/ 847082 h 3814675"/>
              <a:gd name="connsiteX9" fmla="*/ 1997095 w 2816128"/>
              <a:gd name="connsiteY9" fmla="*/ 734886 h 3814675"/>
              <a:gd name="connsiteX10" fmla="*/ 1946606 w 2816128"/>
              <a:gd name="connsiteY10" fmla="*/ 695617 h 3814675"/>
              <a:gd name="connsiteX11" fmla="*/ 1772702 w 2816128"/>
              <a:gd name="connsiteY11" fmla="*/ 746105 h 3814675"/>
              <a:gd name="connsiteX12" fmla="*/ 1402454 w 2816128"/>
              <a:gd name="connsiteY12" fmla="*/ 605860 h 3814675"/>
              <a:gd name="connsiteX13" fmla="*/ 1705384 w 2816128"/>
              <a:gd name="connsiteY13" fmla="*/ 1178061 h 3814675"/>
              <a:gd name="connsiteX14" fmla="*/ 1800751 w 2816128"/>
              <a:gd name="connsiteY14" fmla="*/ 1250989 h 3814675"/>
              <a:gd name="connsiteX15" fmla="*/ 1649286 w 2816128"/>
              <a:gd name="connsiteY15" fmla="*/ 1475381 h 3814675"/>
              <a:gd name="connsiteX16" fmla="*/ 1727824 w 2816128"/>
              <a:gd name="connsiteY16" fmla="*/ 1694164 h 3814675"/>
              <a:gd name="connsiteX17" fmla="*/ 1817581 w 2816128"/>
              <a:gd name="connsiteY17" fmla="*/ 1688555 h 3814675"/>
              <a:gd name="connsiteX18" fmla="*/ 1671725 w 2816128"/>
              <a:gd name="connsiteY18" fmla="*/ 1856849 h 3814675"/>
              <a:gd name="connsiteX19" fmla="*/ 914400 w 2816128"/>
              <a:gd name="connsiteY19" fmla="*/ 1604407 h 3814675"/>
              <a:gd name="connsiteX20" fmla="*/ 460005 w 2816128"/>
              <a:gd name="connsiteY20" fmla="*/ 2631004 h 3814675"/>
              <a:gd name="connsiteX21" fmla="*/ 263662 w 2816128"/>
              <a:gd name="connsiteY21" fmla="*/ 2838567 h 3814675"/>
              <a:gd name="connsiteX22" fmla="*/ 44879 w 2816128"/>
              <a:gd name="connsiteY22" fmla="*/ 2883445 h 3814675"/>
              <a:gd name="connsiteX23" fmla="*/ 0 w 2816128"/>
              <a:gd name="connsiteY23" fmla="*/ 2990032 h 3814675"/>
              <a:gd name="connsiteX24" fmla="*/ 274881 w 2816128"/>
              <a:gd name="connsiteY24" fmla="*/ 3113448 h 3814675"/>
              <a:gd name="connsiteX25" fmla="*/ 504884 w 2816128"/>
              <a:gd name="connsiteY25" fmla="*/ 3012471 h 3814675"/>
              <a:gd name="connsiteX26" fmla="*/ 471225 w 2816128"/>
              <a:gd name="connsiteY26" fmla="*/ 3141497 h 3814675"/>
              <a:gd name="connsiteX27" fmla="*/ 572201 w 2816128"/>
              <a:gd name="connsiteY27" fmla="*/ 3186375 h 3814675"/>
              <a:gd name="connsiteX28" fmla="*/ 381468 w 2816128"/>
              <a:gd name="connsiteY28" fmla="*/ 3646380 h 3814675"/>
              <a:gd name="connsiteX29" fmla="*/ 196344 w 2816128"/>
              <a:gd name="connsiteY29" fmla="*/ 3691259 h 3814675"/>
              <a:gd name="connsiteX30" fmla="*/ 263662 w 2816128"/>
              <a:gd name="connsiteY30" fmla="*/ 3792235 h 3814675"/>
              <a:gd name="connsiteX31" fmla="*/ 555372 w 2816128"/>
              <a:gd name="connsiteY31" fmla="*/ 3814675 h 3814675"/>
              <a:gd name="connsiteX32" fmla="*/ 589031 w 2816128"/>
              <a:gd name="connsiteY32" fmla="*/ 3607112 h 3814675"/>
              <a:gd name="connsiteX33" fmla="*/ 645129 w 2816128"/>
              <a:gd name="connsiteY33" fmla="*/ 3601502 h 3814675"/>
              <a:gd name="connsiteX34" fmla="*/ 690008 w 2816128"/>
              <a:gd name="connsiteY34" fmla="*/ 3724918 h 3814675"/>
              <a:gd name="connsiteX35" fmla="*/ 774155 w 2816128"/>
              <a:gd name="connsiteY35" fmla="*/ 3730528 h 3814675"/>
              <a:gd name="connsiteX36" fmla="*/ 779765 w 2816128"/>
              <a:gd name="connsiteY36" fmla="*/ 3500525 h 3814675"/>
              <a:gd name="connsiteX37" fmla="*/ 746106 w 2816128"/>
              <a:gd name="connsiteY37" fmla="*/ 3231254 h 3814675"/>
              <a:gd name="connsiteX38" fmla="*/ 903181 w 2816128"/>
              <a:gd name="connsiteY38" fmla="*/ 2653443 h 3814675"/>
              <a:gd name="connsiteX39" fmla="*/ 1166842 w 2816128"/>
              <a:gd name="connsiteY39" fmla="*/ 2546856 h 3814675"/>
              <a:gd name="connsiteX40" fmla="*/ 1531480 w 2816128"/>
              <a:gd name="connsiteY40" fmla="*/ 2653443 h 3814675"/>
              <a:gd name="connsiteX41" fmla="*/ 1593188 w 2816128"/>
              <a:gd name="connsiteY41" fmla="*/ 2653443 h 3814675"/>
              <a:gd name="connsiteX42" fmla="*/ 1649286 w 2816128"/>
              <a:gd name="connsiteY42" fmla="*/ 2754420 h 3814675"/>
              <a:gd name="connsiteX43" fmla="*/ 1800751 w 2816128"/>
              <a:gd name="connsiteY43" fmla="*/ 2788078 h 3814675"/>
              <a:gd name="connsiteX44" fmla="*/ 1811971 w 2816128"/>
              <a:gd name="connsiteY44" fmla="*/ 2821737 h 3814675"/>
              <a:gd name="connsiteX45" fmla="*/ 1772702 w 2816128"/>
              <a:gd name="connsiteY45" fmla="*/ 3023691 h 3814675"/>
              <a:gd name="connsiteX46" fmla="*/ 1750263 w 2816128"/>
              <a:gd name="connsiteY46" fmla="*/ 3349060 h 3814675"/>
              <a:gd name="connsiteX47" fmla="*/ 1542700 w 2816128"/>
              <a:gd name="connsiteY47" fmla="*/ 3371499 h 3814675"/>
              <a:gd name="connsiteX48" fmla="*/ 1206111 w 2816128"/>
              <a:gd name="connsiteY48" fmla="*/ 3421988 h 3814675"/>
              <a:gd name="connsiteX49" fmla="*/ 1178062 w 2816128"/>
              <a:gd name="connsiteY49" fmla="*/ 3494915 h 3814675"/>
              <a:gd name="connsiteX50" fmla="*/ 1116354 w 2816128"/>
              <a:gd name="connsiteY50" fmla="*/ 3522964 h 3814675"/>
              <a:gd name="connsiteX51" fmla="*/ 1144403 w 2816128"/>
              <a:gd name="connsiteY51" fmla="*/ 3657600 h 3814675"/>
              <a:gd name="connsiteX52" fmla="*/ 1284648 w 2816128"/>
              <a:gd name="connsiteY52" fmla="*/ 3663210 h 3814675"/>
              <a:gd name="connsiteX53" fmla="*/ 1279038 w 2816128"/>
              <a:gd name="connsiteY53" fmla="*/ 3511745 h 3814675"/>
              <a:gd name="connsiteX54" fmla="*/ 1458552 w 2816128"/>
              <a:gd name="connsiteY54" fmla="*/ 3522964 h 3814675"/>
              <a:gd name="connsiteX55" fmla="*/ 1430503 w 2816128"/>
              <a:gd name="connsiteY55" fmla="*/ 3601502 h 3814675"/>
              <a:gd name="connsiteX56" fmla="*/ 1402454 w 2816128"/>
              <a:gd name="connsiteY56" fmla="*/ 3663210 h 3814675"/>
              <a:gd name="connsiteX57" fmla="*/ 1318307 w 2816128"/>
              <a:gd name="connsiteY57" fmla="*/ 3680039 h 3814675"/>
              <a:gd name="connsiteX58" fmla="*/ 1452943 w 2816128"/>
              <a:gd name="connsiteY58" fmla="*/ 3803455 h 3814675"/>
              <a:gd name="connsiteX59" fmla="*/ 1520260 w 2816128"/>
              <a:gd name="connsiteY59" fmla="*/ 3668820 h 3814675"/>
              <a:gd name="connsiteX60" fmla="*/ 1823190 w 2816128"/>
              <a:gd name="connsiteY60" fmla="*/ 3567843 h 3814675"/>
              <a:gd name="connsiteX61" fmla="*/ 2159779 w 2816128"/>
              <a:gd name="connsiteY61" fmla="*/ 3640770 h 3814675"/>
              <a:gd name="connsiteX62" fmla="*/ 2114901 w 2816128"/>
              <a:gd name="connsiteY62" fmla="*/ 3741747 h 3814675"/>
              <a:gd name="connsiteX63" fmla="*/ 2210268 w 2816128"/>
              <a:gd name="connsiteY63" fmla="*/ 3809065 h 3814675"/>
              <a:gd name="connsiteX64" fmla="*/ 2283195 w 2816128"/>
              <a:gd name="connsiteY64" fmla="*/ 3758577 h 3814675"/>
              <a:gd name="connsiteX65" fmla="*/ 2271976 w 2816128"/>
              <a:gd name="connsiteY65" fmla="*/ 3663210 h 3814675"/>
              <a:gd name="connsiteX66" fmla="*/ 2451490 w 2816128"/>
              <a:gd name="connsiteY66" fmla="*/ 3584672 h 3814675"/>
              <a:gd name="connsiteX67" fmla="*/ 2434660 w 2816128"/>
              <a:gd name="connsiteY67" fmla="*/ 3410768 h 3814675"/>
              <a:gd name="connsiteX68" fmla="*/ 1929777 w 2816128"/>
              <a:gd name="connsiteY68" fmla="*/ 3382719 h 3814675"/>
              <a:gd name="connsiteX69" fmla="*/ 1918557 w 2816128"/>
              <a:gd name="connsiteY69" fmla="*/ 3057350 h 3814675"/>
              <a:gd name="connsiteX70" fmla="*/ 1884898 w 2816128"/>
              <a:gd name="connsiteY70" fmla="*/ 3040520 h 3814675"/>
              <a:gd name="connsiteX71" fmla="*/ 1907338 w 2816128"/>
              <a:gd name="connsiteY71" fmla="*/ 2861006 h 3814675"/>
              <a:gd name="connsiteX72" fmla="*/ 1862459 w 2816128"/>
              <a:gd name="connsiteY72" fmla="*/ 2799298 h 3814675"/>
              <a:gd name="connsiteX73" fmla="*/ 2109291 w 2816128"/>
              <a:gd name="connsiteY73" fmla="*/ 2743200 h 3814675"/>
              <a:gd name="connsiteX74" fmla="*/ 2131730 w 2816128"/>
              <a:gd name="connsiteY74" fmla="*/ 2614174 h 3814675"/>
              <a:gd name="connsiteX75" fmla="*/ 2372952 w 2816128"/>
              <a:gd name="connsiteY75" fmla="*/ 2647833 h 3814675"/>
              <a:gd name="connsiteX76" fmla="*/ 2597345 w 2816128"/>
              <a:gd name="connsiteY76" fmla="*/ 2058802 h 3814675"/>
              <a:gd name="connsiteX77" fmla="*/ 2552466 w 2816128"/>
              <a:gd name="connsiteY77" fmla="*/ 1974655 h 3814675"/>
              <a:gd name="connsiteX78" fmla="*/ 2698322 w 2816128"/>
              <a:gd name="connsiteY78" fmla="*/ 1486601 h 3814675"/>
              <a:gd name="connsiteX79" fmla="*/ 2642224 w 2816128"/>
              <a:gd name="connsiteY79" fmla="*/ 1380015 h 3814675"/>
              <a:gd name="connsiteX80" fmla="*/ 2501978 w 2816128"/>
              <a:gd name="connsiteY80" fmla="*/ 796594 h 3814675"/>
              <a:gd name="connsiteX81" fmla="*/ 2816128 w 2816128"/>
              <a:gd name="connsiteY81" fmla="*/ 673178 h 3814675"/>
              <a:gd name="connsiteX82" fmla="*/ 2771249 w 2816128"/>
              <a:gd name="connsiteY82" fmla="*/ 437566 h 3814675"/>
              <a:gd name="connsiteX83" fmla="*/ 2614174 w 2816128"/>
              <a:gd name="connsiteY83" fmla="*/ 72928 h 3814675"/>
              <a:gd name="connsiteX0" fmla="*/ 2614174 w 2816128"/>
              <a:gd name="connsiteY0" fmla="*/ 84148 h 3825895"/>
              <a:gd name="connsiteX1" fmla="*/ 2395391 w 2816128"/>
              <a:gd name="connsiteY1" fmla="*/ 0 h 3825895"/>
              <a:gd name="connsiteX2" fmla="*/ 2193438 w 2816128"/>
              <a:gd name="connsiteY2" fmla="*/ 196344 h 3825895"/>
              <a:gd name="connsiteX3" fmla="*/ 2114901 w 2816128"/>
              <a:gd name="connsiteY3" fmla="*/ 213173 h 3825895"/>
              <a:gd name="connsiteX4" fmla="*/ 2142950 w 2816128"/>
              <a:gd name="connsiteY4" fmla="*/ 325370 h 3825895"/>
              <a:gd name="connsiteX5" fmla="*/ 2047583 w 2816128"/>
              <a:gd name="connsiteY5" fmla="*/ 493664 h 3825895"/>
              <a:gd name="connsiteX6" fmla="*/ 2159779 w 2816128"/>
              <a:gd name="connsiteY6" fmla="*/ 746106 h 3825895"/>
              <a:gd name="connsiteX7" fmla="*/ 2030754 w 2816128"/>
              <a:gd name="connsiteY7" fmla="*/ 790984 h 3825895"/>
              <a:gd name="connsiteX8" fmla="*/ 1997095 w 2816128"/>
              <a:gd name="connsiteY8" fmla="*/ 858302 h 3825895"/>
              <a:gd name="connsiteX9" fmla="*/ 1997095 w 2816128"/>
              <a:gd name="connsiteY9" fmla="*/ 746106 h 3825895"/>
              <a:gd name="connsiteX10" fmla="*/ 1946606 w 2816128"/>
              <a:gd name="connsiteY10" fmla="*/ 706837 h 3825895"/>
              <a:gd name="connsiteX11" fmla="*/ 1772702 w 2816128"/>
              <a:gd name="connsiteY11" fmla="*/ 757325 h 3825895"/>
              <a:gd name="connsiteX12" fmla="*/ 1402454 w 2816128"/>
              <a:gd name="connsiteY12" fmla="*/ 617080 h 3825895"/>
              <a:gd name="connsiteX13" fmla="*/ 1705384 w 2816128"/>
              <a:gd name="connsiteY13" fmla="*/ 1189281 h 3825895"/>
              <a:gd name="connsiteX14" fmla="*/ 1800751 w 2816128"/>
              <a:gd name="connsiteY14" fmla="*/ 1262209 h 3825895"/>
              <a:gd name="connsiteX15" fmla="*/ 1649286 w 2816128"/>
              <a:gd name="connsiteY15" fmla="*/ 1486601 h 3825895"/>
              <a:gd name="connsiteX16" fmla="*/ 1727824 w 2816128"/>
              <a:gd name="connsiteY16" fmla="*/ 1705384 h 3825895"/>
              <a:gd name="connsiteX17" fmla="*/ 1817581 w 2816128"/>
              <a:gd name="connsiteY17" fmla="*/ 1699775 h 3825895"/>
              <a:gd name="connsiteX18" fmla="*/ 1671725 w 2816128"/>
              <a:gd name="connsiteY18" fmla="*/ 1868069 h 3825895"/>
              <a:gd name="connsiteX19" fmla="*/ 914400 w 2816128"/>
              <a:gd name="connsiteY19" fmla="*/ 1615627 h 3825895"/>
              <a:gd name="connsiteX20" fmla="*/ 460005 w 2816128"/>
              <a:gd name="connsiteY20" fmla="*/ 2642224 h 3825895"/>
              <a:gd name="connsiteX21" fmla="*/ 263662 w 2816128"/>
              <a:gd name="connsiteY21" fmla="*/ 2849787 h 3825895"/>
              <a:gd name="connsiteX22" fmla="*/ 44879 w 2816128"/>
              <a:gd name="connsiteY22" fmla="*/ 2894665 h 3825895"/>
              <a:gd name="connsiteX23" fmla="*/ 0 w 2816128"/>
              <a:gd name="connsiteY23" fmla="*/ 3001252 h 3825895"/>
              <a:gd name="connsiteX24" fmla="*/ 274881 w 2816128"/>
              <a:gd name="connsiteY24" fmla="*/ 3124668 h 3825895"/>
              <a:gd name="connsiteX25" fmla="*/ 504884 w 2816128"/>
              <a:gd name="connsiteY25" fmla="*/ 3023691 h 3825895"/>
              <a:gd name="connsiteX26" fmla="*/ 471225 w 2816128"/>
              <a:gd name="connsiteY26" fmla="*/ 3152717 h 3825895"/>
              <a:gd name="connsiteX27" fmla="*/ 572201 w 2816128"/>
              <a:gd name="connsiteY27" fmla="*/ 3197595 h 3825895"/>
              <a:gd name="connsiteX28" fmla="*/ 381468 w 2816128"/>
              <a:gd name="connsiteY28" fmla="*/ 3657600 h 3825895"/>
              <a:gd name="connsiteX29" fmla="*/ 196344 w 2816128"/>
              <a:gd name="connsiteY29" fmla="*/ 3702479 h 3825895"/>
              <a:gd name="connsiteX30" fmla="*/ 263662 w 2816128"/>
              <a:gd name="connsiteY30" fmla="*/ 3803455 h 3825895"/>
              <a:gd name="connsiteX31" fmla="*/ 555372 w 2816128"/>
              <a:gd name="connsiteY31" fmla="*/ 3825895 h 3825895"/>
              <a:gd name="connsiteX32" fmla="*/ 589031 w 2816128"/>
              <a:gd name="connsiteY32" fmla="*/ 3618332 h 3825895"/>
              <a:gd name="connsiteX33" fmla="*/ 645129 w 2816128"/>
              <a:gd name="connsiteY33" fmla="*/ 3612722 h 3825895"/>
              <a:gd name="connsiteX34" fmla="*/ 690008 w 2816128"/>
              <a:gd name="connsiteY34" fmla="*/ 3736138 h 3825895"/>
              <a:gd name="connsiteX35" fmla="*/ 774155 w 2816128"/>
              <a:gd name="connsiteY35" fmla="*/ 3741748 h 3825895"/>
              <a:gd name="connsiteX36" fmla="*/ 779765 w 2816128"/>
              <a:gd name="connsiteY36" fmla="*/ 3511745 h 3825895"/>
              <a:gd name="connsiteX37" fmla="*/ 746106 w 2816128"/>
              <a:gd name="connsiteY37" fmla="*/ 3242474 h 3825895"/>
              <a:gd name="connsiteX38" fmla="*/ 903181 w 2816128"/>
              <a:gd name="connsiteY38" fmla="*/ 2664663 h 3825895"/>
              <a:gd name="connsiteX39" fmla="*/ 1166842 w 2816128"/>
              <a:gd name="connsiteY39" fmla="*/ 2558076 h 3825895"/>
              <a:gd name="connsiteX40" fmla="*/ 1531480 w 2816128"/>
              <a:gd name="connsiteY40" fmla="*/ 2664663 h 3825895"/>
              <a:gd name="connsiteX41" fmla="*/ 1593188 w 2816128"/>
              <a:gd name="connsiteY41" fmla="*/ 2664663 h 3825895"/>
              <a:gd name="connsiteX42" fmla="*/ 1649286 w 2816128"/>
              <a:gd name="connsiteY42" fmla="*/ 2765640 h 3825895"/>
              <a:gd name="connsiteX43" fmla="*/ 1800751 w 2816128"/>
              <a:gd name="connsiteY43" fmla="*/ 2799298 h 3825895"/>
              <a:gd name="connsiteX44" fmla="*/ 1811971 w 2816128"/>
              <a:gd name="connsiteY44" fmla="*/ 2832957 h 3825895"/>
              <a:gd name="connsiteX45" fmla="*/ 1772702 w 2816128"/>
              <a:gd name="connsiteY45" fmla="*/ 3034911 h 3825895"/>
              <a:gd name="connsiteX46" fmla="*/ 1750263 w 2816128"/>
              <a:gd name="connsiteY46" fmla="*/ 3360280 h 3825895"/>
              <a:gd name="connsiteX47" fmla="*/ 1542700 w 2816128"/>
              <a:gd name="connsiteY47" fmla="*/ 3382719 h 3825895"/>
              <a:gd name="connsiteX48" fmla="*/ 1206111 w 2816128"/>
              <a:gd name="connsiteY48" fmla="*/ 3433208 h 3825895"/>
              <a:gd name="connsiteX49" fmla="*/ 1178062 w 2816128"/>
              <a:gd name="connsiteY49" fmla="*/ 3506135 h 3825895"/>
              <a:gd name="connsiteX50" fmla="*/ 1116354 w 2816128"/>
              <a:gd name="connsiteY50" fmla="*/ 3534184 h 3825895"/>
              <a:gd name="connsiteX51" fmla="*/ 1144403 w 2816128"/>
              <a:gd name="connsiteY51" fmla="*/ 3668820 h 3825895"/>
              <a:gd name="connsiteX52" fmla="*/ 1284648 w 2816128"/>
              <a:gd name="connsiteY52" fmla="*/ 3674430 h 3825895"/>
              <a:gd name="connsiteX53" fmla="*/ 1279038 w 2816128"/>
              <a:gd name="connsiteY53" fmla="*/ 3522965 h 3825895"/>
              <a:gd name="connsiteX54" fmla="*/ 1458552 w 2816128"/>
              <a:gd name="connsiteY54" fmla="*/ 3534184 h 3825895"/>
              <a:gd name="connsiteX55" fmla="*/ 1430503 w 2816128"/>
              <a:gd name="connsiteY55" fmla="*/ 3612722 h 3825895"/>
              <a:gd name="connsiteX56" fmla="*/ 1402454 w 2816128"/>
              <a:gd name="connsiteY56" fmla="*/ 3674430 h 3825895"/>
              <a:gd name="connsiteX57" fmla="*/ 1318307 w 2816128"/>
              <a:gd name="connsiteY57" fmla="*/ 3691259 h 3825895"/>
              <a:gd name="connsiteX58" fmla="*/ 1452943 w 2816128"/>
              <a:gd name="connsiteY58" fmla="*/ 3814675 h 3825895"/>
              <a:gd name="connsiteX59" fmla="*/ 1520260 w 2816128"/>
              <a:gd name="connsiteY59" fmla="*/ 3680040 h 3825895"/>
              <a:gd name="connsiteX60" fmla="*/ 1823190 w 2816128"/>
              <a:gd name="connsiteY60" fmla="*/ 3579063 h 3825895"/>
              <a:gd name="connsiteX61" fmla="*/ 2159779 w 2816128"/>
              <a:gd name="connsiteY61" fmla="*/ 3651990 h 3825895"/>
              <a:gd name="connsiteX62" fmla="*/ 2114901 w 2816128"/>
              <a:gd name="connsiteY62" fmla="*/ 3752967 h 3825895"/>
              <a:gd name="connsiteX63" fmla="*/ 2210268 w 2816128"/>
              <a:gd name="connsiteY63" fmla="*/ 3820285 h 3825895"/>
              <a:gd name="connsiteX64" fmla="*/ 2283195 w 2816128"/>
              <a:gd name="connsiteY64" fmla="*/ 3769797 h 3825895"/>
              <a:gd name="connsiteX65" fmla="*/ 2271976 w 2816128"/>
              <a:gd name="connsiteY65" fmla="*/ 3674430 h 3825895"/>
              <a:gd name="connsiteX66" fmla="*/ 2451490 w 2816128"/>
              <a:gd name="connsiteY66" fmla="*/ 3595892 h 3825895"/>
              <a:gd name="connsiteX67" fmla="*/ 2434660 w 2816128"/>
              <a:gd name="connsiteY67" fmla="*/ 3421988 h 3825895"/>
              <a:gd name="connsiteX68" fmla="*/ 1929777 w 2816128"/>
              <a:gd name="connsiteY68" fmla="*/ 3393939 h 3825895"/>
              <a:gd name="connsiteX69" fmla="*/ 1918557 w 2816128"/>
              <a:gd name="connsiteY69" fmla="*/ 3068570 h 3825895"/>
              <a:gd name="connsiteX70" fmla="*/ 1884898 w 2816128"/>
              <a:gd name="connsiteY70" fmla="*/ 3051740 h 3825895"/>
              <a:gd name="connsiteX71" fmla="*/ 1907338 w 2816128"/>
              <a:gd name="connsiteY71" fmla="*/ 2872226 h 3825895"/>
              <a:gd name="connsiteX72" fmla="*/ 1862459 w 2816128"/>
              <a:gd name="connsiteY72" fmla="*/ 2810518 h 3825895"/>
              <a:gd name="connsiteX73" fmla="*/ 2109291 w 2816128"/>
              <a:gd name="connsiteY73" fmla="*/ 2754420 h 3825895"/>
              <a:gd name="connsiteX74" fmla="*/ 2131730 w 2816128"/>
              <a:gd name="connsiteY74" fmla="*/ 2625394 h 3825895"/>
              <a:gd name="connsiteX75" fmla="*/ 2372952 w 2816128"/>
              <a:gd name="connsiteY75" fmla="*/ 2659053 h 3825895"/>
              <a:gd name="connsiteX76" fmla="*/ 2597345 w 2816128"/>
              <a:gd name="connsiteY76" fmla="*/ 2070022 h 3825895"/>
              <a:gd name="connsiteX77" fmla="*/ 2552466 w 2816128"/>
              <a:gd name="connsiteY77" fmla="*/ 1985875 h 3825895"/>
              <a:gd name="connsiteX78" fmla="*/ 2698322 w 2816128"/>
              <a:gd name="connsiteY78" fmla="*/ 1497821 h 3825895"/>
              <a:gd name="connsiteX79" fmla="*/ 2642224 w 2816128"/>
              <a:gd name="connsiteY79" fmla="*/ 1391235 h 3825895"/>
              <a:gd name="connsiteX80" fmla="*/ 2501978 w 2816128"/>
              <a:gd name="connsiteY80" fmla="*/ 807814 h 3825895"/>
              <a:gd name="connsiteX81" fmla="*/ 2816128 w 2816128"/>
              <a:gd name="connsiteY81" fmla="*/ 684398 h 3825895"/>
              <a:gd name="connsiteX82" fmla="*/ 2771249 w 2816128"/>
              <a:gd name="connsiteY82" fmla="*/ 448786 h 3825895"/>
              <a:gd name="connsiteX83" fmla="*/ 2614174 w 2816128"/>
              <a:gd name="connsiteY83" fmla="*/ 84148 h 3825895"/>
              <a:gd name="connsiteX0" fmla="*/ 2614174 w 2816128"/>
              <a:gd name="connsiteY0" fmla="*/ 85752 h 3827499"/>
              <a:gd name="connsiteX1" fmla="*/ 2395391 w 2816128"/>
              <a:gd name="connsiteY1" fmla="*/ 1604 h 3827499"/>
              <a:gd name="connsiteX2" fmla="*/ 2193438 w 2816128"/>
              <a:gd name="connsiteY2" fmla="*/ 197948 h 3827499"/>
              <a:gd name="connsiteX3" fmla="*/ 2114901 w 2816128"/>
              <a:gd name="connsiteY3" fmla="*/ 214777 h 3827499"/>
              <a:gd name="connsiteX4" fmla="*/ 2142950 w 2816128"/>
              <a:gd name="connsiteY4" fmla="*/ 326974 h 3827499"/>
              <a:gd name="connsiteX5" fmla="*/ 2047583 w 2816128"/>
              <a:gd name="connsiteY5" fmla="*/ 495268 h 3827499"/>
              <a:gd name="connsiteX6" fmla="*/ 2159779 w 2816128"/>
              <a:gd name="connsiteY6" fmla="*/ 747710 h 3827499"/>
              <a:gd name="connsiteX7" fmla="*/ 2030754 w 2816128"/>
              <a:gd name="connsiteY7" fmla="*/ 792588 h 3827499"/>
              <a:gd name="connsiteX8" fmla="*/ 1997095 w 2816128"/>
              <a:gd name="connsiteY8" fmla="*/ 859906 h 3827499"/>
              <a:gd name="connsiteX9" fmla="*/ 1997095 w 2816128"/>
              <a:gd name="connsiteY9" fmla="*/ 747710 h 3827499"/>
              <a:gd name="connsiteX10" fmla="*/ 1946606 w 2816128"/>
              <a:gd name="connsiteY10" fmla="*/ 708441 h 3827499"/>
              <a:gd name="connsiteX11" fmla="*/ 1772702 w 2816128"/>
              <a:gd name="connsiteY11" fmla="*/ 758929 h 3827499"/>
              <a:gd name="connsiteX12" fmla="*/ 1402454 w 2816128"/>
              <a:gd name="connsiteY12" fmla="*/ 618684 h 3827499"/>
              <a:gd name="connsiteX13" fmla="*/ 1705384 w 2816128"/>
              <a:gd name="connsiteY13" fmla="*/ 1190885 h 3827499"/>
              <a:gd name="connsiteX14" fmla="*/ 1800751 w 2816128"/>
              <a:gd name="connsiteY14" fmla="*/ 1263813 h 3827499"/>
              <a:gd name="connsiteX15" fmla="*/ 1649286 w 2816128"/>
              <a:gd name="connsiteY15" fmla="*/ 1488205 h 3827499"/>
              <a:gd name="connsiteX16" fmla="*/ 1727824 w 2816128"/>
              <a:gd name="connsiteY16" fmla="*/ 1706988 h 3827499"/>
              <a:gd name="connsiteX17" fmla="*/ 1817581 w 2816128"/>
              <a:gd name="connsiteY17" fmla="*/ 1701379 h 3827499"/>
              <a:gd name="connsiteX18" fmla="*/ 1671725 w 2816128"/>
              <a:gd name="connsiteY18" fmla="*/ 1869673 h 3827499"/>
              <a:gd name="connsiteX19" fmla="*/ 914400 w 2816128"/>
              <a:gd name="connsiteY19" fmla="*/ 1617231 h 3827499"/>
              <a:gd name="connsiteX20" fmla="*/ 460005 w 2816128"/>
              <a:gd name="connsiteY20" fmla="*/ 2643828 h 3827499"/>
              <a:gd name="connsiteX21" fmla="*/ 263662 w 2816128"/>
              <a:gd name="connsiteY21" fmla="*/ 2851391 h 3827499"/>
              <a:gd name="connsiteX22" fmla="*/ 44879 w 2816128"/>
              <a:gd name="connsiteY22" fmla="*/ 2896269 h 3827499"/>
              <a:gd name="connsiteX23" fmla="*/ 0 w 2816128"/>
              <a:gd name="connsiteY23" fmla="*/ 3002856 h 3827499"/>
              <a:gd name="connsiteX24" fmla="*/ 274881 w 2816128"/>
              <a:gd name="connsiteY24" fmla="*/ 3126272 h 3827499"/>
              <a:gd name="connsiteX25" fmla="*/ 504884 w 2816128"/>
              <a:gd name="connsiteY25" fmla="*/ 3025295 h 3827499"/>
              <a:gd name="connsiteX26" fmla="*/ 471225 w 2816128"/>
              <a:gd name="connsiteY26" fmla="*/ 3154321 h 3827499"/>
              <a:gd name="connsiteX27" fmla="*/ 572201 w 2816128"/>
              <a:gd name="connsiteY27" fmla="*/ 3199199 h 3827499"/>
              <a:gd name="connsiteX28" fmla="*/ 381468 w 2816128"/>
              <a:gd name="connsiteY28" fmla="*/ 3659204 h 3827499"/>
              <a:gd name="connsiteX29" fmla="*/ 196344 w 2816128"/>
              <a:gd name="connsiteY29" fmla="*/ 3704083 h 3827499"/>
              <a:gd name="connsiteX30" fmla="*/ 263662 w 2816128"/>
              <a:gd name="connsiteY30" fmla="*/ 3805059 h 3827499"/>
              <a:gd name="connsiteX31" fmla="*/ 555372 w 2816128"/>
              <a:gd name="connsiteY31" fmla="*/ 3827499 h 3827499"/>
              <a:gd name="connsiteX32" fmla="*/ 589031 w 2816128"/>
              <a:gd name="connsiteY32" fmla="*/ 3619936 h 3827499"/>
              <a:gd name="connsiteX33" fmla="*/ 645129 w 2816128"/>
              <a:gd name="connsiteY33" fmla="*/ 3614326 h 3827499"/>
              <a:gd name="connsiteX34" fmla="*/ 690008 w 2816128"/>
              <a:gd name="connsiteY34" fmla="*/ 3737742 h 3827499"/>
              <a:gd name="connsiteX35" fmla="*/ 774155 w 2816128"/>
              <a:gd name="connsiteY35" fmla="*/ 3743352 h 3827499"/>
              <a:gd name="connsiteX36" fmla="*/ 779765 w 2816128"/>
              <a:gd name="connsiteY36" fmla="*/ 3513349 h 3827499"/>
              <a:gd name="connsiteX37" fmla="*/ 746106 w 2816128"/>
              <a:gd name="connsiteY37" fmla="*/ 3244078 h 3827499"/>
              <a:gd name="connsiteX38" fmla="*/ 903181 w 2816128"/>
              <a:gd name="connsiteY38" fmla="*/ 2666267 h 3827499"/>
              <a:gd name="connsiteX39" fmla="*/ 1166842 w 2816128"/>
              <a:gd name="connsiteY39" fmla="*/ 2559680 h 3827499"/>
              <a:gd name="connsiteX40" fmla="*/ 1531480 w 2816128"/>
              <a:gd name="connsiteY40" fmla="*/ 2666267 h 3827499"/>
              <a:gd name="connsiteX41" fmla="*/ 1593188 w 2816128"/>
              <a:gd name="connsiteY41" fmla="*/ 2666267 h 3827499"/>
              <a:gd name="connsiteX42" fmla="*/ 1649286 w 2816128"/>
              <a:gd name="connsiteY42" fmla="*/ 2767244 h 3827499"/>
              <a:gd name="connsiteX43" fmla="*/ 1800751 w 2816128"/>
              <a:gd name="connsiteY43" fmla="*/ 2800902 h 3827499"/>
              <a:gd name="connsiteX44" fmla="*/ 1811971 w 2816128"/>
              <a:gd name="connsiteY44" fmla="*/ 2834561 h 3827499"/>
              <a:gd name="connsiteX45" fmla="*/ 1772702 w 2816128"/>
              <a:gd name="connsiteY45" fmla="*/ 3036515 h 3827499"/>
              <a:gd name="connsiteX46" fmla="*/ 1750263 w 2816128"/>
              <a:gd name="connsiteY46" fmla="*/ 3361884 h 3827499"/>
              <a:gd name="connsiteX47" fmla="*/ 1542700 w 2816128"/>
              <a:gd name="connsiteY47" fmla="*/ 3384323 h 3827499"/>
              <a:gd name="connsiteX48" fmla="*/ 1206111 w 2816128"/>
              <a:gd name="connsiteY48" fmla="*/ 3434812 h 3827499"/>
              <a:gd name="connsiteX49" fmla="*/ 1178062 w 2816128"/>
              <a:gd name="connsiteY49" fmla="*/ 3507739 h 3827499"/>
              <a:gd name="connsiteX50" fmla="*/ 1116354 w 2816128"/>
              <a:gd name="connsiteY50" fmla="*/ 3535788 h 3827499"/>
              <a:gd name="connsiteX51" fmla="*/ 1144403 w 2816128"/>
              <a:gd name="connsiteY51" fmla="*/ 3670424 h 3827499"/>
              <a:gd name="connsiteX52" fmla="*/ 1284648 w 2816128"/>
              <a:gd name="connsiteY52" fmla="*/ 3676034 h 3827499"/>
              <a:gd name="connsiteX53" fmla="*/ 1279038 w 2816128"/>
              <a:gd name="connsiteY53" fmla="*/ 3524569 h 3827499"/>
              <a:gd name="connsiteX54" fmla="*/ 1458552 w 2816128"/>
              <a:gd name="connsiteY54" fmla="*/ 3535788 h 3827499"/>
              <a:gd name="connsiteX55" fmla="*/ 1430503 w 2816128"/>
              <a:gd name="connsiteY55" fmla="*/ 3614326 h 3827499"/>
              <a:gd name="connsiteX56" fmla="*/ 1402454 w 2816128"/>
              <a:gd name="connsiteY56" fmla="*/ 3676034 h 3827499"/>
              <a:gd name="connsiteX57" fmla="*/ 1318307 w 2816128"/>
              <a:gd name="connsiteY57" fmla="*/ 3692863 h 3827499"/>
              <a:gd name="connsiteX58" fmla="*/ 1452943 w 2816128"/>
              <a:gd name="connsiteY58" fmla="*/ 3816279 h 3827499"/>
              <a:gd name="connsiteX59" fmla="*/ 1520260 w 2816128"/>
              <a:gd name="connsiteY59" fmla="*/ 3681644 h 3827499"/>
              <a:gd name="connsiteX60" fmla="*/ 1823190 w 2816128"/>
              <a:gd name="connsiteY60" fmla="*/ 3580667 h 3827499"/>
              <a:gd name="connsiteX61" fmla="*/ 2159779 w 2816128"/>
              <a:gd name="connsiteY61" fmla="*/ 3653594 h 3827499"/>
              <a:gd name="connsiteX62" fmla="*/ 2114901 w 2816128"/>
              <a:gd name="connsiteY62" fmla="*/ 3754571 h 3827499"/>
              <a:gd name="connsiteX63" fmla="*/ 2210268 w 2816128"/>
              <a:gd name="connsiteY63" fmla="*/ 3821889 h 3827499"/>
              <a:gd name="connsiteX64" fmla="*/ 2283195 w 2816128"/>
              <a:gd name="connsiteY64" fmla="*/ 3771401 h 3827499"/>
              <a:gd name="connsiteX65" fmla="*/ 2271976 w 2816128"/>
              <a:gd name="connsiteY65" fmla="*/ 3676034 h 3827499"/>
              <a:gd name="connsiteX66" fmla="*/ 2451490 w 2816128"/>
              <a:gd name="connsiteY66" fmla="*/ 3597496 h 3827499"/>
              <a:gd name="connsiteX67" fmla="*/ 2434660 w 2816128"/>
              <a:gd name="connsiteY67" fmla="*/ 3423592 h 3827499"/>
              <a:gd name="connsiteX68" fmla="*/ 1929777 w 2816128"/>
              <a:gd name="connsiteY68" fmla="*/ 3395543 h 3827499"/>
              <a:gd name="connsiteX69" fmla="*/ 1918557 w 2816128"/>
              <a:gd name="connsiteY69" fmla="*/ 3070174 h 3827499"/>
              <a:gd name="connsiteX70" fmla="*/ 1884898 w 2816128"/>
              <a:gd name="connsiteY70" fmla="*/ 3053344 h 3827499"/>
              <a:gd name="connsiteX71" fmla="*/ 1907338 w 2816128"/>
              <a:gd name="connsiteY71" fmla="*/ 2873830 h 3827499"/>
              <a:gd name="connsiteX72" fmla="*/ 1862459 w 2816128"/>
              <a:gd name="connsiteY72" fmla="*/ 2812122 h 3827499"/>
              <a:gd name="connsiteX73" fmla="*/ 2109291 w 2816128"/>
              <a:gd name="connsiteY73" fmla="*/ 2756024 h 3827499"/>
              <a:gd name="connsiteX74" fmla="*/ 2131730 w 2816128"/>
              <a:gd name="connsiteY74" fmla="*/ 2626998 h 3827499"/>
              <a:gd name="connsiteX75" fmla="*/ 2372952 w 2816128"/>
              <a:gd name="connsiteY75" fmla="*/ 2660657 h 3827499"/>
              <a:gd name="connsiteX76" fmla="*/ 2597345 w 2816128"/>
              <a:gd name="connsiteY76" fmla="*/ 2071626 h 3827499"/>
              <a:gd name="connsiteX77" fmla="*/ 2552466 w 2816128"/>
              <a:gd name="connsiteY77" fmla="*/ 1987479 h 3827499"/>
              <a:gd name="connsiteX78" fmla="*/ 2698322 w 2816128"/>
              <a:gd name="connsiteY78" fmla="*/ 1499425 h 3827499"/>
              <a:gd name="connsiteX79" fmla="*/ 2642224 w 2816128"/>
              <a:gd name="connsiteY79" fmla="*/ 1392839 h 3827499"/>
              <a:gd name="connsiteX80" fmla="*/ 2501978 w 2816128"/>
              <a:gd name="connsiteY80" fmla="*/ 809418 h 3827499"/>
              <a:gd name="connsiteX81" fmla="*/ 2816128 w 2816128"/>
              <a:gd name="connsiteY81" fmla="*/ 686002 h 3827499"/>
              <a:gd name="connsiteX82" fmla="*/ 2771249 w 2816128"/>
              <a:gd name="connsiteY82" fmla="*/ 450390 h 3827499"/>
              <a:gd name="connsiteX83" fmla="*/ 2614174 w 2816128"/>
              <a:gd name="connsiteY83" fmla="*/ 85752 h 3827499"/>
              <a:gd name="connsiteX0" fmla="*/ 2614174 w 2816128"/>
              <a:gd name="connsiteY0" fmla="*/ 85752 h 3827499"/>
              <a:gd name="connsiteX1" fmla="*/ 2395391 w 2816128"/>
              <a:gd name="connsiteY1" fmla="*/ 1604 h 3827499"/>
              <a:gd name="connsiteX2" fmla="*/ 2193438 w 2816128"/>
              <a:gd name="connsiteY2" fmla="*/ 197948 h 3827499"/>
              <a:gd name="connsiteX3" fmla="*/ 2114901 w 2816128"/>
              <a:gd name="connsiteY3" fmla="*/ 214777 h 3827499"/>
              <a:gd name="connsiteX4" fmla="*/ 2142950 w 2816128"/>
              <a:gd name="connsiteY4" fmla="*/ 326974 h 3827499"/>
              <a:gd name="connsiteX5" fmla="*/ 2047583 w 2816128"/>
              <a:gd name="connsiteY5" fmla="*/ 495268 h 3827499"/>
              <a:gd name="connsiteX6" fmla="*/ 2159779 w 2816128"/>
              <a:gd name="connsiteY6" fmla="*/ 747710 h 3827499"/>
              <a:gd name="connsiteX7" fmla="*/ 2030754 w 2816128"/>
              <a:gd name="connsiteY7" fmla="*/ 792588 h 3827499"/>
              <a:gd name="connsiteX8" fmla="*/ 1997095 w 2816128"/>
              <a:gd name="connsiteY8" fmla="*/ 859906 h 3827499"/>
              <a:gd name="connsiteX9" fmla="*/ 1997095 w 2816128"/>
              <a:gd name="connsiteY9" fmla="*/ 747710 h 3827499"/>
              <a:gd name="connsiteX10" fmla="*/ 1946606 w 2816128"/>
              <a:gd name="connsiteY10" fmla="*/ 708441 h 3827499"/>
              <a:gd name="connsiteX11" fmla="*/ 1772702 w 2816128"/>
              <a:gd name="connsiteY11" fmla="*/ 758929 h 3827499"/>
              <a:gd name="connsiteX12" fmla="*/ 1402454 w 2816128"/>
              <a:gd name="connsiteY12" fmla="*/ 618684 h 3827499"/>
              <a:gd name="connsiteX13" fmla="*/ 1705384 w 2816128"/>
              <a:gd name="connsiteY13" fmla="*/ 1190885 h 3827499"/>
              <a:gd name="connsiteX14" fmla="*/ 1800751 w 2816128"/>
              <a:gd name="connsiteY14" fmla="*/ 1263813 h 3827499"/>
              <a:gd name="connsiteX15" fmla="*/ 1649286 w 2816128"/>
              <a:gd name="connsiteY15" fmla="*/ 1488205 h 3827499"/>
              <a:gd name="connsiteX16" fmla="*/ 1727824 w 2816128"/>
              <a:gd name="connsiteY16" fmla="*/ 1706988 h 3827499"/>
              <a:gd name="connsiteX17" fmla="*/ 1817581 w 2816128"/>
              <a:gd name="connsiteY17" fmla="*/ 1701379 h 3827499"/>
              <a:gd name="connsiteX18" fmla="*/ 1671725 w 2816128"/>
              <a:gd name="connsiteY18" fmla="*/ 1869673 h 3827499"/>
              <a:gd name="connsiteX19" fmla="*/ 914400 w 2816128"/>
              <a:gd name="connsiteY19" fmla="*/ 1617231 h 3827499"/>
              <a:gd name="connsiteX20" fmla="*/ 460005 w 2816128"/>
              <a:gd name="connsiteY20" fmla="*/ 2643828 h 3827499"/>
              <a:gd name="connsiteX21" fmla="*/ 263662 w 2816128"/>
              <a:gd name="connsiteY21" fmla="*/ 2851391 h 3827499"/>
              <a:gd name="connsiteX22" fmla="*/ 44879 w 2816128"/>
              <a:gd name="connsiteY22" fmla="*/ 2896269 h 3827499"/>
              <a:gd name="connsiteX23" fmla="*/ 0 w 2816128"/>
              <a:gd name="connsiteY23" fmla="*/ 3002856 h 3827499"/>
              <a:gd name="connsiteX24" fmla="*/ 274881 w 2816128"/>
              <a:gd name="connsiteY24" fmla="*/ 3126272 h 3827499"/>
              <a:gd name="connsiteX25" fmla="*/ 504884 w 2816128"/>
              <a:gd name="connsiteY25" fmla="*/ 3025295 h 3827499"/>
              <a:gd name="connsiteX26" fmla="*/ 471225 w 2816128"/>
              <a:gd name="connsiteY26" fmla="*/ 3154321 h 3827499"/>
              <a:gd name="connsiteX27" fmla="*/ 572201 w 2816128"/>
              <a:gd name="connsiteY27" fmla="*/ 3199199 h 3827499"/>
              <a:gd name="connsiteX28" fmla="*/ 381468 w 2816128"/>
              <a:gd name="connsiteY28" fmla="*/ 3659204 h 3827499"/>
              <a:gd name="connsiteX29" fmla="*/ 196344 w 2816128"/>
              <a:gd name="connsiteY29" fmla="*/ 3704083 h 3827499"/>
              <a:gd name="connsiteX30" fmla="*/ 263662 w 2816128"/>
              <a:gd name="connsiteY30" fmla="*/ 3805059 h 3827499"/>
              <a:gd name="connsiteX31" fmla="*/ 555372 w 2816128"/>
              <a:gd name="connsiteY31" fmla="*/ 3827499 h 3827499"/>
              <a:gd name="connsiteX32" fmla="*/ 589031 w 2816128"/>
              <a:gd name="connsiteY32" fmla="*/ 3619936 h 3827499"/>
              <a:gd name="connsiteX33" fmla="*/ 645129 w 2816128"/>
              <a:gd name="connsiteY33" fmla="*/ 3614326 h 3827499"/>
              <a:gd name="connsiteX34" fmla="*/ 690008 w 2816128"/>
              <a:gd name="connsiteY34" fmla="*/ 3737742 h 3827499"/>
              <a:gd name="connsiteX35" fmla="*/ 774155 w 2816128"/>
              <a:gd name="connsiteY35" fmla="*/ 3743352 h 3827499"/>
              <a:gd name="connsiteX36" fmla="*/ 779765 w 2816128"/>
              <a:gd name="connsiteY36" fmla="*/ 3513349 h 3827499"/>
              <a:gd name="connsiteX37" fmla="*/ 746106 w 2816128"/>
              <a:gd name="connsiteY37" fmla="*/ 3244078 h 3827499"/>
              <a:gd name="connsiteX38" fmla="*/ 903181 w 2816128"/>
              <a:gd name="connsiteY38" fmla="*/ 2666267 h 3827499"/>
              <a:gd name="connsiteX39" fmla="*/ 1166842 w 2816128"/>
              <a:gd name="connsiteY39" fmla="*/ 2559680 h 3827499"/>
              <a:gd name="connsiteX40" fmla="*/ 1531480 w 2816128"/>
              <a:gd name="connsiteY40" fmla="*/ 2666267 h 3827499"/>
              <a:gd name="connsiteX41" fmla="*/ 1593188 w 2816128"/>
              <a:gd name="connsiteY41" fmla="*/ 2666267 h 3827499"/>
              <a:gd name="connsiteX42" fmla="*/ 1649286 w 2816128"/>
              <a:gd name="connsiteY42" fmla="*/ 2767244 h 3827499"/>
              <a:gd name="connsiteX43" fmla="*/ 1800751 w 2816128"/>
              <a:gd name="connsiteY43" fmla="*/ 2800902 h 3827499"/>
              <a:gd name="connsiteX44" fmla="*/ 1811971 w 2816128"/>
              <a:gd name="connsiteY44" fmla="*/ 2834561 h 3827499"/>
              <a:gd name="connsiteX45" fmla="*/ 1772702 w 2816128"/>
              <a:gd name="connsiteY45" fmla="*/ 3036515 h 3827499"/>
              <a:gd name="connsiteX46" fmla="*/ 1750263 w 2816128"/>
              <a:gd name="connsiteY46" fmla="*/ 3361884 h 3827499"/>
              <a:gd name="connsiteX47" fmla="*/ 1542700 w 2816128"/>
              <a:gd name="connsiteY47" fmla="*/ 3384323 h 3827499"/>
              <a:gd name="connsiteX48" fmla="*/ 1206111 w 2816128"/>
              <a:gd name="connsiteY48" fmla="*/ 3434812 h 3827499"/>
              <a:gd name="connsiteX49" fmla="*/ 1178062 w 2816128"/>
              <a:gd name="connsiteY49" fmla="*/ 3507739 h 3827499"/>
              <a:gd name="connsiteX50" fmla="*/ 1116354 w 2816128"/>
              <a:gd name="connsiteY50" fmla="*/ 3535788 h 3827499"/>
              <a:gd name="connsiteX51" fmla="*/ 1144403 w 2816128"/>
              <a:gd name="connsiteY51" fmla="*/ 3670424 h 3827499"/>
              <a:gd name="connsiteX52" fmla="*/ 1284648 w 2816128"/>
              <a:gd name="connsiteY52" fmla="*/ 3676034 h 3827499"/>
              <a:gd name="connsiteX53" fmla="*/ 1279038 w 2816128"/>
              <a:gd name="connsiteY53" fmla="*/ 3524569 h 3827499"/>
              <a:gd name="connsiteX54" fmla="*/ 1458552 w 2816128"/>
              <a:gd name="connsiteY54" fmla="*/ 3535788 h 3827499"/>
              <a:gd name="connsiteX55" fmla="*/ 1430503 w 2816128"/>
              <a:gd name="connsiteY55" fmla="*/ 3614326 h 3827499"/>
              <a:gd name="connsiteX56" fmla="*/ 1402454 w 2816128"/>
              <a:gd name="connsiteY56" fmla="*/ 3676034 h 3827499"/>
              <a:gd name="connsiteX57" fmla="*/ 1318307 w 2816128"/>
              <a:gd name="connsiteY57" fmla="*/ 3692863 h 3827499"/>
              <a:gd name="connsiteX58" fmla="*/ 1452943 w 2816128"/>
              <a:gd name="connsiteY58" fmla="*/ 3816279 h 3827499"/>
              <a:gd name="connsiteX59" fmla="*/ 1520260 w 2816128"/>
              <a:gd name="connsiteY59" fmla="*/ 3681644 h 3827499"/>
              <a:gd name="connsiteX60" fmla="*/ 1823190 w 2816128"/>
              <a:gd name="connsiteY60" fmla="*/ 3580667 h 3827499"/>
              <a:gd name="connsiteX61" fmla="*/ 2159779 w 2816128"/>
              <a:gd name="connsiteY61" fmla="*/ 3653594 h 3827499"/>
              <a:gd name="connsiteX62" fmla="*/ 2114901 w 2816128"/>
              <a:gd name="connsiteY62" fmla="*/ 3754571 h 3827499"/>
              <a:gd name="connsiteX63" fmla="*/ 2210268 w 2816128"/>
              <a:gd name="connsiteY63" fmla="*/ 3821889 h 3827499"/>
              <a:gd name="connsiteX64" fmla="*/ 2283195 w 2816128"/>
              <a:gd name="connsiteY64" fmla="*/ 3771401 h 3827499"/>
              <a:gd name="connsiteX65" fmla="*/ 2271976 w 2816128"/>
              <a:gd name="connsiteY65" fmla="*/ 3676034 h 3827499"/>
              <a:gd name="connsiteX66" fmla="*/ 2451490 w 2816128"/>
              <a:gd name="connsiteY66" fmla="*/ 3597496 h 3827499"/>
              <a:gd name="connsiteX67" fmla="*/ 2434660 w 2816128"/>
              <a:gd name="connsiteY67" fmla="*/ 3423592 h 3827499"/>
              <a:gd name="connsiteX68" fmla="*/ 1929777 w 2816128"/>
              <a:gd name="connsiteY68" fmla="*/ 3395543 h 3827499"/>
              <a:gd name="connsiteX69" fmla="*/ 1918557 w 2816128"/>
              <a:gd name="connsiteY69" fmla="*/ 3070174 h 3827499"/>
              <a:gd name="connsiteX70" fmla="*/ 1884898 w 2816128"/>
              <a:gd name="connsiteY70" fmla="*/ 3053344 h 3827499"/>
              <a:gd name="connsiteX71" fmla="*/ 1907338 w 2816128"/>
              <a:gd name="connsiteY71" fmla="*/ 2873830 h 3827499"/>
              <a:gd name="connsiteX72" fmla="*/ 1862459 w 2816128"/>
              <a:gd name="connsiteY72" fmla="*/ 2812122 h 3827499"/>
              <a:gd name="connsiteX73" fmla="*/ 2109291 w 2816128"/>
              <a:gd name="connsiteY73" fmla="*/ 2756024 h 3827499"/>
              <a:gd name="connsiteX74" fmla="*/ 2131730 w 2816128"/>
              <a:gd name="connsiteY74" fmla="*/ 2626998 h 3827499"/>
              <a:gd name="connsiteX75" fmla="*/ 2372952 w 2816128"/>
              <a:gd name="connsiteY75" fmla="*/ 2660657 h 3827499"/>
              <a:gd name="connsiteX76" fmla="*/ 2597345 w 2816128"/>
              <a:gd name="connsiteY76" fmla="*/ 2071626 h 3827499"/>
              <a:gd name="connsiteX77" fmla="*/ 2552466 w 2816128"/>
              <a:gd name="connsiteY77" fmla="*/ 1987479 h 3827499"/>
              <a:gd name="connsiteX78" fmla="*/ 2698322 w 2816128"/>
              <a:gd name="connsiteY78" fmla="*/ 1499425 h 3827499"/>
              <a:gd name="connsiteX79" fmla="*/ 2642224 w 2816128"/>
              <a:gd name="connsiteY79" fmla="*/ 1392839 h 3827499"/>
              <a:gd name="connsiteX80" fmla="*/ 2501978 w 2816128"/>
              <a:gd name="connsiteY80" fmla="*/ 809418 h 3827499"/>
              <a:gd name="connsiteX81" fmla="*/ 2816128 w 2816128"/>
              <a:gd name="connsiteY81" fmla="*/ 686002 h 3827499"/>
              <a:gd name="connsiteX82" fmla="*/ 2771249 w 2816128"/>
              <a:gd name="connsiteY82" fmla="*/ 450390 h 3827499"/>
              <a:gd name="connsiteX83" fmla="*/ 2614174 w 2816128"/>
              <a:gd name="connsiteY83" fmla="*/ 85752 h 3827499"/>
              <a:gd name="connsiteX0" fmla="*/ 2647833 w 2816128"/>
              <a:gd name="connsiteY0" fmla="*/ 80143 h 3827499"/>
              <a:gd name="connsiteX1" fmla="*/ 2395391 w 2816128"/>
              <a:gd name="connsiteY1" fmla="*/ 1604 h 3827499"/>
              <a:gd name="connsiteX2" fmla="*/ 2193438 w 2816128"/>
              <a:gd name="connsiteY2" fmla="*/ 197948 h 3827499"/>
              <a:gd name="connsiteX3" fmla="*/ 2114901 w 2816128"/>
              <a:gd name="connsiteY3" fmla="*/ 214777 h 3827499"/>
              <a:gd name="connsiteX4" fmla="*/ 2142950 w 2816128"/>
              <a:gd name="connsiteY4" fmla="*/ 326974 h 3827499"/>
              <a:gd name="connsiteX5" fmla="*/ 2047583 w 2816128"/>
              <a:gd name="connsiteY5" fmla="*/ 495268 h 3827499"/>
              <a:gd name="connsiteX6" fmla="*/ 2159779 w 2816128"/>
              <a:gd name="connsiteY6" fmla="*/ 747710 h 3827499"/>
              <a:gd name="connsiteX7" fmla="*/ 2030754 w 2816128"/>
              <a:gd name="connsiteY7" fmla="*/ 792588 h 3827499"/>
              <a:gd name="connsiteX8" fmla="*/ 1997095 w 2816128"/>
              <a:gd name="connsiteY8" fmla="*/ 859906 h 3827499"/>
              <a:gd name="connsiteX9" fmla="*/ 1997095 w 2816128"/>
              <a:gd name="connsiteY9" fmla="*/ 747710 h 3827499"/>
              <a:gd name="connsiteX10" fmla="*/ 1946606 w 2816128"/>
              <a:gd name="connsiteY10" fmla="*/ 708441 h 3827499"/>
              <a:gd name="connsiteX11" fmla="*/ 1772702 w 2816128"/>
              <a:gd name="connsiteY11" fmla="*/ 758929 h 3827499"/>
              <a:gd name="connsiteX12" fmla="*/ 1402454 w 2816128"/>
              <a:gd name="connsiteY12" fmla="*/ 618684 h 3827499"/>
              <a:gd name="connsiteX13" fmla="*/ 1705384 w 2816128"/>
              <a:gd name="connsiteY13" fmla="*/ 1190885 h 3827499"/>
              <a:gd name="connsiteX14" fmla="*/ 1800751 w 2816128"/>
              <a:gd name="connsiteY14" fmla="*/ 1263813 h 3827499"/>
              <a:gd name="connsiteX15" fmla="*/ 1649286 w 2816128"/>
              <a:gd name="connsiteY15" fmla="*/ 1488205 h 3827499"/>
              <a:gd name="connsiteX16" fmla="*/ 1727824 w 2816128"/>
              <a:gd name="connsiteY16" fmla="*/ 1706988 h 3827499"/>
              <a:gd name="connsiteX17" fmla="*/ 1817581 w 2816128"/>
              <a:gd name="connsiteY17" fmla="*/ 1701379 h 3827499"/>
              <a:gd name="connsiteX18" fmla="*/ 1671725 w 2816128"/>
              <a:gd name="connsiteY18" fmla="*/ 1869673 h 3827499"/>
              <a:gd name="connsiteX19" fmla="*/ 914400 w 2816128"/>
              <a:gd name="connsiteY19" fmla="*/ 1617231 h 3827499"/>
              <a:gd name="connsiteX20" fmla="*/ 460005 w 2816128"/>
              <a:gd name="connsiteY20" fmla="*/ 2643828 h 3827499"/>
              <a:gd name="connsiteX21" fmla="*/ 263662 w 2816128"/>
              <a:gd name="connsiteY21" fmla="*/ 2851391 h 3827499"/>
              <a:gd name="connsiteX22" fmla="*/ 44879 w 2816128"/>
              <a:gd name="connsiteY22" fmla="*/ 2896269 h 3827499"/>
              <a:gd name="connsiteX23" fmla="*/ 0 w 2816128"/>
              <a:gd name="connsiteY23" fmla="*/ 3002856 h 3827499"/>
              <a:gd name="connsiteX24" fmla="*/ 274881 w 2816128"/>
              <a:gd name="connsiteY24" fmla="*/ 3126272 h 3827499"/>
              <a:gd name="connsiteX25" fmla="*/ 504884 w 2816128"/>
              <a:gd name="connsiteY25" fmla="*/ 3025295 h 3827499"/>
              <a:gd name="connsiteX26" fmla="*/ 471225 w 2816128"/>
              <a:gd name="connsiteY26" fmla="*/ 3154321 h 3827499"/>
              <a:gd name="connsiteX27" fmla="*/ 572201 w 2816128"/>
              <a:gd name="connsiteY27" fmla="*/ 3199199 h 3827499"/>
              <a:gd name="connsiteX28" fmla="*/ 381468 w 2816128"/>
              <a:gd name="connsiteY28" fmla="*/ 3659204 h 3827499"/>
              <a:gd name="connsiteX29" fmla="*/ 196344 w 2816128"/>
              <a:gd name="connsiteY29" fmla="*/ 3704083 h 3827499"/>
              <a:gd name="connsiteX30" fmla="*/ 263662 w 2816128"/>
              <a:gd name="connsiteY30" fmla="*/ 3805059 h 3827499"/>
              <a:gd name="connsiteX31" fmla="*/ 555372 w 2816128"/>
              <a:gd name="connsiteY31" fmla="*/ 3827499 h 3827499"/>
              <a:gd name="connsiteX32" fmla="*/ 589031 w 2816128"/>
              <a:gd name="connsiteY32" fmla="*/ 3619936 h 3827499"/>
              <a:gd name="connsiteX33" fmla="*/ 645129 w 2816128"/>
              <a:gd name="connsiteY33" fmla="*/ 3614326 h 3827499"/>
              <a:gd name="connsiteX34" fmla="*/ 690008 w 2816128"/>
              <a:gd name="connsiteY34" fmla="*/ 3737742 h 3827499"/>
              <a:gd name="connsiteX35" fmla="*/ 774155 w 2816128"/>
              <a:gd name="connsiteY35" fmla="*/ 3743352 h 3827499"/>
              <a:gd name="connsiteX36" fmla="*/ 779765 w 2816128"/>
              <a:gd name="connsiteY36" fmla="*/ 3513349 h 3827499"/>
              <a:gd name="connsiteX37" fmla="*/ 746106 w 2816128"/>
              <a:gd name="connsiteY37" fmla="*/ 3244078 h 3827499"/>
              <a:gd name="connsiteX38" fmla="*/ 903181 w 2816128"/>
              <a:gd name="connsiteY38" fmla="*/ 2666267 h 3827499"/>
              <a:gd name="connsiteX39" fmla="*/ 1166842 w 2816128"/>
              <a:gd name="connsiteY39" fmla="*/ 2559680 h 3827499"/>
              <a:gd name="connsiteX40" fmla="*/ 1531480 w 2816128"/>
              <a:gd name="connsiteY40" fmla="*/ 2666267 h 3827499"/>
              <a:gd name="connsiteX41" fmla="*/ 1593188 w 2816128"/>
              <a:gd name="connsiteY41" fmla="*/ 2666267 h 3827499"/>
              <a:gd name="connsiteX42" fmla="*/ 1649286 w 2816128"/>
              <a:gd name="connsiteY42" fmla="*/ 2767244 h 3827499"/>
              <a:gd name="connsiteX43" fmla="*/ 1800751 w 2816128"/>
              <a:gd name="connsiteY43" fmla="*/ 2800902 h 3827499"/>
              <a:gd name="connsiteX44" fmla="*/ 1811971 w 2816128"/>
              <a:gd name="connsiteY44" fmla="*/ 2834561 h 3827499"/>
              <a:gd name="connsiteX45" fmla="*/ 1772702 w 2816128"/>
              <a:gd name="connsiteY45" fmla="*/ 3036515 h 3827499"/>
              <a:gd name="connsiteX46" fmla="*/ 1750263 w 2816128"/>
              <a:gd name="connsiteY46" fmla="*/ 3361884 h 3827499"/>
              <a:gd name="connsiteX47" fmla="*/ 1542700 w 2816128"/>
              <a:gd name="connsiteY47" fmla="*/ 3384323 h 3827499"/>
              <a:gd name="connsiteX48" fmla="*/ 1206111 w 2816128"/>
              <a:gd name="connsiteY48" fmla="*/ 3434812 h 3827499"/>
              <a:gd name="connsiteX49" fmla="*/ 1178062 w 2816128"/>
              <a:gd name="connsiteY49" fmla="*/ 3507739 h 3827499"/>
              <a:gd name="connsiteX50" fmla="*/ 1116354 w 2816128"/>
              <a:gd name="connsiteY50" fmla="*/ 3535788 h 3827499"/>
              <a:gd name="connsiteX51" fmla="*/ 1144403 w 2816128"/>
              <a:gd name="connsiteY51" fmla="*/ 3670424 h 3827499"/>
              <a:gd name="connsiteX52" fmla="*/ 1284648 w 2816128"/>
              <a:gd name="connsiteY52" fmla="*/ 3676034 h 3827499"/>
              <a:gd name="connsiteX53" fmla="*/ 1279038 w 2816128"/>
              <a:gd name="connsiteY53" fmla="*/ 3524569 h 3827499"/>
              <a:gd name="connsiteX54" fmla="*/ 1458552 w 2816128"/>
              <a:gd name="connsiteY54" fmla="*/ 3535788 h 3827499"/>
              <a:gd name="connsiteX55" fmla="*/ 1430503 w 2816128"/>
              <a:gd name="connsiteY55" fmla="*/ 3614326 h 3827499"/>
              <a:gd name="connsiteX56" fmla="*/ 1402454 w 2816128"/>
              <a:gd name="connsiteY56" fmla="*/ 3676034 h 3827499"/>
              <a:gd name="connsiteX57" fmla="*/ 1318307 w 2816128"/>
              <a:gd name="connsiteY57" fmla="*/ 3692863 h 3827499"/>
              <a:gd name="connsiteX58" fmla="*/ 1452943 w 2816128"/>
              <a:gd name="connsiteY58" fmla="*/ 3816279 h 3827499"/>
              <a:gd name="connsiteX59" fmla="*/ 1520260 w 2816128"/>
              <a:gd name="connsiteY59" fmla="*/ 3681644 h 3827499"/>
              <a:gd name="connsiteX60" fmla="*/ 1823190 w 2816128"/>
              <a:gd name="connsiteY60" fmla="*/ 3580667 h 3827499"/>
              <a:gd name="connsiteX61" fmla="*/ 2159779 w 2816128"/>
              <a:gd name="connsiteY61" fmla="*/ 3653594 h 3827499"/>
              <a:gd name="connsiteX62" fmla="*/ 2114901 w 2816128"/>
              <a:gd name="connsiteY62" fmla="*/ 3754571 h 3827499"/>
              <a:gd name="connsiteX63" fmla="*/ 2210268 w 2816128"/>
              <a:gd name="connsiteY63" fmla="*/ 3821889 h 3827499"/>
              <a:gd name="connsiteX64" fmla="*/ 2283195 w 2816128"/>
              <a:gd name="connsiteY64" fmla="*/ 3771401 h 3827499"/>
              <a:gd name="connsiteX65" fmla="*/ 2271976 w 2816128"/>
              <a:gd name="connsiteY65" fmla="*/ 3676034 h 3827499"/>
              <a:gd name="connsiteX66" fmla="*/ 2451490 w 2816128"/>
              <a:gd name="connsiteY66" fmla="*/ 3597496 h 3827499"/>
              <a:gd name="connsiteX67" fmla="*/ 2434660 w 2816128"/>
              <a:gd name="connsiteY67" fmla="*/ 3423592 h 3827499"/>
              <a:gd name="connsiteX68" fmla="*/ 1929777 w 2816128"/>
              <a:gd name="connsiteY68" fmla="*/ 3395543 h 3827499"/>
              <a:gd name="connsiteX69" fmla="*/ 1918557 w 2816128"/>
              <a:gd name="connsiteY69" fmla="*/ 3070174 h 3827499"/>
              <a:gd name="connsiteX70" fmla="*/ 1884898 w 2816128"/>
              <a:gd name="connsiteY70" fmla="*/ 3053344 h 3827499"/>
              <a:gd name="connsiteX71" fmla="*/ 1907338 w 2816128"/>
              <a:gd name="connsiteY71" fmla="*/ 2873830 h 3827499"/>
              <a:gd name="connsiteX72" fmla="*/ 1862459 w 2816128"/>
              <a:gd name="connsiteY72" fmla="*/ 2812122 h 3827499"/>
              <a:gd name="connsiteX73" fmla="*/ 2109291 w 2816128"/>
              <a:gd name="connsiteY73" fmla="*/ 2756024 h 3827499"/>
              <a:gd name="connsiteX74" fmla="*/ 2131730 w 2816128"/>
              <a:gd name="connsiteY74" fmla="*/ 2626998 h 3827499"/>
              <a:gd name="connsiteX75" fmla="*/ 2372952 w 2816128"/>
              <a:gd name="connsiteY75" fmla="*/ 2660657 h 3827499"/>
              <a:gd name="connsiteX76" fmla="*/ 2597345 w 2816128"/>
              <a:gd name="connsiteY76" fmla="*/ 2071626 h 3827499"/>
              <a:gd name="connsiteX77" fmla="*/ 2552466 w 2816128"/>
              <a:gd name="connsiteY77" fmla="*/ 1987479 h 3827499"/>
              <a:gd name="connsiteX78" fmla="*/ 2698322 w 2816128"/>
              <a:gd name="connsiteY78" fmla="*/ 1499425 h 3827499"/>
              <a:gd name="connsiteX79" fmla="*/ 2642224 w 2816128"/>
              <a:gd name="connsiteY79" fmla="*/ 1392839 h 3827499"/>
              <a:gd name="connsiteX80" fmla="*/ 2501978 w 2816128"/>
              <a:gd name="connsiteY80" fmla="*/ 809418 h 3827499"/>
              <a:gd name="connsiteX81" fmla="*/ 2816128 w 2816128"/>
              <a:gd name="connsiteY81" fmla="*/ 686002 h 3827499"/>
              <a:gd name="connsiteX82" fmla="*/ 2771249 w 2816128"/>
              <a:gd name="connsiteY82" fmla="*/ 450390 h 3827499"/>
              <a:gd name="connsiteX83" fmla="*/ 2647833 w 2816128"/>
              <a:gd name="connsiteY83" fmla="*/ 80143 h 3827499"/>
              <a:gd name="connsiteX0" fmla="*/ 2647833 w 2816128"/>
              <a:gd name="connsiteY0" fmla="*/ 80143 h 3827499"/>
              <a:gd name="connsiteX1" fmla="*/ 2395391 w 2816128"/>
              <a:gd name="connsiteY1" fmla="*/ 1604 h 3827499"/>
              <a:gd name="connsiteX2" fmla="*/ 2193438 w 2816128"/>
              <a:gd name="connsiteY2" fmla="*/ 197948 h 3827499"/>
              <a:gd name="connsiteX3" fmla="*/ 2114901 w 2816128"/>
              <a:gd name="connsiteY3" fmla="*/ 214777 h 3827499"/>
              <a:gd name="connsiteX4" fmla="*/ 2142950 w 2816128"/>
              <a:gd name="connsiteY4" fmla="*/ 326974 h 3827499"/>
              <a:gd name="connsiteX5" fmla="*/ 2047583 w 2816128"/>
              <a:gd name="connsiteY5" fmla="*/ 495268 h 3827499"/>
              <a:gd name="connsiteX6" fmla="*/ 2159779 w 2816128"/>
              <a:gd name="connsiteY6" fmla="*/ 747710 h 3827499"/>
              <a:gd name="connsiteX7" fmla="*/ 2030754 w 2816128"/>
              <a:gd name="connsiteY7" fmla="*/ 792588 h 3827499"/>
              <a:gd name="connsiteX8" fmla="*/ 1997095 w 2816128"/>
              <a:gd name="connsiteY8" fmla="*/ 859906 h 3827499"/>
              <a:gd name="connsiteX9" fmla="*/ 1997095 w 2816128"/>
              <a:gd name="connsiteY9" fmla="*/ 747710 h 3827499"/>
              <a:gd name="connsiteX10" fmla="*/ 1946606 w 2816128"/>
              <a:gd name="connsiteY10" fmla="*/ 708441 h 3827499"/>
              <a:gd name="connsiteX11" fmla="*/ 1772702 w 2816128"/>
              <a:gd name="connsiteY11" fmla="*/ 758929 h 3827499"/>
              <a:gd name="connsiteX12" fmla="*/ 1402454 w 2816128"/>
              <a:gd name="connsiteY12" fmla="*/ 618684 h 3827499"/>
              <a:gd name="connsiteX13" fmla="*/ 1705384 w 2816128"/>
              <a:gd name="connsiteY13" fmla="*/ 1190885 h 3827499"/>
              <a:gd name="connsiteX14" fmla="*/ 1800751 w 2816128"/>
              <a:gd name="connsiteY14" fmla="*/ 1263813 h 3827499"/>
              <a:gd name="connsiteX15" fmla="*/ 1649286 w 2816128"/>
              <a:gd name="connsiteY15" fmla="*/ 1488205 h 3827499"/>
              <a:gd name="connsiteX16" fmla="*/ 1727824 w 2816128"/>
              <a:gd name="connsiteY16" fmla="*/ 1706988 h 3827499"/>
              <a:gd name="connsiteX17" fmla="*/ 1817581 w 2816128"/>
              <a:gd name="connsiteY17" fmla="*/ 1701379 h 3827499"/>
              <a:gd name="connsiteX18" fmla="*/ 1671725 w 2816128"/>
              <a:gd name="connsiteY18" fmla="*/ 1869673 h 3827499"/>
              <a:gd name="connsiteX19" fmla="*/ 914400 w 2816128"/>
              <a:gd name="connsiteY19" fmla="*/ 1617231 h 3827499"/>
              <a:gd name="connsiteX20" fmla="*/ 460005 w 2816128"/>
              <a:gd name="connsiteY20" fmla="*/ 2643828 h 3827499"/>
              <a:gd name="connsiteX21" fmla="*/ 263662 w 2816128"/>
              <a:gd name="connsiteY21" fmla="*/ 2851391 h 3827499"/>
              <a:gd name="connsiteX22" fmla="*/ 44879 w 2816128"/>
              <a:gd name="connsiteY22" fmla="*/ 2896269 h 3827499"/>
              <a:gd name="connsiteX23" fmla="*/ 0 w 2816128"/>
              <a:gd name="connsiteY23" fmla="*/ 3002856 h 3827499"/>
              <a:gd name="connsiteX24" fmla="*/ 274881 w 2816128"/>
              <a:gd name="connsiteY24" fmla="*/ 3126272 h 3827499"/>
              <a:gd name="connsiteX25" fmla="*/ 504884 w 2816128"/>
              <a:gd name="connsiteY25" fmla="*/ 3025295 h 3827499"/>
              <a:gd name="connsiteX26" fmla="*/ 471225 w 2816128"/>
              <a:gd name="connsiteY26" fmla="*/ 3154321 h 3827499"/>
              <a:gd name="connsiteX27" fmla="*/ 572201 w 2816128"/>
              <a:gd name="connsiteY27" fmla="*/ 3199199 h 3827499"/>
              <a:gd name="connsiteX28" fmla="*/ 381468 w 2816128"/>
              <a:gd name="connsiteY28" fmla="*/ 3659204 h 3827499"/>
              <a:gd name="connsiteX29" fmla="*/ 196344 w 2816128"/>
              <a:gd name="connsiteY29" fmla="*/ 3704083 h 3827499"/>
              <a:gd name="connsiteX30" fmla="*/ 263662 w 2816128"/>
              <a:gd name="connsiteY30" fmla="*/ 3805059 h 3827499"/>
              <a:gd name="connsiteX31" fmla="*/ 555372 w 2816128"/>
              <a:gd name="connsiteY31" fmla="*/ 3827499 h 3827499"/>
              <a:gd name="connsiteX32" fmla="*/ 589031 w 2816128"/>
              <a:gd name="connsiteY32" fmla="*/ 3619936 h 3827499"/>
              <a:gd name="connsiteX33" fmla="*/ 645129 w 2816128"/>
              <a:gd name="connsiteY33" fmla="*/ 3614326 h 3827499"/>
              <a:gd name="connsiteX34" fmla="*/ 690008 w 2816128"/>
              <a:gd name="connsiteY34" fmla="*/ 3737742 h 3827499"/>
              <a:gd name="connsiteX35" fmla="*/ 774155 w 2816128"/>
              <a:gd name="connsiteY35" fmla="*/ 3743352 h 3827499"/>
              <a:gd name="connsiteX36" fmla="*/ 779765 w 2816128"/>
              <a:gd name="connsiteY36" fmla="*/ 3513349 h 3827499"/>
              <a:gd name="connsiteX37" fmla="*/ 746106 w 2816128"/>
              <a:gd name="connsiteY37" fmla="*/ 3244078 h 3827499"/>
              <a:gd name="connsiteX38" fmla="*/ 903181 w 2816128"/>
              <a:gd name="connsiteY38" fmla="*/ 2666267 h 3827499"/>
              <a:gd name="connsiteX39" fmla="*/ 1166842 w 2816128"/>
              <a:gd name="connsiteY39" fmla="*/ 2559680 h 3827499"/>
              <a:gd name="connsiteX40" fmla="*/ 1531480 w 2816128"/>
              <a:gd name="connsiteY40" fmla="*/ 2666267 h 3827499"/>
              <a:gd name="connsiteX41" fmla="*/ 1593188 w 2816128"/>
              <a:gd name="connsiteY41" fmla="*/ 2666267 h 3827499"/>
              <a:gd name="connsiteX42" fmla="*/ 1649286 w 2816128"/>
              <a:gd name="connsiteY42" fmla="*/ 2767244 h 3827499"/>
              <a:gd name="connsiteX43" fmla="*/ 1800751 w 2816128"/>
              <a:gd name="connsiteY43" fmla="*/ 2800902 h 3827499"/>
              <a:gd name="connsiteX44" fmla="*/ 1811971 w 2816128"/>
              <a:gd name="connsiteY44" fmla="*/ 2834561 h 3827499"/>
              <a:gd name="connsiteX45" fmla="*/ 1772702 w 2816128"/>
              <a:gd name="connsiteY45" fmla="*/ 3036515 h 3827499"/>
              <a:gd name="connsiteX46" fmla="*/ 1750263 w 2816128"/>
              <a:gd name="connsiteY46" fmla="*/ 3361884 h 3827499"/>
              <a:gd name="connsiteX47" fmla="*/ 1542700 w 2816128"/>
              <a:gd name="connsiteY47" fmla="*/ 3384323 h 3827499"/>
              <a:gd name="connsiteX48" fmla="*/ 1206111 w 2816128"/>
              <a:gd name="connsiteY48" fmla="*/ 3434812 h 3827499"/>
              <a:gd name="connsiteX49" fmla="*/ 1178062 w 2816128"/>
              <a:gd name="connsiteY49" fmla="*/ 3507739 h 3827499"/>
              <a:gd name="connsiteX50" fmla="*/ 1116354 w 2816128"/>
              <a:gd name="connsiteY50" fmla="*/ 3535788 h 3827499"/>
              <a:gd name="connsiteX51" fmla="*/ 1144403 w 2816128"/>
              <a:gd name="connsiteY51" fmla="*/ 3670424 h 3827499"/>
              <a:gd name="connsiteX52" fmla="*/ 1284648 w 2816128"/>
              <a:gd name="connsiteY52" fmla="*/ 3676034 h 3827499"/>
              <a:gd name="connsiteX53" fmla="*/ 1279038 w 2816128"/>
              <a:gd name="connsiteY53" fmla="*/ 3524569 h 3827499"/>
              <a:gd name="connsiteX54" fmla="*/ 1458552 w 2816128"/>
              <a:gd name="connsiteY54" fmla="*/ 3535788 h 3827499"/>
              <a:gd name="connsiteX55" fmla="*/ 1430503 w 2816128"/>
              <a:gd name="connsiteY55" fmla="*/ 3614326 h 3827499"/>
              <a:gd name="connsiteX56" fmla="*/ 1402454 w 2816128"/>
              <a:gd name="connsiteY56" fmla="*/ 3676034 h 3827499"/>
              <a:gd name="connsiteX57" fmla="*/ 1318307 w 2816128"/>
              <a:gd name="connsiteY57" fmla="*/ 3692863 h 3827499"/>
              <a:gd name="connsiteX58" fmla="*/ 1452943 w 2816128"/>
              <a:gd name="connsiteY58" fmla="*/ 3816279 h 3827499"/>
              <a:gd name="connsiteX59" fmla="*/ 1520260 w 2816128"/>
              <a:gd name="connsiteY59" fmla="*/ 3681644 h 3827499"/>
              <a:gd name="connsiteX60" fmla="*/ 1823190 w 2816128"/>
              <a:gd name="connsiteY60" fmla="*/ 3580667 h 3827499"/>
              <a:gd name="connsiteX61" fmla="*/ 2159779 w 2816128"/>
              <a:gd name="connsiteY61" fmla="*/ 3653594 h 3827499"/>
              <a:gd name="connsiteX62" fmla="*/ 2114901 w 2816128"/>
              <a:gd name="connsiteY62" fmla="*/ 3754571 h 3827499"/>
              <a:gd name="connsiteX63" fmla="*/ 2210268 w 2816128"/>
              <a:gd name="connsiteY63" fmla="*/ 3821889 h 3827499"/>
              <a:gd name="connsiteX64" fmla="*/ 2283195 w 2816128"/>
              <a:gd name="connsiteY64" fmla="*/ 3771401 h 3827499"/>
              <a:gd name="connsiteX65" fmla="*/ 2271976 w 2816128"/>
              <a:gd name="connsiteY65" fmla="*/ 3676034 h 3827499"/>
              <a:gd name="connsiteX66" fmla="*/ 2451490 w 2816128"/>
              <a:gd name="connsiteY66" fmla="*/ 3597496 h 3827499"/>
              <a:gd name="connsiteX67" fmla="*/ 2434660 w 2816128"/>
              <a:gd name="connsiteY67" fmla="*/ 3423592 h 3827499"/>
              <a:gd name="connsiteX68" fmla="*/ 1929777 w 2816128"/>
              <a:gd name="connsiteY68" fmla="*/ 3395543 h 3827499"/>
              <a:gd name="connsiteX69" fmla="*/ 1918557 w 2816128"/>
              <a:gd name="connsiteY69" fmla="*/ 3070174 h 3827499"/>
              <a:gd name="connsiteX70" fmla="*/ 1884898 w 2816128"/>
              <a:gd name="connsiteY70" fmla="*/ 3053344 h 3827499"/>
              <a:gd name="connsiteX71" fmla="*/ 1907338 w 2816128"/>
              <a:gd name="connsiteY71" fmla="*/ 2873830 h 3827499"/>
              <a:gd name="connsiteX72" fmla="*/ 1862459 w 2816128"/>
              <a:gd name="connsiteY72" fmla="*/ 2812122 h 3827499"/>
              <a:gd name="connsiteX73" fmla="*/ 2109291 w 2816128"/>
              <a:gd name="connsiteY73" fmla="*/ 2756024 h 3827499"/>
              <a:gd name="connsiteX74" fmla="*/ 2131730 w 2816128"/>
              <a:gd name="connsiteY74" fmla="*/ 2626998 h 3827499"/>
              <a:gd name="connsiteX75" fmla="*/ 2372952 w 2816128"/>
              <a:gd name="connsiteY75" fmla="*/ 2660657 h 3827499"/>
              <a:gd name="connsiteX76" fmla="*/ 2597345 w 2816128"/>
              <a:gd name="connsiteY76" fmla="*/ 2071626 h 3827499"/>
              <a:gd name="connsiteX77" fmla="*/ 2552466 w 2816128"/>
              <a:gd name="connsiteY77" fmla="*/ 1987479 h 3827499"/>
              <a:gd name="connsiteX78" fmla="*/ 2698322 w 2816128"/>
              <a:gd name="connsiteY78" fmla="*/ 1499425 h 3827499"/>
              <a:gd name="connsiteX79" fmla="*/ 2642224 w 2816128"/>
              <a:gd name="connsiteY79" fmla="*/ 1392839 h 3827499"/>
              <a:gd name="connsiteX80" fmla="*/ 2501978 w 2816128"/>
              <a:gd name="connsiteY80" fmla="*/ 809418 h 3827499"/>
              <a:gd name="connsiteX81" fmla="*/ 2816128 w 2816128"/>
              <a:gd name="connsiteY81" fmla="*/ 686002 h 3827499"/>
              <a:gd name="connsiteX82" fmla="*/ 2771249 w 2816128"/>
              <a:gd name="connsiteY82" fmla="*/ 450390 h 3827499"/>
              <a:gd name="connsiteX83" fmla="*/ 2647833 w 2816128"/>
              <a:gd name="connsiteY83" fmla="*/ 80143 h 3827499"/>
              <a:gd name="connsiteX0" fmla="*/ 2647833 w 2816128"/>
              <a:gd name="connsiteY0" fmla="*/ 80143 h 3827499"/>
              <a:gd name="connsiteX1" fmla="*/ 2395391 w 2816128"/>
              <a:gd name="connsiteY1" fmla="*/ 1604 h 3827499"/>
              <a:gd name="connsiteX2" fmla="*/ 2193438 w 2816128"/>
              <a:gd name="connsiteY2" fmla="*/ 197948 h 3827499"/>
              <a:gd name="connsiteX3" fmla="*/ 2114901 w 2816128"/>
              <a:gd name="connsiteY3" fmla="*/ 214777 h 3827499"/>
              <a:gd name="connsiteX4" fmla="*/ 2142950 w 2816128"/>
              <a:gd name="connsiteY4" fmla="*/ 326974 h 3827499"/>
              <a:gd name="connsiteX5" fmla="*/ 2047583 w 2816128"/>
              <a:gd name="connsiteY5" fmla="*/ 495268 h 3827499"/>
              <a:gd name="connsiteX6" fmla="*/ 2159779 w 2816128"/>
              <a:gd name="connsiteY6" fmla="*/ 747710 h 3827499"/>
              <a:gd name="connsiteX7" fmla="*/ 2030754 w 2816128"/>
              <a:gd name="connsiteY7" fmla="*/ 792588 h 3827499"/>
              <a:gd name="connsiteX8" fmla="*/ 1997095 w 2816128"/>
              <a:gd name="connsiteY8" fmla="*/ 859906 h 3827499"/>
              <a:gd name="connsiteX9" fmla="*/ 1997095 w 2816128"/>
              <a:gd name="connsiteY9" fmla="*/ 747710 h 3827499"/>
              <a:gd name="connsiteX10" fmla="*/ 1946606 w 2816128"/>
              <a:gd name="connsiteY10" fmla="*/ 708441 h 3827499"/>
              <a:gd name="connsiteX11" fmla="*/ 1772702 w 2816128"/>
              <a:gd name="connsiteY11" fmla="*/ 758929 h 3827499"/>
              <a:gd name="connsiteX12" fmla="*/ 1402454 w 2816128"/>
              <a:gd name="connsiteY12" fmla="*/ 618684 h 3827499"/>
              <a:gd name="connsiteX13" fmla="*/ 1705384 w 2816128"/>
              <a:gd name="connsiteY13" fmla="*/ 1190885 h 3827499"/>
              <a:gd name="connsiteX14" fmla="*/ 1800751 w 2816128"/>
              <a:gd name="connsiteY14" fmla="*/ 1263813 h 3827499"/>
              <a:gd name="connsiteX15" fmla="*/ 1649286 w 2816128"/>
              <a:gd name="connsiteY15" fmla="*/ 1488205 h 3827499"/>
              <a:gd name="connsiteX16" fmla="*/ 1727824 w 2816128"/>
              <a:gd name="connsiteY16" fmla="*/ 1706988 h 3827499"/>
              <a:gd name="connsiteX17" fmla="*/ 1817581 w 2816128"/>
              <a:gd name="connsiteY17" fmla="*/ 1701379 h 3827499"/>
              <a:gd name="connsiteX18" fmla="*/ 1671725 w 2816128"/>
              <a:gd name="connsiteY18" fmla="*/ 1869673 h 3827499"/>
              <a:gd name="connsiteX19" fmla="*/ 914400 w 2816128"/>
              <a:gd name="connsiteY19" fmla="*/ 1617231 h 3827499"/>
              <a:gd name="connsiteX20" fmla="*/ 460005 w 2816128"/>
              <a:gd name="connsiteY20" fmla="*/ 2643828 h 3827499"/>
              <a:gd name="connsiteX21" fmla="*/ 263662 w 2816128"/>
              <a:gd name="connsiteY21" fmla="*/ 2851391 h 3827499"/>
              <a:gd name="connsiteX22" fmla="*/ 44879 w 2816128"/>
              <a:gd name="connsiteY22" fmla="*/ 2896269 h 3827499"/>
              <a:gd name="connsiteX23" fmla="*/ 0 w 2816128"/>
              <a:gd name="connsiteY23" fmla="*/ 3002856 h 3827499"/>
              <a:gd name="connsiteX24" fmla="*/ 274881 w 2816128"/>
              <a:gd name="connsiteY24" fmla="*/ 3126272 h 3827499"/>
              <a:gd name="connsiteX25" fmla="*/ 504884 w 2816128"/>
              <a:gd name="connsiteY25" fmla="*/ 3025295 h 3827499"/>
              <a:gd name="connsiteX26" fmla="*/ 471225 w 2816128"/>
              <a:gd name="connsiteY26" fmla="*/ 3154321 h 3827499"/>
              <a:gd name="connsiteX27" fmla="*/ 572201 w 2816128"/>
              <a:gd name="connsiteY27" fmla="*/ 3199199 h 3827499"/>
              <a:gd name="connsiteX28" fmla="*/ 381468 w 2816128"/>
              <a:gd name="connsiteY28" fmla="*/ 3659204 h 3827499"/>
              <a:gd name="connsiteX29" fmla="*/ 196344 w 2816128"/>
              <a:gd name="connsiteY29" fmla="*/ 3704083 h 3827499"/>
              <a:gd name="connsiteX30" fmla="*/ 263662 w 2816128"/>
              <a:gd name="connsiteY30" fmla="*/ 3805059 h 3827499"/>
              <a:gd name="connsiteX31" fmla="*/ 555372 w 2816128"/>
              <a:gd name="connsiteY31" fmla="*/ 3827499 h 3827499"/>
              <a:gd name="connsiteX32" fmla="*/ 589031 w 2816128"/>
              <a:gd name="connsiteY32" fmla="*/ 3619936 h 3827499"/>
              <a:gd name="connsiteX33" fmla="*/ 645129 w 2816128"/>
              <a:gd name="connsiteY33" fmla="*/ 3614326 h 3827499"/>
              <a:gd name="connsiteX34" fmla="*/ 690008 w 2816128"/>
              <a:gd name="connsiteY34" fmla="*/ 3737742 h 3827499"/>
              <a:gd name="connsiteX35" fmla="*/ 774155 w 2816128"/>
              <a:gd name="connsiteY35" fmla="*/ 3743352 h 3827499"/>
              <a:gd name="connsiteX36" fmla="*/ 779765 w 2816128"/>
              <a:gd name="connsiteY36" fmla="*/ 3513349 h 3827499"/>
              <a:gd name="connsiteX37" fmla="*/ 746106 w 2816128"/>
              <a:gd name="connsiteY37" fmla="*/ 3244078 h 3827499"/>
              <a:gd name="connsiteX38" fmla="*/ 903181 w 2816128"/>
              <a:gd name="connsiteY38" fmla="*/ 2666267 h 3827499"/>
              <a:gd name="connsiteX39" fmla="*/ 1166842 w 2816128"/>
              <a:gd name="connsiteY39" fmla="*/ 2559680 h 3827499"/>
              <a:gd name="connsiteX40" fmla="*/ 1531480 w 2816128"/>
              <a:gd name="connsiteY40" fmla="*/ 2666267 h 3827499"/>
              <a:gd name="connsiteX41" fmla="*/ 1593188 w 2816128"/>
              <a:gd name="connsiteY41" fmla="*/ 2666267 h 3827499"/>
              <a:gd name="connsiteX42" fmla="*/ 1649286 w 2816128"/>
              <a:gd name="connsiteY42" fmla="*/ 2767244 h 3827499"/>
              <a:gd name="connsiteX43" fmla="*/ 1800751 w 2816128"/>
              <a:gd name="connsiteY43" fmla="*/ 2800902 h 3827499"/>
              <a:gd name="connsiteX44" fmla="*/ 1811971 w 2816128"/>
              <a:gd name="connsiteY44" fmla="*/ 2834561 h 3827499"/>
              <a:gd name="connsiteX45" fmla="*/ 1772702 w 2816128"/>
              <a:gd name="connsiteY45" fmla="*/ 3036515 h 3827499"/>
              <a:gd name="connsiteX46" fmla="*/ 1750263 w 2816128"/>
              <a:gd name="connsiteY46" fmla="*/ 3361884 h 3827499"/>
              <a:gd name="connsiteX47" fmla="*/ 1542700 w 2816128"/>
              <a:gd name="connsiteY47" fmla="*/ 3384323 h 3827499"/>
              <a:gd name="connsiteX48" fmla="*/ 1206111 w 2816128"/>
              <a:gd name="connsiteY48" fmla="*/ 3434812 h 3827499"/>
              <a:gd name="connsiteX49" fmla="*/ 1178062 w 2816128"/>
              <a:gd name="connsiteY49" fmla="*/ 3507739 h 3827499"/>
              <a:gd name="connsiteX50" fmla="*/ 1116354 w 2816128"/>
              <a:gd name="connsiteY50" fmla="*/ 3535788 h 3827499"/>
              <a:gd name="connsiteX51" fmla="*/ 1144403 w 2816128"/>
              <a:gd name="connsiteY51" fmla="*/ 3670424 h 3827499"/>
              <a:gd name="connsiteX52" fmla="*/ 1284648 w 2816128"/>
              <a:gd name="connsiteY52" fmla="*/ 3676034 h 3827499"/>
              <a:gd name="connsiteX53" fmla="*/ 1279038 w 2816128"/>
              <a:gd name="connsiteY53" fmla="*/ 3524569 h 3827499"/>
              <a:gd name="connsiteX54" fmla="*/ 1458552 w 2816128"/>
              <a:gd name="connsiteY54" fmla="*/ 3535788 h 3827499"/>
              <a:gd name="connsiteX55" fmla="*/ 1430503 w 2816128"/>
              <a:gd name="connsiteY55" fmla="*/ 3614326 h 3827499"/>
              <a:gd name="connsiteX56" fmla="*/ 1402454 w 2816128"/>
              <a:gd name="connsiteY56" fmla="*/ 3676034 h 3827499"/>
              <a:gd name="connsiteX57" fmla="*/ 1318307 w 2816128"/>
              <a:gd name="connsiteY57" fmla="*/ 3692863 h 3827499"/>
              <a:gd name="connsiteX58" fmla="*/ 1452943 w 2816128"/>
              <a:gd name="connsiteY58" fmla="*/ 3816279 h 3827499"/>
              <a:gd name="connsiteX59" fmla="*/ 1520260 w 2816128"/>
              <a:gd name="connsiteY59" fmla="*/ 3681644 h 3827499"/>
              <a:gd name="connsiteX60" fmla="*/ 1823190 w 2816128"/>
              <a:gd name="connsiteY60" fmla="*/ 3580667 h 3827499"/>
              <a:gd name="connsiteX61" fmla="*/ 2159779 w 2816128"/>
              <a:gd name="connsiteY61" fmla="*/ 3653594 h 3827499"/>
              <a:gd name="connsiteX62" fmla="*/ 2114901 w 2816128"/>
              <a:gd name="connsiteY62" fmla="*/ 3754571 h 3827499"/>
              <a:gd name="connsiteX63" fmla="*/ 2210268 w 2816128"/>
              <a:gd name="connsiteY63" fmla="*/ 3821889 h 3827499"/>
              <a:gd name="connsiteX64" fmla="*/ 2283195 w 2816128"/>
              <a:gd name="connsiteY64" fmla="*/ 3771401 h 3827499"/>
              <a:gd name="connsiteX65" fmla="*/ 2271976 w 2816128"/>
              <a:gd name="connsiteY65" fmla="*/ 3676034 h 3827499"/>
              <a:gd name="connsiteX66" fmla="*/ 2451490 w 2816128"/>
              <a:gd name="connsiteY66" fmla="*/ 3597496 h 3827499"/>
              <a:gd name="connsiteX67" fmla="*/ 2434660 w 2816128"/>
              <a:gd name="connsiteY67" fmla="*/ 3423592 h 3827499"/>
              <a:gd name="connsiteX68" fmla="*/ 1929777 w 2816128"/>
              <a:gd name="connsiteY68" fmla="*/ 3395543 h 3827499"/>
              <a:gd name="connsiteX69" fmla="*/ 1918557 w 2816128"/>
              <a:gd name="connsiteY69" fmla="*/ 3070174 h 3827499"/>
              <a:gd name="connsiteX70" fmla="*/ 1884898 w 2816128"/>
              <a:gd name="connsiteY70" fmla="*/ 3053344 h 3827499"/>
              <a:gd name="connsiteX71" fmla="*/ 1907338 w 2816128"/>
              <a:gd name="connsiteY71" fmla="*/ 2873830 h 3827499"/>
              <a:gd name="connsiteX72" fmla="*/ 1862459 w 2816128"/>
              <a:gd name="connsiteY72" fmla="*/ 2812122 h 3827499"/>
              <a:gd name="connsiteX73" fmla="*/ 2109291 w 2816128"/>
              <a:gd name="connsiteY73" fmla="*/ 2756024 h 3827499"/>
              <a:gd name="connsiteX74" fmla="*/ 2131730 w 2816128"/>
              <a:gd name="connsiteY74" fmla="*/ 2626998 h 3827499"/>
              <a:gd name="connsiteX75" fmla="*/ 2372952 w 2816128"/>
              <a:gd name="connsiteY75" fmla="*/ 2660657 h 3827499"/>
              <a:gd name="connsiteX76" fmla="*/ 2597345 w 2816128"/>
              <a:gd name="connsiteY76" fmla="*/ 2071626 h 3827499"/>
              <a:gd name="connsiteX77" fmla="*/ 2552466 w 2816128"/>
              <a:gd name="connsiteY77" fmla="*/ 1987479 h 3827499"/>
              <a:gd name="connsiteX78" fmla="*/ 2698322 w 2816128"/>
              <a:gd name="connsiteY78" fmla="*/ 1499425 h 3827499"/>
              <a:gd name="connsiteX79" fmla="*/ 2642224 w 2816128"/>
              <a:gd name="connsiteY79" fmla="*/ 1392839 h 3827499"/>
              <a:gd name="connsiteX80" fmla="*/ 2501978 w 2816128"/>
              <a:gd name="connsiteY80" fmla="*/ 809418 h 3827499"/>
              <a:gd name="connsiteX81" fmla="*/ 2816128 w 2816128"/>
              <a:gd name="connsiteY81" fmla="*/ 686002 h 3827499"/>
              <a:gd name="connsiteX82" fmla="*/ 2771249 w 2816128"/>
              <a:gd name="connsiteY82" fmla="*/ 450390 h 3827499"/>
              <a:gd name="connsiteX83" fmla="*/ 2647833 w 2816128"/>
              <a:gd name="connsiteY83" fmla="*/ 80143 h 3827499"/>
              <a:gd name="connsiteX0" fmla="*/ 2647833 w 2816128"/>
              <a:gd name="connsiteY0" fmla="*/ 80143 h 3827499"/>
              <a:gd name="connsiteX1" fmla="*/ 2395391 w 2816128"/>
              <a:gd name="connsiteY1" fmla="*/ 1604 h 3827499"/>
              <a:gd name="connsiteX2" fmla="*/ 2193438 w 2816128"/>
              <a:gd name="connsiteY2" fmla="*/ 197948 h 3827499"/>
              <a:gd name="connsiteX3" fmla="*/ 2114901 w 2816128"/>
              <a:gd name="connsiteY3" fmla="*/ 214777 h 3827499"/>
              <a:gd name="connsiteX4" fmla="*/ 2142950 w 2816128"/>
              <a:gd name="connsiteY4" fmla="*/ 326974 h 3827499"/>
              <a:gd name="connsiteX5" fmla="*/ 2047583 w 2816128"/>
              <a:gd name="connsiteY5" fmla="*/ 495268 h 3827499"/>
              <a:gd name="connsiteX6" fmla="*/ 2159779 w 2816128"/>
              <a:gd name="connsiteY6" fmla="*/ 747710 h 3827499"/>
              <a:gd name="connsiteX7" fmla="*/ 2030754 w 2816128"/>
              <a:gd name="connsiteY7" fmla="*/ 792588 h 3827499"/>
              <a:gd name="connsiteX8" fmla="*/ 1997095 w 2816128"/>
              <a:gd name="connsiteY8" fmla="*/ 859906 h 3827499"/>
              <a:gd name="connsiteX9" fmla="*/ 1997095 w 2816128"/>
              <a:gd name="connsiteY9" fmla="*/ 747710 h 3827499"/>
              <a:gd name="connsiteX10" fmla="*/ 1946606 w 2816128"/>
              <a:gd name="connsiteY10" fmla="*/ 708441 h 3827499"/>
              <a:gd name="connsiteX11" fmla="*/ 1772702 w 2816128"/>
              <a:gd name="connsiteY11" fmla="*/ 758929 h 3827499"/>
              <a:gd name="connsiteX12" fmla="*/ 1402454 w 2816128"/>
              <a:gd name="connsiteY12" fmla="*/ 618684 h 3827499"/>
              <a:gd name="connsiteX13" fmla="*/ 1705384 w 2816128"/>
              <a:gd name="connsiteY13" fmla="*/ 1190885 h 3827499"/>
              <a:gd name="connsiteX14" fmla="*/ 1800751 w 2816128"/>
              <a:gd name="connsiteY14" fmla="*/ 1263813 h 3827499"/>
              <a:gd name="connsiteX15" fmla="*/ 1649286 w 2816128"/>
              <a:gd name="connsiteY15" fmla="*/ 1488205 h 3827499"/>
              <a:gd name="connsiteX16" fmla="*/ 1727824 w 2816128"/>
              <a:gd name="connsiteY16" fmla="*/ 1706988 h 3827499"/>
              <a:gd name="connsiteX17" fmla="*/ 1817581 w 2816128"/>
              <a:gd name="connsiteY17" fmla="*/ 1701379 h 3827499"/>
              <a:gd name="connsiteX18" fmla="*/ 1671725 w 2816128"/>
              <a:gd name="connsiteY18" fmla="*/ 1869673 h 3827499"/>
              <a:gd name="connsiteX19" fmla="*/ 914400 w 2816128"/>
              <a:gd name="connsiteY19" fmla="*/ 1617231 h 3827499"/>
              <a:gd name="connsiteX20" fmla="*/ 460005 w 2816128"/>
              <a:gd name="connsiteY20" fmla="*/ 2643828 h 3827499"/>
              <a:gd name="connsiteX21" fmla="*/ 263662 w 2816128"/>
              <a:gd name="connsiteY21" fmla="*/ 2851391 h 3827499"/>
              <a:gd name="connsiteX22" fmla="*/ 44879 w 2816128"/>
              <a:gd name="connsiteY22" fmla="*/ 2896269 h 3827499"/>
              <a:gd name="connsiteX23" fmla="*/ 0 w 2816128"/>
              <a:gd name="connsiteY23" fmla="*/ 3002856 h 3827499"/>
              <a:gd name="connsiteX24" fmla="*/ 274881 w 2816128"/>
              <a:gd name="connsiteY24" fmla="*/ 3126272 h 3827499"/>
              <a:gd name="connsiteX25" fmla="*/ 504884 w 2816128"/>
              <a:gd name="connsiteY25" fmla="*/ 3025295 h 3827499"/>
              <a:gd name="connsiteX26" fmla="*/ 471225 w 2816128"/>
              <a:gd name="connsiteY26" fmla="*/ 3154321 h 3827499"/>
              <a:gd name="connsiteX27" fmla="*/ 572201 w 2816128"/>
              <a:gd name="connsiteY27" fmla="*/ 3199199 h 3827499"/>
              <a:gd name="connsiteX28" fmla="*/ 381468 w 2816128"/>
              <a:gd name="connsiteY28" fmla="*/ 3659204 h 3827499"/>
              <a:gd name="connsiteX29" fmla="*/ 196344 w 2816128"/>
              <a:gd name="connsiteY29" fmla="*/ 3704083 h 3827499"/>
              <a:gd name="connsiteX30" fmla="*/ 263662 w 2816128"/>
              <a:gd name="connsiteY30" fmla="*/ 3805059 h 3827499"/>
              <a:gd name="connsiteX31" fmla="*/ 555372 w 2816128"/>
              <a:gd name="connsiteY31" fmla="*/ 3827499 h 3827499"/>
              <a:gd name="connsiteX32" fmla="*/ 589031 w 2816128"/>
              <a:gd name="connsiteY32" fmla="*/ 3619936 h 3827499"/>
              <a:gd name="connsiteX33" fmla="*/ 645129 w 2816128"/>
              <a:gd name="connsiteY33" fmla="*/ 3614326 h 3827499"/>
              <a:gd name="connsiteX34" fmla="*/ 690008 w 2816128"/>
              <a:gd name="connsiteY34" fmla="*/ 3737742 h 3827499"/>
              <a:gd name="connsiteX35" fmla="*/ 774155 w 2816128"/>
              <a:gd name="connsiteY35" fmla="*/ 3743352 h 3827499"/>
              <a:gd name="connsiteX36" fmla="*/ 779765 w 2816128"/>
              <a:gd name="connsiteY36" fmla="*/ 3513349 h 3827499"/>
              <a:gd name="connsiteX37" fmla="*/ 746106 w 2816128"/>
              <a:gd name="connsiteY37" fmla="*/ 3244078 h 3827499"/>
              <a:gd name="connsiteX38" fmla="*/ 903181 w 2816128"/>
              <a:gd name="connsiteY38" fmla="*/ 2666267 h 3827499"/>
              <a:gd name="connsiteX39" fmla="*/ 1166842 w 2816128"/>
              <a:gd name="connsiteY39" fmla="*/ 2559680 h 3827499"/>
              <a:gd name="connsiteX40" fmla="*/ 1531480 w 2816128"/>
              <a:gd name="connsiteY40" fmla="*/ 2666267 h 3827499"/>
              <a:gd name="connsiteX41" fmla="*/ 1593188 w 2816128"/>
              <a:gd name="connsiteY41" fmla="*/ 2666267 h 3827499"/>
              <a:gd name="connsiteX42" fmla="*/ 1649286 w 2816128"/>
              <a:gd name="connsiteY42" fmla="*/ 2767244 h 3827499"/>
              <a:gd name="connsiteX43" fmla="*/ 1800751 w 2816128"/>
              <a:gd name="connsiteY43" fmla="*/ 2800902 h 3827499"/>
              <a:gd name="connsiteX44" fmla="*/ 1811971 w 2816128"/>
              <a:gd name="connsiteY44" fmla="*/ 2834561 h 3827499"/>
              <a:gd name="connsiteX45" fmla="*/ 1772702 w 2816128"/>
              <a:gd name="connsiteY45" fmla="*/ 3036515 h 3827499"/>
              <a:gd name="connsiteX46" fmla="*/ 1750263 w 2816128"/>
              <a:gd name="connsiteY46" fmla="*/ 3361884 h 3827499"/>
              <a:gd name="connsiteX47" fmla="*/ 1542700 w 2816128"/>
              <a:gd name="connsiteY47" fmla="*/ 3384323 h 3827499"/>
              <a:gd name="connsiteX48" fmla="*/ 1206111 w 2816128"/>
              <a:gd name="connsiteY48" fmla="*/ 3434812 h 3827499"/>
              <a:gd name="connsiteX49" fmla="*/ 1178062 w 2816128"/>
              <a:gd name="connsiteY49" fmla="*/ 3507739 h 3827499"/>
              <a:gd name="connsiteX50" fmla="*/ 1116354 w 2816128"/>
              <a:gd name="connsiteY50" fmla="*/ 3535788 h 3827499"/>
              <a:gd name="connsiteX51" fmla="*/ 1144403 w 2816128"/>
              <a:gd name="connsiteY51" fmla="*/ 3670424 h 3827499"/>
              <a:gd name="connsiteX52" fmla="*/ 1284648 w 2816128"/>
              <a:gd name="connsiteY52" fmla="*/ 3676034 h 3827499"/>
              <a:gd name="connsiteX53" fmla="*/ 1279038 w 2816128"/>
              <a:gd name="connsiteY53" fmla="*/ 3524569 h 3827499"/>
              <a:gd name="connsiteX54" fmla="*/ 1458552 w 2816128"/>
              <a:gd name="connsiteY54" fmla="*/ 3535788 h 3827499"/>
              <a:gd name="connsiteX55" fmla="*/ 1430503 w 2816128"/>
              <a:gd name="connsiteY55" fmla="*/ 3614326 h 3827499"/>
              <a:gd name="connsiteX56" fmla="*/ 1402454 w 2816128"/>
              <a:gd name="connsiteY56" fmla="*/ 3676034 h 3827499"/>
              <a:gd name="connsiteX57" fmla="*/ 1318307 w 2816128"/>
              <a:gd name="connsiteY57" fmla="*/ 3692863 h 3827499"/>
              <a:gd name="connsiteX58" fmla="*/ 1452943 w 2816128"/>
              <a:gd name="connsiteY58" fmla="*/ 3816279 h 3827499"/>
              <a:gd name="connsiteX59" fmla="*/ 1520260 w 2816128"/>
              <a:gd name="connsiteY59" fmla="*/ 3681644 h 3827499"/>
              <a:gd name="connsiteX60" fmla="*/ 1823190 w 2816128"/>
              <a:gd name="connsiteY60" fmla="*/ 3580667 h 3827499"/>
              <a:gd name="connsiteX61" fmla="*/ 2159779 w 2816128"/>
              <a:gd name="connsiteY61" fmla="*/ 3653594 h 3827499"/>
              <a:gd name="connsiteX62" fmla="*/ 2114901 w 2816128"/>
              <a:gd name="connsiteY62" fmla="*/ 3754571 h 3827499"/>
              <a:gd name="connsiteX63" fmla="*/ 2210268 w 2816128"/>
              <a:gd name="connsiteY63" fmla="*/ 3821889 h 3827499"/>
              <a:gd name="connsiteX64" fmla="*/ 2283195 w 2816128"/>
              <a:gd name="connsiteY64" fmla="*/ 3771401 h 3827499"/>
              <a:gd name="connsiteX65" fmla="*/ 2271976 w 2816128"/>
              <a:gd name="connsiteY65" fmla="*/ 3676034 h 3827499"/>
              <a:gd name="connsiteX66" fmla="*/ 2451490 w 2816128"/>
              <a:gd name="connsiteY66" fmla="*/ 3597496 h 3827499"/>
              <a:gd name="connsiteX67" fmla="*/ 2434660 w 2816128"/>
              <a:gd name="connsiteY67" fmla="*/ 3423592 h 3827499"/>
              <a:gd name="connsiteX68" fmla="*/ 1929777 w 2816128"/>
              <a:gd name="connsiteY68" fmla="*/ 3395543 h 3827499"/>
              <a:gd name="connsiteX69" fmla="*/ 1918557 w 2816128"/>
              <a:gd name="connsiteY69" fmla="*/ 3070174 h 3827499"/>
              <a:gd name="connsiteX70" fmla="*/ 1884898 w 2816128"/>
              <a:gd name="connsiteY70" fmla="*/ 3053344 h 3827499"/>
              <a:gd name="connsiteX71" fmla="*/ 1907338 w 2816128"/>
              <a:gd name="connsiteY71" fmla="*/ 2873830 h 3827499"/>
              <a:gd name="connsiteX72" fmla="*/ 1862459 w 2816128"/>
              <a:gd name="connsiteY72" fmla="*/ 2812122 h 3827499"/>
              <a:gd name="connsiteX73" fmla="*/ 2109291 w 2816128"/>
              <a:gd name="connsiteY73" fmla="*/ 2756024 h 3827499"/>
              <a:gd name="connsiteX74" fmla="*/ 2131730 w 2816128"/>
              <a:gd name="connsiteY74" fmla="*/ 2626998 h 3827499"/>
              <a:gd name="connsiteX75" fmla="*/ 2372952 w 2816128"/>
              <a:gd name="connsiteY75" fmla="*/ 2660657 h 3827499"/>
              <a:gd name="connsiteX76" fmla="*/ 2597345 w 2816128"/>
              <a:gd name="connsiteY76" fmla="*/ 2071626 h 3827499"/>
              <a:gd name="connsiteX77" fmla="*/ 2552466 w 2816128"/>
              <a:gd name="connsiteY77" fmla="*/ 1987479 h 3827499"/>
              <a:gd name="connsiteX78" fmla="*/ 2698322 w 2816128"/>
              <a:gd name="connsiteY78" fmla="*/ 1499425 h 3827499"/>
              <a:gd name="connsiteX79" fmla="*/ 2642224 w 2816128"/>
              <a:gd name="connsiteY79" fmla="*/ 1392839 h 3827499"/>
              <a:gd name="connsiteX80" fmla="*/ 2501978 w 2816128"/>
              <a:gd name="connsiteY80" fmla="*/ 809418 h 3827499"/>
              <a:gd name="connsiteX81" fmla="*/ 2816128 w 2816128"/>
              <a:gd name="connsiteY81" fmla="*/ 686002 h 3827499"/>
              <a:gd name="connsiteX82" fmla="*/ 2771249 w 2816128"/>
              <a:gd name="connsiteY82" fmla="*/ 450390 h 3827499"/>
              <a:gd name="connsiteX83" fmla="*/ 2647833 w 2816128"/>
              <a:gd name="connsiteY83" fmla="*/ 80143 h 3827499"/>
              <a:gd name="connsiteX0" fmla="*/ 2647833 w 2771249"/>
              <a:gd name="connsiteY0" fmla="*/ 80143 h 3827499"/>
              <a:gd name="connsiteX1" fmla="*/ 2395391 w 2771249"/>
              <a:gd name="connsiteY1" fmla="*/ 1604 h 3827499"/>
              <a:gd name="connsiteX2" fmla="*/ 2193438 w 2771249"/>
              <a:gd name="connsiteY2" fmla="*/ 197948 h 3827499"/>
              <a:gd name="connsiteX3" fmla="*/ 2114901 w 2771249"/>
              <a:gd name="connsiteY3" fmla="*/ 214777 h 3827499"/>
              <a:gd name="connsiteX4" fmla="*/ 2142950 w 2771249"/>
              <a:gd name="connsiteY4" fmla="*/ 326974 h 3827499"/>
              <a:gd name="connsiteX5" fmla="*/ 2047583 w 2771249"/>
              <a:gd name="connsiteY5" fmla="*/ 495268 h 3827499"/>
              <a:gd name="connsiteX6" fmla="*/ 2159779 w 2771249"/>
              <a:gd name="connsiteY6" fmla="*/ 747710 h 3827499"/>
              <a:gd name="connsiteX7" fmla="*/ 2030754 w 2771249"/>
              <a:gd name="connsiteY7" fmla="*/ 792588 h 3827499"/>
              <a:gd name="connsiteX8" fmla="*/ 1997095 w 2771249"/>
              <a:gd name="connsiteY8" fmla="*/ 859906 h 3827499"/>
              <a:gd name="connsiteX9" fmla="*/ 1997095 w 2771249"/>
              <a:gd name="connsiteY9" fmla="*/ 747710 h 3827499"/>
              <a:gd name="connsiteX10" fmla="*/ 1946606 w 2771249"/>
              <a:gd name="connsiteY10" fmla="*/ 708441 h 3827499"/>
              <a:gd name="connsiteX11" fmla="*/ 1772702 w 2771249"/>
              <a:gd name="connsiteY11" fmla="*/ 758929 h 3827499"/>
              <a:gd name="connsiteX12" fmla="*/ 1402454 w 2771249"/>
              <a:gd name="connsiteY12" fmla="*/ 618684 h 3827499"/>
              <a:gd name="connsiteX13" fmla="*/ 1705384 w 2771249"/>
              <a:gd name="connsiteY13" fmla="*/ 1190885 h 3827499"/>
              <a:gd name="connsiteX14" fmla="*/ 1800751 w 2771249"/>
              <a:gd name="connsiteY14" fmla="*/ 1263813 h 3827499"/>
              <a:gd name="connsiteX15" fmla="*/ 1649286 w 2771249"/>
              <a:gd name="connsiteY15" fmla="*/ 1488205 h 3827499"/>
              <a:gd name="connsiteX16" fmla="*/ 1727824 w 2771249"/>
              <a:gd name="connsiteY16" fmla="*/ 1706988 h 3827499"/>
              <a:gd name="connsiteX17" fmla="*/ 1817581 w 2771249"/>
              <a:gd name="connsiteY17" fmla="*/ 1701379 h 3827499"/>
              <a:gd name="connsiteX18" fmla="*/ 1671725 w 2771249"/>
              <a:gd name="connsiteY18" fmla="*/ 1869673 h 3827499"/>
              <a:gd name="connsiteX19" fmla="*/ 914400 w 2771249"/>
              <a:gd name="connsiteY19" fmla="*/ 1617231 h 3827499"/>
              <a:gd name="connsiteX20" fmla="*/ 460005 w 2771249"/>
              <a:gd name="connsiteY20" fmla="*/ 2643828 h 3827499"/>
              <a:gd name="connsiteX21" fmla="*/ 263662 w 2771249"/>
              <a:gd name="connsiteY21" fmla="*/ 2851391 h 3827499"/>
              <a:gd name="connsiteX22" fmla="*/ 44879 w 2771249"/>
              <a:gd name="connsiteY22" fmla="*/ 2896269 h 3827499"/>
              <a:gd name="connsiteX23" fmla="*/ 0 w 2771249"/>
              <a:gd name="connsiteY23" fmla="*/ 3002856 h 3827499"/>
              <a:gd name="connsiteX24" fmla="*/ 274881 w 2771249"/>
              <a:gd name="connsiteY24" fmla="*/ 3126272 h 3827499"/>
              <a:gd name="connsiteX25" fmla="*/ 504884 w 2771249"/>
              <a:gd name="connsiteY25" fmla="*/ 3025295 h 3827499"/>
              <a:gd name="connsiteX26" fmla="*/ 471225 w 2771249"/>
              <a:gd name="connsiteY26" fmla="*/ 3154321 h 3827499"/>
              <a:gd name="connsiteX27" fmla="*/ 572201 w 2771249"/>
              <a:gd name="connsiteY27" fmla="*/ 3199199 h 3827499"/>
              <a:gd name="connsiteX28" fmla="*/ 381468 w 2771249"/>
              <a:gd name="connsiteY28" fmla="*/ 3659204 h 3827499"/>
              <a:gd name="connsiteX29" fmla="*/ 196344 w 2771249"/>
              <a:gd name="connsiteY29" fmla="*/ 3704083 h 3827499"/>
              <a:gd name="connsiteX30" fmla="*/ 263662 w 2771249"/>
              <a:gd name="connsiteY30" fmla="*/ 3805059 h 3827499"/>
              <a:gd name="connsiteX31" fmla="*/ 555372 w 2771249"/>
              <a:gd name="connsiteY31" fmla="*/ 3827499 h 3827499"/>
              <a:gd name="connsiteX32" fmla="*/ 589031 w 2771249"/>
              <a:gd name="connsiteY32" fmla="*/ 3619936 h 3827499"/>
              <a:gd name="connsiteX33" fmla="*/ 645129 w 2771249"/>
              <a:gd name="connsiteY33" fmla="*/ 3614326 h 3827499"/>
              <a:gd name="connsiteX34" fmla="*/ 690008 w 2771249"/>
              <a:gd name="connsiteY34" fmla="*/ 3737742 h 3827499"/>
              <a:gd name="connsiteX35" fmla="*/ 774155 w 2771249"/>
              <a:gd name="connsiteY35" fmla="*/ 3743352 h 3827499"/>
              <a:gd name="connsiteX36" fmla="*/ 779765 w 2771249"/>
              <a:gd name="connsiteY36" fmla="*/ 3513349 h 3827499"/>
              <a:gd name="connsiteX37" fmla="*/ 746106 w 2771249"/>
              <a:gd name="connsiteY37" fmla="*/ 3244078 h 3827499"/>
              <a:gd name="connsiteX38" fmla="*/ 903181 w 2771249"/>
              <a:gd name="connsiteY38" fmla="*/ 2666267 h 3827499"/>
              <a:gd name="connsiteX39" fmla="*/ 1166842 w 2771249"/>
              <a:gd name="connsiteY39" fmla="*/ 2559680 h 3827499"/>
              <a:gd name="connsiteX40" fmla="*/ 1531480 w 2771249"/>
              <a:gd name="connsiteY40" fmla="*/ 2666267 h 3827499"/>
              <a:gd name="connsiteX41" fmla="*/ 1593188 w 2771249"/>
              <a:gd name="connsiteY41" fmla="*/ 2666267 h 3827499"/>
              <a:gd name="connsiteX42" fmla="*/ 1649286 w 2771249"/>
              <a:gd name="connsiteY42" fmla="*/ 2767244 h 3827499"/>
              <a:gd name="connsiteX43" fmla="*/ 1800751 w 2771249"/>
              <a:gd name="connsiteY43" fmla="*/ 2800902 h 3827499"/>
              <a:gd name="connsiteX44" fmla="*/ 1811971 w 2771249"/>
              <a:gd name="connsiteY44" fmla="*/ 2834561 h 3827499"/>
              <a:gd name="connsiteX45" fmla="*/ 1772702 w 2771249"/>
              <a:gd name="connsiteY45" fmla="*/ 3036515 h 3827499"/>
              <a:gd name="connsiteX46" fmla="*/ 1750263 w 2771249"/>
              <a:gd name="connsiteY46" fmla="*/ 3361884 h 3827499"/>
              <a:gd name="connsiteX47" fmla="*/ 1542700 w 2771249"/>
              <a:gd name="connsiteY47" fmla="*/ 3384323 h 3827499"/>
              <a:gd name="connsiteX48" fmla="*/ 1206111 w 2771249"/>
              <a:gd name="connsiteY48" fmla="*/ 3434812 h 3827499"/>
              <a:gd name="connsiteX49" fmla="*/ 1178062 w 2771249"/>
              <a:gd name="connsiteY49" fmla="*/ 3507739 h 3827499"/>
              <a:gd name="connsiteX50" fmla="*/ 1116354 w 2771249"/>
              <a:gd name="connsiteY50" fmla="*/ 3535788 h 3827499"/>
              <a:gd name="connsiteX51" fmla="*/ 1144403 w 2771249"/>
              <a:gd name="connsiteY51" fmla="*/ 3670424 h 3827499"/>
              <a:gd name="connsiteX52" fmla="*/ 1284648 w 2771249"/>
              <a:gd name="connsiteY52" fmla="*/ 3676034 h 3827499"/>
              <a:gd name="connsiteX53" fmla="*/ 1279038 w 2771249"/>
              <a:gd name="connsiteY53" fmla="*/ 3524569 h 3827499"/>
              <a:gd name="connsiteX54" fmla="*/ 1458552 w 2771249"/>
              <a:gd name="connsiteY54" fmla="*/ 3535788 h 3827499"/>
              <a:gd name="connsiteX55" fmla="*/ 1430503 w 2771249"/>
              <a:gd name="connsiteY55" fmla="*/ 3614326 h 3827499"/>
              <a:gd name="connsiteX56" fmla="*/ 1402454 w 2771249"/>
              <a:gd name="connsiteY56" fmla="*/ 3676034 h 3827499"/>
              <a:gd name="connsiteX57" fmla="*/ 1318307 w 2771249"/>
              <a:gd name="connsiteY57" fmla="*/ 3692863 h 3827499"/>
              <a:gd name="connsiteX58" fmla="*/ 1452943 w 2771249"/>
              <a:gd name="connsiteY58" fmla="*/ 3816279 h 3827499"/>
              <a:gd name="connsiteX59" fmla="*/ 1520260 w 2771249"/>
              <a:gd name="connsiteY59" fmla="*/ 3681644 h 3827499"/>
              <a:gd name="connsiteX60" fmla="*/ 1823190 w 2771249"/>
              <a:gd name="connsiteY60" fmla="*/ 3580667 h 3827499"/>
              <a:gd name="connsiteX61" fmla="*/ 2159779 w 2771249"/>
              <a:gd name="connsiteY61" fmla="*/ 3653594 h 3827499"/>
              <a:gd name="connsiteX62" fmla="*/ 2114901 w 2771249"/>
              <a:gd name="connsiteY62" fmla="*/ 3754571 h 3827499"/>
              <a:gd name="connsiteX63" fmla="*/ 2210268 w 2771249"/>
              <a:gd name="connsiteY63" fmla="*/ 3821889 h 3827499"/>
              <a:gd name="connsiteX64" fmla="*/ 2283195 w 2771249"/>
              <a:gd name="connsiteY64" fmla="*/ 3771401 h 3827499"/>
              <a:gd name="connsiteX65" fmla="*/ 2271976 w 2771249"/>
              <a:gd name="connsiteY65" fmla="*/ 3676034 h 3827499"/>
              <a:gd name="connsiteX66" fmla="*/ 2451490 w 2771249"/>
              <a:gd name="connsiteY66" fmla="*/ 3597496 h 3827499"/>
              <a:gd name="connsiteX67" fmla="*/ 2434660 w 2771249"/>
              <a:gd name="connsiteY67" fmla="*/ 3423592 h 3827499"/>
              <a:gd name="connsiteX68" fmla="*/ 1929777 w 2771249"/>
              <a:gd name="connsiteY68" fmla="*/ 3395543 h 3827499"/>
              <a:gd name="connsiteX69" fmla="*/ 1918557 w 2771249"/>
              <a:gd name="connsiteY69" fmla="*/ 3070174 h 3827499"/>
              <a:gd name="connsiteX70" fmla="*/ 1884898 w 2771249"/>
              <a:gd name="connsiteY70" fmla="*/ 3053344 h 3827499"/>
              <a:gd name="connsiteX71" fmla="*/ 1907338 w 2771249"/>
              <a:gd name="connsiteY71" fmla="*/ 2873830 h 3827499"/>
              <a:gd name="connsiteX72" fmla="*/ 1862459 w 2771249"/>
              <a:gd name="connsiteY72" fmla="*/ 2812122 h 3827499"/>
              <a:gd name="connsiteX73" fmla="*/ 2109291 w 2771249"/>
              <a:gd name="connsiteY73" fmla="*/ 2756024 h 3827499"/>
              <a:gd name="connsiteX74" fmla="*/ 2131730 w 2771249"/>
              <a:gd name="connsiteY74" fmla="*/ 2626998 h 3827499"/>
              <a:gd name="connsiteX75" fmla="*/ 2372952 w 2771249"/>
              <a:gd name="connsiteY75" fmla="*/ 2660657 h 3827499"/>
              <a:gd name="connsiteX76" fmla="*/ 2597345 w 2771249"/>
              <a:gd name="connsiteY76" fmla="*/ 2071626 h 3827499"/>
              <a:gd name="connsiteX77" fmla="*/ 2552466 w 2771249"/>
              <a:gd name="connsiteY77" fmla="*/ 1987479 h 3827499"/>
              <a:gd name="connsiteX78" fmla="*/ 2698322 w 2771249"/>
              <a:gd name="connsiteY78" fmla="*/ 1499425 h 3827499"/>
              <a:gd name="connsiteX79" fmla="*/ 2642224 w 2771249"/>
              <a:gd name="connsiteY79" fmla="*/ 1392839 h 3827499"/>
              <a:gd name="connsiteX80" fmla="*/ 2501978 w 2771249"/>
              <a:gd name="connsiteY80" fmla="*/ 809418 h 3827499"/>
              <a:gd name="connsiteX81" fmla="*/ 2765640 w 2771249"/>
              <a:gd name="connsiteY81" fmla="*/ 674782 h 3827499"/>
              <a:gd name="connsiteX82" fmla="*/ 2771249 w 2771249"/>
              <a:gd name="connsiteY82" fmla="*/ 450390 h 3827499"/>
              <a:gd name="connsiteX83" fmla="*/ 2647833 w 2771249"/>
              <a:gd name="connsiteY83" fmla="*/ 80143 h 3827499"/>
              <a:gd name="connsiteX0" fmla="*/ 2647833 w 2765640"/>
              <a:gd name="connsiteY0" fmla="*/ 80143 h 3827499"/>
              <a:gd name="connsiteX1" fmla="*/ 2395391 w 2765640"/>
              <a:gd name="connsiteY1" fmla="*/ 1604 h 3827499"/>
              <a:gd name="connsiteX2" fmla="*/ 2193438 w 2765640"/>
              <a:gd name="connsiteY2" fmla="*/ 197948 h 3827499"/>
              <a:gd name="connsiteX3" fmla="*/ 2114901 w 2765640"/>
              <a:gd name="connsiteY3" fmla="*/ 214777 h 3827499"/>
              <a:gd name="connsiteX4" fmla="*/ 2142950 w 2765640"/>
              <a:gd name="connsiteY4" fmla="*/ 326974 h 3827499"/>
              <a:gd name="connsiteX5" fmla="*/ 2047583 w 2765640"/>
              <a:gd name="connsiteY5" fmla="*/ 495268 h 3827499"/>
              <a:gd name="connsiteX6" fmla="*/ 2159779 w 2765640"/>
              <a:gd name="connsiteY6" fmla="*/ 747710 h 3827499"/>
              <a:gd name="connsiteX7" fmla="*/ 2030754 w 2765640"/>
              <a:gd name="connsiteY7" fmla="*/ 792588 h 3827499"/>
              <a:gd name="connsiteX8" fmla="*/ 1997095 w 2765640"/>
              <a:gd name="connsiteY8" fmla="*/ 859906 h 3827499"/>
              <a:gd name="connsiteX9" fmla="*/ 1997095 w 2765640"/>
              <a:gd name="connsiteY9" fmla="*/ 747710 h 3827499"/>
              <a:gd name="connsiteX10" fmla="*/ 1946606 w 2765640"/>
              <a:gd name="connsiteY10" fmla="*/ 708441 h 3827499"/>
              <a:gd name="connsiteX11" fmla="*/ 1772702 w 2765640"/>
              <a:gd name="connsiteY11" fmla="*/ 758929 h 3827499"/>
              <a:gd name="connsiteX12" fmla="*/ 1402454 w 2765640"/>
              <a:gd name="connsiteY12" fmla="*/ 618684 h 3827499"/>
              <a:gd name="connsiteX13" fmla="*/ 1705384 w 2765640"/>
              <a:gd name="connsiteY13" fmla="*/ 1190885 h 3827499"/>
              <a:gd name="connsiteX14" fmla="*/ 1800751 w 2765640"/>
              <a:gd name="connsiteY14" fmla="*/ 1263813 h 3827499"/>
              <a:gd name="connsiteX15" fmla="*/ 1649286 w 2765640"/>
              <a:gd name="connsiteY15" fmla="*/ 1488205 h 3827499"/>
              <a:gd name="connsiteX16" fmla="*/ 1727824 w 2765640"/>
              <a:gd name="connsiteY16" fmla="*/ 1706988 h 3827499"/>
              <a:gd name="connsiteX17" fmla="*/ 1817581 w 2765640"/>
              <a:gd name="connsiteY17" fmla="*/ 1701379 h 3827499"/>
              <a:gd name="connsiteX18" fmla="*/ 1671725 w 2765640"/>
              <a:gd name="connsiteY18" fmla="*/ 1869673 h 3827499"/>
              <a:gd name="connsiteX19" fmla="*/ 914400 w 2765640"/>
              <a:gd name="connsiteY19" fmla="*/ 1617231 h 3827499"/>
              <a:gd name="connsiteX20" fmla="*/ 460005 w 2765640"/>
              <a:gd name="connsiteY20" fmla="*/ 2643828 h 3827499"/>
              <a:gd name="connsiteX21" fmla="*/ 263662 w 2765640"/>
              <a:gd name="connsiteY21" fmla="*/ 2851391 h 3827499"/>
              <a:gd name="connsiteX22" fmla="*/ 44879 w 2765640"/>
              <a:gd name="connsiteY22" fmla="*/ 2896269 h 3827499"/>
              <a:gd name="connsiteX23" fmla="*/ 0 w 2765640"/>
              <a:gd name="connsiteY23" fmla="*/ 3002856 h 3827499"/>
              <a:gd name="connsiteX24" fmla="*/ 274881 w 2765640"/>
              <a:gd name="connsiteY24" fmla="*/ 3126272 h 3827499"/>
              <a:gd name="connsiteX25" fmla="*/ 504884 w 2765640"/>
              <a:gd name="connsiteY25" fmla="*/ 3025295 h 3827499"/>
              <a:gd name="connsiteX26" fmla="*/ 471225 w 2765640"/>
              <a:gd name="connsiteY26" fmla="*/ 3154321 h 3827499"/>
              <a:gd name="connsiteX27" fmla="*/ 572201 w 2765640"/>
              <a:gd name="connsiteY27" fmla="*/ 3199199 h 3827499"/>
              <a:gd name="connsiteX28" fmla="*/ 381468 w 2765640"/>
              <a:gd name="connsiteY28" fmla="*/ 3659204 h 3827499"/>
              <a:gd name="connsiteX29" fmla="*/ 196344 w 2765640"/>
              <a:gd name="connsiteY29" fmla="*/ 3704083 h 3827499"/>
              <a:gd name="connsiteX30" fmla="*/ 263662 w 2765640"/>
              <a:gd name="connsiteY30" fmla="*/ 3805059 h 3827499"/>
              <a:gd name="connsiteX31" fmla="*/ 555372 w 2765640"/>
              <a:gd name="connsiteY31" fmla="*/ 3827499 h 3827499"/>
              <a:gd name="connsiteX32" fmla="*/ 589031 w 2765640"/>
              <a:gd name="connsiteY32" fmla="*/ 3619936 h 3827499"/>
              <a:gd name="connsiteX33" fmla="*/ 645129 w 2765640"/>
              <a:gd name="connsiteY33" fmla="*/ 3614326 h 3827499"/>
              <a:gd name="connsiteX34" fmla="*/ 690008 w 2765640"/>
              <a:gd name="connsiteY34" fmla="*/ 3737742 h 3827499"/>
              <a:gd name="connsiteX35" fmla="*/ 774155 w 2765640"/>
              <a:gd name="connsiteY35" fmla="*/ 3743352 h 3827499"/>
              <a:gd name="connsiteX36" fmla="*/ 779765 w 2765640"/>
              <a:gd name="connsiteY36" fmla="*/ 3513349 h 3827499"/>
              <a:gd name="connsiteX37" fmla="*/ 746106 w 2765640"/>
              <a:gd name="connsiteY37" fmla="*/ 3244078 h 3827499"/>
              <a:gd name="connsiteX38" fmla="*/ 903181 w 2765640"/>
              <a:gd name="connsiteY38" fmla="*/ 2666267 h 3827499"/>
              <a:gd name="connsiteX39" fmla="*/ 1166842 w 2765640"/>
              <a:gd name="connsiteY39" fmla="*/ 2559680 h 3827499"/>
              <a:gd name="connsiteX40" fmla="*/ 1531480 w 2765640"/>
              <a:gd name="connsiteY40" fmla="*/ 2666267 h 3827499"/>
              <a:gd name="connsiteX41" fmla="*/ 1593188 w 2765640"/>
              <a:gd name="connsiteY41" fmla="*/ 2666267 h 3827499"/>
              <a:gd name="connsiteX42" fmla="*/ 1649286 w 2765640"/>
              <a:gd name="connsiteY42" fmla="*/ 2767244 h 3827499"/>
              <a:gd name="connsiteX43" fmla="*/ 1800751 w 2765640"/>
              <a:gd name="connsiteY43" fmla="*/ 2800902 h 3827499"/>
              <a:gd name="connsiteX44" fmla="*/ 1811971 w 2765640"/>
              <a:gd name="connsiteY44" fmla="*/ 2834561 h 3827499"/>
              <a:gd name="connsiteX45" fmla="*/ 1772702 w 2765640"/>
              <a:gd name="connsiteY45" fmla="*/ 3036515 h 3827499"/>
              <a:gd name="connsiteX46" fmla="*/ 1750263 w 2765640"/>
              <a:gd name="connsiteY46" fmla="*/ 3361884 h 3827499"/>
              <a:gd name="connsiteX47" fmla="*/ 1542700 w 2765640"/>
              <a:gd name="connsiteY47" fmla="*/ 3384323 h 3827499"/>
              <a:gd name="connsiteX48" fmla="*/ 1206111 w 2765640"/>
              <a:gd name="connsiteY48" fmla="*/ 3434812 h 3827499"/>
              <a:gd name="connsiteX49" fmla="*/ 1178062 w 2765640"/>
              <a:gd name="connsiteY49" fmla="*/ 3507739 h 3827499"/>
              <a:gd name="connsiteX50" fmla="*/ 1116354 w 2765640"/>
              <a:gd name="connsiteY50" fmla="*/ 3535788 h 3827499"/>
              <a:gd name="connsiteX51" fmla="*/ 1144403 w 2765640"/>
              <a:gd name="connsiteY51" fmla="*/ 3670424 h 3827499"/>
              <a:gd name="connsiteX52" fmla="*/ 1284648 w 2765640"/>
              <a:gd name="connsiteY52" fmla="*/ 3676034 h 3827499"/>
              <a:gd name="connsiteX53" fmla="*/ 1279038 w 2765640"/>
              <a:gd name="connsiteY53" fmla="*/ 3524569 h 3827499"/>
              <a:gd name="connsiteX54" fmla="*/ 1458552 w 2765640"/>
              <a:gd name="connsiteY54" fmla="*/ 3535788 h 3827499"/>
              <a:gd name="connsiteX55" fmla="*/ 1430503 w 2765640"/>
              <a:gd name="connsiteY55" fmla="*/ 3614326 h 3827499"/>
              <a:gd name="connsiteX56" fmla="*/ 1402454 w 2765640"/>
              <a:gd name="connsiteY56" fmla="*/ 3676034 h 3827499"/>
              <a:gd name="connsiteX57" fmla="*/ 1318307 w 2765640"/>
              <a:gd name="connsiteY57" fmla="*/ 3692863 h 3827499"/>
              <a:gd name="connsiteX58" fmla="*/ 1452943 w 2765640"/>
              <a:gd name="connsiteY58" fmla="*/ 3816279 h 3827499"/>
              <a:gd name="connsiteX59" fmla="*/ 1520260 w 2765640"/>
              <a:gd name="connsiteY59" fmla="*/ 3681644 h 3827499"/>
              <a:gd name="connsiteX60" fmla="*/ 1823190 w 2765640"/>
              <a:gd name="connsiteY60" fmla="*/ 3580667 h 3827499"/>
              <a:gd name="connsiteX61" fmla="*/ 2159779 w 2765640"/>
              <a:gd name="connsiteY61" fmla="*/ 3653594 h 3827499"/>
              <a:gd name="connsiteX62" fmla="*/ 2114901 w 2765640"/>
              <a:gd name="connsiteY62" fmla="*/ 3754571 h 3827499"/>
              <a:gd name="connsiteX63" fmla="*/ 2210268 w 2765640"/>
              <a:gd name="connsiteY63" fmla="*/ 3821889 h 3827499"/>
              <a:gd name="connsiteX64" fmla="*/ 2283195 w 2765640"/>
              <a:gd name="connsiteY64" fmla="*/ 3771401 h 3827499"/>
              <a:gd name="connsiteX65" fmla="*/ 2271976 w 2765640"/>
              <a:gd name="connsiteY65" fmla="*/ 3676034 h 3827499"/>
              <a:gd name="connsiteX66" fmla="*/ 2451490 w 2765640"/>
              <a:gd name="connsiteY66" fmla="*/ 3597496 h 3827499"/>
              <a:gd name="connsiteX67" fmla="*/ 2434660 w 2765640"/>
              <a:gd name="connsiteY67" fmla="*/ 3423592 h 3827499"/>
              <a:gd name="connsiteX68" fmla="*/ 1929777 w 2765640"/>
              <a:gd name="connsiteY68" fmla="*/ 3395543 h 3827499"/>
              <a:gd name="connsiteX69" fmla="*/ 1918557 w 2765640"/>
              <a:gd name="connsiteY69" fmla="*/ 3070174 h 3827499"/>
              <a:gd name="connsiteX70" fmla="*/ 1884898 w 2765640"/>
              <a:gd name="connsiteY70" fmla="*/ 3053344 h 3827499"/>
              <a:gd name="connsiteX71" fmla="*/ 1907338 w 2765640"/>
              <a:gd name="connsiteY71" fmla="*/ 2873830 h 3827499"/>
              <a:gd name="connsiteX72" fmla="*/ 1862459 w 2765640"/>
              <a:gd name="connsiteY72" fmla="*/ 2812122 h 3827499"/>
              <a:gd name="connsiteX73" fmla="*/ 2109291 w 2765640"/>
              <a:gd name="connsiteY73" fmla="*/ 2756024 h 3827499"/>
              <a:gd name="connsiteX74" fmla="*/ 2131730 w 2765640"/>
              <a:gd name="connsiteY74" fmla="*/ 2626998 h 3827499"/>
              <a:gd name="connsiteX75" fmla="*/ 2372952 w 2765640"/>
              <a:gd name="connsiteY75" fmla="*/ 2660657 h 3827499"/>
              <a:gd name="connsiteX76" fmla="*/ 2597345 w 2765640"/>
              <a:gd name="connsiteY76" fmla="*/ 2071626 h 3827499"/>
              <a:gd name="connsiteX77" fmla="*/ 2552466 w 2765640"/>
              <a:gd name="connsiteY77" fmla="*/ 1987479 h 3827499"/>
              <a:gd name="connsiteX78" fmla="*/ 2698322 w 2765640"/>
              <a:gd name="connsiteY78" fmla="*/ 1499425 h 3827499"/>
              <a:gd name="connsiteX79" fmla="*/ 2642224 w 2765640"/>
              <a:gd name="connsiteY79" fmla="*/ 1392839 h 3827499"/>
              <a:gd name="connsiteX80" fmla="*/ 2501978 w 2765640"/>
              <a:gd name="connsiteY80" fmla="*/ 809418 h 3827499"/>
              <a:gd name="connsiteX81" fmla="*/ 2765640 w 2765640"/>
              <a:gd name="connsiteY81" fmla="*/ 674782 h 3827499"/>
              <a:gd name="connsiteX82" fmla="*/ 2715151 w 2765640"/>
              <a:gd name="connsiteY82" fmla="*/ 472829 h 3827499"/>
              <a:gd name="connsiteX83" fmla="*/ 2647833 w 2765640"/>
              <a:gd name="connsiteY83" fmla="*/ 80143 h 3827499"/>
              <a:gd name="connsiteX0" fmla="*/ 2647833 w 2793512"/>
              <a:gd name="connsiteY0" fmla="*/ 80143 h 3827499"/>
              <a:gd name="connsiteX1" fmla="*/ 2395391 w 2793512"/>
              <a:gd name="connsiteY1" fmla="*/ 1604 h 3827499"/>
              <a:gd name="connsiteX2" fmla="*/ 2193438 w 2793512"/>
              <a:gd name="connsiteY2" fmla="*/ 197948 h 3827499"/>
              <a:gd name="connsiteX3" fmla="*/ 2114901 w 2793512"/>
              <a:gd name="connsiteY3" fmla="*/ 214777 h 3827499"/>
              <a:gd name="connsiteX4" fmla="*/ 2142950 w 2793512"/>
              <a:gd name="connsiteY4" fmla="*/ 326974 h 3827499"/>
              <a:gd name="connsiteX5" fmla="*/ 2047583 w 2793512"/>
              <a:gd name="connsiteY5" fmla="*/ 495268 h 3827499"/>
              <a:gd name="connsiteX6" fmla="*/ 2159779 w 2793512"/>
              <a:gd name="connsiteY6" fmla="*/ 747710 h 3827499"/>
              <a:gd name="connsiteX7" fmla="*/ 2030754 w 2793512"/>
              <a:gd name="connsiteY7" fmla="*/ 792588 h 3827499"/>
              <a:gd name="connsiteX8" fmla="*/ 1997095 w 2793512"/>
              <a:gd name="connsiteY8" fmla="*/ 859906 h 3827499"/>
              <a:gd name="connsiteX9" fmla="*/ 1997095 w 2793512"/>
              <a:gd name="connsiteY9" fmla="*/ 747710 h 3827499"/>
              <a:gd name="connsiteX10" fmla="*/ 1946606 w 2793512"/>
              <a:gd name="connsiteY10" fmla="*/ 708441 h 3827499"/>
              <a:gd name="connsiteX11" fmla="*/ 1772702 w 2793512"/>
              <a:gd name="connsiteY11" fmla="*/ 758929 h 3827499"/>
              <a:gd name="connsiteX12" fmla="*/ 1402454 w 2793512"/>
              <a:gd name="connsiteY12" fmla="*/ 618684 h 3827499"/>
              <a:gd name="connsiteX13" fmla="*/ 1705384 w 2793512"/>
              <a:gd name="connsiteY13" fmla="*/ 1190885 h 3827499"/>
              <a:gd name="connsiteX14" fmla="*/ 1800751 w 2793512"/>
              <a:gd name="connsiteY14" fmla="*/ 1263813 h 3827499"/>
              <a:gd name="connsiteX15" fmla="*/ 1649286 w 2793512"/>
              <a:gd name="connsiteY15" fmla="*/ 1488205 h 3827499"/>
              <a:gd name="connsiteX16" fmla="*/ 1727824 w 2793512"/>
              <a:gd name="connsiteY16" fmla="*/ 1706988 h 3827499"/>
              <a:gd name="connsiteX17" fmla="*/ 1817581 w 2793512"/>
              <a:gd name="connsiteY17" fmla="*/ 1701379 h 3827499"/>
              <a:gd name="connsiteX18" fmla="*/ 1671725 w 2793512"/>
              <a:gd name="connsiteY18" fmla="*/ 1869673 h 3827499"/>
              <a:gd name="connsiteX19" fmla="*/ 914400 w 2793512"/>
              <a:gd name="connsiteY19" fmla="*/ 1617231 h 3827499"/>
              <a:gd name="connsiteX20" fmla="*/ 460005 w 2793512"/>
              <a:gd name="connsiteY20" fmla="*/ 2643828 h 3827499"/>
              <a:gd name="connsiteX21" fmla="*/ 263662 w 2793512"/>
              <a:gd name="connsiteY21" fmla="*/ 2851391 h 3827499"/>
              <a:gd name="connsiteX22" fmla="*/ 44879 w 2793512"/>
              <a:gd name="connsiteY22" fmla="*/ 2896269 h 3827499"/>
              <a:gd name="connsiteX23" fmla="*/ 0 w 2793512"/>
              <a:gd name="connsiteY23" fmla="*/ 3002856 h 3827499"/>
              <a:gd name="connsiteX24" fmla="*/ 274881 w 2793512"/>
              <a:gd name="connsiteY24" fmla="*/ 3126272 h 3827499"/>
              <a:gd name="connsiteX25" fmla="*/ 504884 w 2793512"/>
              <a:gd name="connsiteY25" fmla="*/ 3025295 h 3827499"/>
              <a:gd name="connsiteX26" fmla="*/ 471225 w 2793512"/>
              <a:gd name="connsiteY26" fmla="*/ 3154321 h 3827499"/>
              <a:gd name="connsiteX27" fmla="*/ 572201 w 2793512"/>
              <a:gd name="connsiteY27" fmla="*/ 3199199 h 3827499"/>
              <a:gd name="connsiteX28" fmla="*/ 381468 w 2793512"/>
              <a:gd name="connsiteY28" fmla="*/ 3659204 h 3827499"/>
              <a:gd name="connsiteX29" fmla="*/ 196344 w 2793512"/>
              <a:gd name="connsiteY29" fmla="*/ 3704083 h 3827499"/>
              <a:gd name="connsiteX30" fmla="*/ 263662 w 2793512"/>
              <a:gd name="connsiteY30" fmla="*/ 3805059 h 3827499"/>
              <a:gd name="connsiteX31" fmla="*/ 555372 w 2793512"/>
              <a:gd name="connsiteY31" fmla="*/ 3827499 h 3827499"/>
              <a:gd name="connsiteX32" fmla="*/ 589031 w 2793512"/>
              <a:gd name="connsiteY32" fmla="*/ 3619936 h 3827499"/>
              <a:gd name="connsiteX33" fmla="*/ 645129 w 2793512"/>
              <a:gd name="connsiteY33" fmla="*/ 3614326 h 3827499"/>
              <a:gd name="connsiteX34" fmla="*/ 690008 w 2793512"/>
              <a:gd name="connsiteY34" fmla="*/ 3737742 h 3827499"/>
              <a:gd name="connsiteX35" fmla="*/ 774155 w 2793512"/>
              <a:gd name="connsiteY35" fmla="*/ 3743352 h 3827499"/>
              <a:gd name="connsiteX36" fmla="*/ 779765 w 2793512"/>
              <a:gd name="connsiteY36" fmla="*/ 3513349 h 3827499"/>
              <a:gd name="connsiteX37" fmla="*/ 746106 w 2793512"/>
              <a:gd name="connsiteY37" fmla="*/ 3244078 h 3827499"/>
              <a:gd name="connsiteX38" fmla="*/ 903181 w 2793512"/>
              <a:gd name="connsiteY38" fmla="*/ 2666267 h 3827499"/>
              <a:gd name="connsiteX39" fmla="*/ 1166842 w 2793512"/>
              <a:gd name="connsiteY39" fmla="*/ 2559680 h 3827499"/>
              <a:gd name="connsiteX40" fmla="*/ 1531480 w 2793512"/>
              <a:gd name="connsiteY40" fmla="*/ 2666267 h 3827499"/>
              <a:gd name="connsiteX41" fmla="*/ 1593188 w 2793512"/>
              <a:gd name="connsiteY41" fmla="*/ 2666267 h 3827499"/>
              <a:gd name="connsiteX42" fmla="*/ 1649286 w 2793512"/>
              <a:gd name="connsiteY42" fmla="*/ 2767244 h 3827499"/>
              <a:gd name="connsiteX43" fmla="*/ 1800751 w 2793512"/>
              <a:gd name="connsiteY43" fmla="*/ 2800902 h 3827499"/>
              <a:gd name="connsiteX44" fmla="*/ 1811971 w 2793512"/>
              <a:gd name="connsiteY44" fmla="*/ 2834561 h 3827499"/>
              <a:gd name="connsiteX45" fmla="*/ 1772702 w 2793512"/>
              <a:gd name="connsiteY45" fmla="*/ 3036515 h 3827499"/>
              <a:gd name="connsiteX46" fmla="*/ 1750263 w 2793512"/>
              <a:gd name="connsiteY46" fmla="*/ 3361884 h 3827499"/>
              <a:gd name="connsiteX47" fmla="*/ 1542700 w 2793512"/>
              <a:gd name="connsiteY47" fmla="*/ 3384323 h 3827499"/>
              <a:gd name="connsiteX48" fmla="*/ 1206111 w 2793512"/>
              <a:gd name="connsiteY48" fmla="*/ 3434812 h 3827499"/>
              <a:gd name="connsiteX49" fmla="*/ 1178062 w 2793512"/>
              <a:gd name="connsiteY49" fmla="*/ 3507739 h 3827499"/>
              <a:gd name="connsiteX50" fmla="*/ 1116354 w 2793512"/>
              <a:gd name="connsiteY50" fmla="*/ 3535788 h 3827499"/>
              <a:gd name="connsiteX51" fmla="*/ 1144403 w 2793512"/>
              <a:gd name="connsiteY51" fmla="*/ 3670424 h 3827499"/>
              <a:gd name="connsiteX52" fmla="*/ 1284648 w 2793512"/>
              <a:gd name="connsiteY52" fmla="*/ 3676034 h 3827499"/>
              <a:gd name="connsiteX53" fmla="*/ 1279038 w 2793512"/>
              <a:gd name="connsiteY53" fmla="*/ 3524569 h 3827499"/>
              <a:gd name="connsiteX54" fmla="*/ 1458552 w 2793512"/>
              <a:gd name="connsiteY54" fmla="*/ 3535788 h 3827499"/>
              <a:gd name="connsiteX55" fmla="*/ 1430503 w 2793512"/>
              <a:gd name="connsiteY55" fmla="*/ 3614326 h 3827499"/>
              <a:gd name="connsiteX56" fmla="*/ 1402454 w 2793512"/>
              <a:gd name="connsiteY56" fmla="*/ 3676034 h 3827499"/>
              <a:gd name="connsiteX57" fmla="*/ 1318307 w 2793512"/>
              <a:gd name="connsiteY57" fmla="*/ 3692863 h 3827499"/>
              <a:gd name="connsiteX58" fmla="*/ 1452943 w 2793512"/>
              <a:gd name="connsiteY58" fmla="*/ 3816279 h 3827499"/>
              <a:gd name="connsiteX59" fmla="*/ 1520260 w 2793512"/>
              <a:gd name="connsiteY59" fmla="*/ 3681644 h 3827499"/>
              <a:gd name="connsiteX60" fmla="*/ 1823190 w 2793512"/>
              <a:gd name="connsiteY60" fmla="*/ 3580667 h 3827499"/>
              <a:gd name="connsiteX61" fmla="*/ 2159779 w 2793512"/>
              <a:gd name="connsiteY61" fmla="*/ 3653594 h 3827499"/>
              <a:gd name="connsiteX62" fmla="*/ 2114901 w 2793512"/>
              <a:gd name="connsiteY62" fmla="*/ 3754571 h 3827499"/>
              <a:gd name="connsiteX63" fmla="*/ 2210268 w 2793512"/>
              <a:gd name="connsiteY63" fmla="*/ 3821889 h 3827499"/>
              <a:gd name="connsiteX64" fmla="*/ 2283195 w 2793512"/>
              <a:gd name="connsiteY64" fmla="*/ 3771401 h 3827499"/>
              <a:gd name="connsiteX65" fmla="*/ 2271976 w 2793512"/>
              <a:gd name="connsiteY65" fmla="*/ 3676034 h 3827499"/>
              <a:gd name="connsiteX66" fmla="*/ 2451490 w 2793512"/>
              <a:gd name="connsiteY66" fmla="*/ 3597496 h 3827499"/>
              <a:gd name="connsiteX67" fmla="*/ 2434660 w 2793512"/>
              <a:gd name="connsiteY67" fmla="*/ 3423592 h 3827499"/>
              <a:gd name="connsiteX68" fmla="*/ 1929777 w 2793512"/>
              <a:gd name="connsiteY68" fmla="*/ 3395543 h 3827499"/>
              <a:gd name="connsiteX69" fmla="*/ 1918557 w 2793512"/>
              <a:gd name="connsiteY69" fmla="*/ 3070174 h 3827499"/>
              <a:gd name="connsiteX70" fmla="*/ 1884898 w 2793512"/>
              <a:gd name="connsiteY70" fmla="*/ 3053344 h 3827499"/>
              <a:gd name="connsiteX71" fmla="*/ 1907338 w 2793512"/>
              <a:gd name="connsiteY71" fmla="*/ 2873830 h 3827499"/>
              <a:gd name="connsiteX72" fmla="*/ 1862459 w 2793512"/>
              <a:gd name="connsiteY72" fmla="*/ 2812122 h 3827499"/>
              <a:gd name="connsiteX73" fmla="*/ 2109291 w 2793512"/>
              <a:gd name="connsiteY73" fmla="*/ 2756024 h 3827499"/>
              <a:gd name="connsiteX74" fmla="*/ 2131730 w 2793512"/>
              <a:gd name="connsiteY74" fmla="*/ 2626998 h 3827499"/>
              <a:gd name="connsiteX75" fmla="*/ 2372952 w 2793512"/>
              <a:gd name="connsiteY75" fmla="*/ 2660657 h 3827499"/>
              <a:gd name="connsiteX76" fmla="*/ 2597345 w 2793512"/>
              <a:gd name="connsiteY76" fmla="*/ 2071626 h 3827499"/>
              <a:gd name="connsiteX77" fmla="*/ 2552466 w 2793512"/>
              <a:gd name="connsiteY77" fmla="*/ 1987479 h 3827499"/>
              <a:gd name="connsiteX78" fmla="*/ 2698322 w 2793512"/>
              <a:gd name="connsiteY78" fmla="*/ 1499425 h 3827499"/>
              <a:gd name="connsiteX79" fmla="*/ 2642224 w 2793512"/>
              <a:gd name="connsiteY79" fmla="*/ 1392839 h 3827499"/>
              <a:gd name="connsiteX80" fmla="*/ 2501978 w 2793512"/>
              <a:gd name="connsiteY80" fmla="*/ 809418 h 3827499"/>
              <a:gd name="connsiteX81" fmla="*/ 2765640 w 2793512"/>
              <a:gd name="connsiteY81" fmla="*/ 674782 h 3827499"/>
              <a:gd name="connsiteX82" fmla="*/ 2715151 w 2793512"/>
              <a:gd name="connsiteY82" fmla="*/ 472829 h 3827499"/>
              <a:gd name="connsiteX83" fmla="*/ 2647833 w 2793512"/>
              <a:gd name="connsiteY83" fmla="*/ 80143 h 3827499"/>
              <a:gd name="connsiteX0" fmla="*/ 2647833 w 2814039"/>
              <a:gd name="connsiteY0" fmla="*/ 80143 h 3827499"/>
              <a:gd name="connsiteX1" fmla="*/ 2395391 w 2814039"/>
              <a:gd name="connsiteY1" fmla="*/ 1604 h 3827499"/>
              <a:gd name="connsiteX2" fmla="*/ 2193438 w 2814039"/>
              <a:gd name="connsiteY2" fmla="*/ 197948 h 3827499"/>
              <a:gd name="connsiteX3" fmla="*/ 2114901 w 2814039"/>
              <a:gd name="connsiteY3" fmla="*/ 214777 h 3827499"/>
              <a:gd name="connsiteX4" fmla="*/ 2142950 w 2814039"/>
              <a:gd name="connsiteY4" fmla="*/ 326974 h 3827499"/>
              <a:gd name="connsiteX5" fmla="*/ 2047583 w 2814039"/>
              <a:gd name="connsiteY5" fmla="*/ 495268 h 3827499"/>
              <a:gd name="connsiteX6" fmla="*/ 2159779 w 2814039"/>
              <a:gd name="connsiteY6" fmla="*/ 747710 h 3827499"/>
              <a:gd name="connsiteX7" fmla="*/ 2030754 w 2814039"/>
              <a:gd name="connsiteY7" fmla="*/ 792588 h 3827499"/>
              <a:gd name="connsiteX8" fmla="*/ 1997095 w 2814039"/>
              <a:gd name="connsiteY8" fmla="*/ 859906 h 3827499"/>
              <a:gd name="connsiteX9" fmla="*/ 1997095 w 2814039"/>
              <a:gd name="connsiteY9" fmla="*/ 747710 h 3827499"/>
              <a:gd name="connsiteX10" fmla="*/ 1946606 w 2814039"/>
              <a:gd name="connsiteY10" fmla="*/ 708441 h 3827499"/>
              <a:gd name="connsiteX11" fmla="*/ 1772702 w 2814039"/>
              <a:gd name="connsiteY11" fmla="*/ 758929 h 3827499"/>
              <a:gd name="connsiteX12" fmla="*/ 1402454 w 2814039"/>
              <a:gd name="connsiteY12" fmla="*/ 618684 h 3827499"/>
              <a:gd name="connsiteX13" fmla="*/ 1705384 w 2814039"/>
              <a:gd name="connsiteY13" fmla="*/ 1190885 h 3827499"/>
              <a:gd name="connsiteX14" fmla="*/ 1800751 w 2814039"/>
              <a:gd name="connsiteY14" fmla="*/ 1263813 h 3827499"/>
              <a:gd name="connsiteX15" fmla="*/ 1649286 w 2814039"/>
              <a:gd name="connsiteY15" fmla="*/ 1488205 h 3827499"/>
              <a:gd name="connsiteX16" fmla="*/ 1727824 w 2814039"/>
              <a:gd name="connsiteY16" fmla="*/ 1706988 h 3827499"/>
              <a:gd name="connsiteX17" fmla="*/ 1817581 w 2814039"/>
              <a:gd name="connsiteY17" fmla="*/ 1701379 h 3827499"/>
              <a:gd name="connsiteX18" fmla="*/ 1671725 w 2814039"/>
              <a:gd name="connsiteY18" fmla="*/ 1869673 h 3827499"/>
              <a:gd name="connsiteX19" fmla="*/ 914400 w 2814039"/>
              <a:gd name="connsiteY19" fmla="*/ 1617231 h 3827499"/>
              <a:gd name="connsiteX20" fmla="*/ 460005 w 2814039"/>
              <a:gd name="connsiteY20" fmla="*/ 2643828 h 3827499"/>
              <a:gd name="connsiteX21" fmla="*/ 263662 w 2814039"/>
              <a:gd name="connsiteY21" fmla="*/ 2851391 h 3827499"/>
              <a:gd name="connsiteX22" fmla="*/ 44879 w 2814039"/>
              <a:gd name="connsiteY22" fmla="*/ 2896269 h 3827499"/>
              <a:gd name="connsiteX23" fmla="*/ 0 w 2814039"/>
              <a:gd name="connsiteY23" fmla="*/ 3002856 h 3827499"/>
              <a:gd name="connsiteX24" fmla="*/ 274881 w 2814039"/>
              <a:gd name="connsiteY24" fmla="*/ 3126272 h 3827499"/>
              <a:gd name="connsiteX25" fmla="*/ 504884 w 2814039"/>
              <a:gd name="connsiteY25" fmla="*/ 3025295 h 3827499"/>
              <a:gd name="connsiteX26" fmla="*/ 471225 w 2814039"/>
              <a:gd name="connsiteY26" fmla="*/ 3154321 h 3827499"/>
              <a:gd name="connsiteX27" fmla="*/ 572201 w 2814039"/>
              <a:gd name="connsiteY27" fmla="*/ 3199199 h 3827499"/>
              <a:gd name="connsiteX28" fmla="*/ 381468 w 2814039"/>
              <a:gd name="connsiteY28" fmla="*/ 3659204 h 3827499"/>
              <a:gd name="connsiteX29" fmla="*/ 196344 w 2814039"/>
              <a:gd name="connsiteY29" fmla="*/ 3704083 h 3827499"/>
              <a:gd name="connsiteX30" fmla="*/ 263662 w 2814039"/>
              <a:gd name="connsiteY30" fmla="*/ 3805059 h 3827499"/>
              <a:gd name="connsiteX31" fmla="*/ 555372 w 2814039"/>
              <a:gd name="connsiteY31" fmla="*/ 3827499 h 3827499"/>
              <a:gd name="connsiteX32" fmla="*/ 589031 w 2814039"/>
              <a:gd name="connsiteY32" fmla="*/ 3619936 h 3827499"/>
              <a:gd name="connsiteX33" fmla="*/ 645129 w 2814039"/>
              <a:gd name="connsiteY33" fmla="*/ 3614326 h 3827499"/>
              <a:gd name="connsiteX34" fmla="*/ 690008 w 2814039"/>
              <a:gd name="connsiteY34" fmla="*/ 3737742 h 3827499"/>
              <a:gd name="connsiteX35" fmla="*/ 774155 w 2814039"/>
              <a:gd name="connsiteY35" fmla="*/ 3743352 h 3827499"/>
              <a:gd name="connsiteX36" fmla="*/ 779765 w 2814039"/>
              <a:gd name="connsiteY36" fmla="*/ 3513349 h 3827499"/>
              <a:gd name="connsiteX37" fmla="*/ 746106 w 2814039"/>
              <a:gd name="connsiteY37" fmla="*/ 3244078 h 3827499"/>
              <a:gd name="connsiteX38" fmla="*/ 903181 w 2814039"/>
              <a:gd name="connsiteY38" fmla="*/ 2666267 h 3827499"/>
              <a:gd name="connsiteX39" fmla="*/ 1166842 w 2814039"/>
              <a:gd name="connsiteY39" fmla="*/ 2559680 h 3827499"/>
              <a:gd name="connsiteX40" fmla="*/ 1531480 w 2814039"/>
              <a:gd name="connsiteY40" fmla="*/ 2666267 h 3827499"/>
              <a:gd name="connsiteX41" fmla="*/ 1593188 w 2814039"/>
              <a:gd name="connsiteY41" fmla="*/ 2666267 h 3827499"/>
              <a:gd name="connsiteX42" fmla="*/ 1649286 w 2814039"/>
              <a:gd name="connsiteY42" fmla="*/ 2767244 h 3827499"/>
              <a:gd name="connsiteX43" fmla="*/ 1800751 w 2814039"/>
              <a:gd name="connsiteY43" fmla="*/ 2800902 h 3827499"/>
              <a:gd name="connsiteX44" fmla="*/ 1811971 w 2814039"/>
              <a:gd name="connsiteY44" fmla="*/ 2834561 h 3827499"/>
              <a:gd name="connsiteX45" fmla="*/ 1772702 w 2814039"/>
              <a:gd name="connsiteY45" fmla="*/ 3036515 h 3827499"/>
              <a:gd name="connsiteX46" fmla="*/ 1750263 w 2814039"/>
              <a:gd name="connsiteY46" fmla="*/ 3361884 h 3827499"/>
              <a:gd name="connsiteX47" fmla="*/ 1542700 w 2814039"/>
              <a:gd name="connsiteY47" fmla="*/ 3384323 h 3827499"/>
              <a:gd name="connsiteX48" fmla="*/ 1206111 w 2814039"/>
              <a:gd name="connsiteY48" fmla="*/ 3434812 h 3827499"/>
              <a:gd name="connsiteX49" fmla="*/ 1178062 w 2814039"/>
              <a:gd name="connsiteY49" fmla="*/ 3507739 h 3827499"/>
              <a:gd name="connsiteX50" fmla="*/ 1116354 w 2814039"/>
              <a:gd name="connsiteY50" fmla="*/ 3535788 h 3827499"/>
              <a:gd name="connsiteX51" fmla="*/ 1144403 w 2814039"/>
              <a:gd name="connsiteY51" fmla="*/ 3670424 h 3827499"/>
              <a:gd name="connsiteX52" fmla="*/ 1284648 w 2814039"/>
              <a:gd name="connsiteY52" fmla="*/ 3676034 h 3827499"/>
              <a:gd name="connsiteX53" fmla="*/ 1279038 w 2814039"/>
              <a:gd name="connsiteY53" fmla="*/ 3524569 h 3827499"/>
              <a:gd name="connsiteX54" fmla="*/ 1458552 w 2814039"/>
              <a:gd name="connsiteY54" fmla="*/ 3535788 h 3827499"/>
              <a:gd name="connsiteX55" fmla="*/ 1430503 w 2814039"/>
              <a:gd name="connsiteY55" fmla="*/ 3614326 h 3827499"/>
              <a:gd name="connsiteX56" fmla="*/ 1402454 w 2814039"/>
              <a:gd name="connsiteY56" fmla="*/ 3676034 h 3827499"/>
              <a:gd name="connsiteX57" fmla="*/ 1318307 w 2814039"/>
              <a:gd name="connsiteY57" fmla="*/ 3692863 h 3827499"/>
              <a:gd name="connsiteX58" fmla="*/ 1452943 w 2814039"/>
              <a:gd name="connsiteY58" fmla="*/ 3816279 h 3827499"/>
              <a:gd name="connsiteX59" fmla="*/ 1520260 w 2814039"/>
              <a:gd name="connsiteY59" fmla="*/ 3681644 h 3827499"/>
              <a:gd name="connsiteX60" fmla="*/ 1823190 w 2814039"/>
              <a:gd name="connsiteY60" fmla="*/ 3580667 h 3827499"/>
              <a:gd name="connsiteX61" fmla="*/ 2159779 w 2814039"/>
              <a:gd name="connsiteY61" fmla="*/ 3653594 h 3827499"/>
              <a:gd name="connsiteX62" fmla="*/ 2114901 w 2814039"/>
              <a:gd name="connsiteY62" fmla="*/ 3754571 h 3827499"/>
              <a:gd name="connsiteX63" fmla="*/ 2210268 w 2814039"/>
              <a:gd name="connsiteY63" fmla="*/ 3821889 h 3827499"/>
              <a:gd name="connsiteX64" fmla="*/ 2283195 w 2814039"/>
              <a:gd name="connsiteY64" fmla="*/ 3771401 h 3827499"/>
              <a:gd name="connsiteX65" fmla="*/ 2271976 w 2814039"/>
              <a:gd name="connsiteY65" fmla="*/ 3676034 h 3827499"/>
              <a:gd name="connsiteX66" fmla="*/ 2451490 w 2814039"/>
              <a:gd name="connsiteY66" fmla="*/ 3597496 h 3827499"/>
              <a:gd name="connsiteX67" fmla="*/ 2434660 w 2814039"/>
              <a:gd name="connsiteY67" fmla="*/ 3423592 h 3827499"/>
              <a:gd name="connsiteX68" fmla="*/ 1929777 w 2814039"/>
              <a:gd name="connsiteY68" fmla="*/ 3395543 h 3827499"/>
              <a:gd name="connsiteX69" fmla="*/ 1918557 w 2814039"/>
              <a:gd name="connsiteY69" fmla="*/ 3070174 h 3827499"/>
              <a:gd name="connsiteX70" fmla="*/ 1884898 w 2814039"/>
              <a:gd name="connsiteY70" fmla="*/ 3053344 h 3827499"/>
              <a:gd name="connsiteX71" fmla="*/ 1907338 w 2814039"/>
              <a:gd name="connsiteY71" fmla="*/ 2873830 h 3827499"/>
              <a:gd name="connsiteX72" fmla="*/ 1862459 w 2814039"/>
              <a:gd name="connsiteY72" fmla="*/ 2812122 h 3827499"/>
              <a:gd name="connsiteX73" fmla="*/ 2109291 w 2814039"/>
              <a:gd name="connsiteY73" fmla="*/ 2756024 h 3827499"/>
              <a:gd name="connsiteX74" fmla="*/ 2131730 w 2814039"/>
              <a:gd name="connsiteY74" fmla="*/ 2626998 h 3827499"/>
              <a:gd name="connsiteX75" fmla="*/ 2372952 w 2814039"/>
              <a:gd name="connsiteY75" fmla="*/ 2660657 h 3827499"/>
              <a:gd name="connsiteX76" fmla="*/ 2597345 w 2814039"/>
              <a:gd name="connsiteY76" fmla="*/ 2071626 h 3827499"/>
              <a:gd name="connsiteX77" fmla="*/ 2552466 w 2814039"/>
              <a:gd name="connsiteY77" fmla="*/ 1987479 h 3827499"/>
              <a:gd name="connsiteX78" fmla="*/ 2698322 w 2814039"/>
              <a:gd name="connsiteY78" fmla="*/ 1499425 h 3827499"/>
              <a:gd name="connsiteX79" fmla="*/ 2642224 w 2814039"/>
              <a:gd name="connsiteY79" fmla="*/ 1392839 h 3827499"/>
              <a:gd name="connsiteX80" fmla="*/ 2501978 w 2814039"/>
              <a:gd name="connsiteY80" fmla="*/ 809418 h 3827499"/>
              <a:gd name="connsiteX81" fmla="*/ 2765640 w 2814039"/>
              <a:gd name="connsiteY81" fmla="*/ 674782 h 3827499"/>
              <a:gd name="connsiteX82" fmla="*/ 2715151 w 2814039"/>
              <a:gd name="connsiteY82" fmla="*/ 472829 h 3827499"/>
              <a:gd name="connsiteX83" fmla="*/ 2647833 w 2814039"/>
              <a:gd name="connsiteY83" fmla="*/ 80143 h 3827499"/>
              <a:gd name="connsiteX0" fmla="*/ 2647833 w 2822824"/>
              <a:gd name="connsiteY0" fmla="*/ 80143 h 3827499"/>
              <a:gd name="connsiteX1" fmla="*/ 2395391 w 2822824"/>
              <a:gd name="connsiteY1" fmla="*/ 1604 h 3827499"/>
              <a:gd name="connsiteX2" fmla="*/ 2193438 w 2822824"/>
              <a:gd name="connsiteY2" fmla="*/ 197948 h 3827499"/>
              <a:gd name="connsiteX3" fmla="*/ 2114901 w 2822824"/>
              <a:gd name="connsiteY3" fmla="*/ 214777 h 3827499"/>
              <a:gd name="connsiteX4" fmla="*/ 2142950 w 2822824"/>
              <a:gd name="connsiteY4" fmla="*/ 326974 h 3827499"/>
              <a:gd name="connsiteX5" fmla="*/ 2047583 w 2822824"/>
              <a:gd name="connsiteY5" fmla="*/ 495268 h 3827499"/>
              <a:gd name="connsiteX6" fmla="*/ 2159779 w 2822824"/>
              <a:gd name="connsiteY6" fmla="*/ 747710 h 3827499"/>
              <a:gd name="connsiteX7" fmla="*/ 2030754 w 2822824"/>
              <a:gd name="connsiteY7" fmla="*/ 792588 h 3827499"/>
              <a:gd name="connsiteX8" fmla="*/ 1997095 w 2822824"/>
              <a:gd name="connsiteY8" fmla="*/ 859906 h 3827499"/>
              <a:gd name="connsiteX9" fmla="*/ 1997095 w 2822824"/>
              <a:gd name="connsiteY9" fmla="*/ 747710 h 3827499"/>
              <a:gd name="connsiteX10" fmla="*/ 1946606 w 2822824"/>
              <a:gd name="connsiteY10" fmla="*/ 708441 h 3827499"/>
              <a:gd name="connsiteX11" fmla="*/ 1772702 w 2822824"/>
              <a:gd name="connsiteY11" fmla="*/ 758929 h 3827499"/>
              <a:gd name="connsiteX12" fmla="*/ 1402454 w 2822824"/>
              <a:gd name="connsiteY12" fmla="*/ 618684 h 3827499"/>
              <a:gd name="connsiteX13" fmla="*/ 1705384 w 2822824"/>
              <a:gd name="connsiteY13" fmla="*/ 1190885 h 3827499"/>
              <a:gd name="connsiteX14" fmla="*/ 1800751 w 2822824"/>
              <a:gd name="connsiteY14" fmla="*/ 1263813 h 3827499"/>
              <a:gd name="connsiteX15" fmla="*/ 1649286 w 2822824"/>
              <a:gd name="connsiteY15" fmla="*/ 1488205 h 3827499"/>
              <a:gd name="connsiteX16" fmla="*/ 1727824 w 2822824"/>
              <a:gd name="connsiteY16" fmla="*/ 1706988 h 3827499"/>
              <a:gd name="connsiteX17" fmla="*/ 1817581 w 2822824"/>
              <a:gd name="connsiteY17" fmla="*/ 1701379 h 3827499"/>
              <a:gd name="connsiteX18" fmla="*/ 1671725 w 2822824"/>
              <a:gd name="connsiteY18" fmla="*/ 1869673 h 3827499"/>
              <a:gd name="connsiteX19" fmla="*/ 914400 w 2822824"/>
              <a:gd name="connsiteY19" fmla="*/ 1617231 h 3827499"/>
              <a:gd name="connsiteX20" fmla="*/ 460005 w 2822824"/>
              <a:gd name="connsiteY20" fmla="*/ 2643828 h 3827499"/>
              <a:gd name="connsiteX21" fmla="*/ 263662 w 2822824"/>
              <a:gd name="connsiteY21" fmla="*/ 2851391 h 3827499"/>
              <a:gd name="connsiteX22" fmla="*/ 44879 w 2822824"/>
              <a:gd name="connsiteY22" fmla="*/ 2896269 h 3827499"/>
              <a:gd name="connsiteX23" fmla="*/ 0 w 2822824"/>
              <a:gd name="connsiteY23" fmla="*/ 3002856 h 3827499"/>
              <a:gd name="connsiteX24" fmla="*/ 274881 w 2822824"/>
              <a:gd name="connsiteY24" fmla="*/ 3126272 h 3827499"/>
              <a:gd name="connsiteX25" fmla="*/ 504884 w 2822824"/>
              <a:gd name="connsiteY25" fmla="*/ 3025295 h 3827499"/>
              <a:gd name="connsiteX26" fmla="*/ 471225 w 2822824"/>
              <a:gd name="connsiteY26" fmla="*/ 3154321 h 3827499"/>
              <a:gd name="connsiteX27" fmla="*/ 572201 w 2822824"/>
              <a:gd name="connsiteY27" fmla="*/ 3199199 h 3827499"/>
              <a:gd name="connsiteX28" fmla="*/ 381468 w 2822824"/>
              <a:gd name="connsiteY28" fmla="*/ 3659204 h 3827499"/>
              <a:gd name="connsiteX29" fmla="*/ 196344 w 2822824"/>
              <a:gd name="connsiteY29" fmla="*/ 3704083 h 3827499"/>
              <a:gd name="connsiteX30" fmla="*/ 263662 w 2822824"/>
              <a:gd name="connsiteY30" fmla="*/ 3805059 h 3827499"/>
              <a:gd name="connsiteX31" fmla="*/ 555372 w 2822824"/>
              <a:gd name="connsiteY31" fmla="*/ 3827499 h 3827499"/>
              <a:gd name="connsiteX32" fmla="*/ 589031 w 2822824"/>
              <a:gd name="connsiteY32" fmla="*/ 3619936 h 3827499"/>
              <a:gd name="connsiteX33" fmla="*/ 645129 w 2822824"/>
              <a:gd name="connsiteY33" fmla="*/ 3614326 h 3827499"/>
              <a:gd name="connsiteX34" fmla="*/ 690008 w 2822824"/>
              <a:gd name="connsiteY34" fmla="*/ 3737742 h 3827499"/>
              <a:gd name="connsiteX35" fmla="*/ 774155 w 2822824"/>
              <a:gd name="connsiteY35" fmla="*/ 3743352 h 3827499"/>
              <a:gd name="connsiteX36" fmla="*/ 779765 w 2822824"/>
              <a:gd name="connsiteY36" fmla="*/ 3513349 h 3827499"/>
              <a:gd name="connsiteX37" fmla="*/ 746106 w 2822824"/>
              <a:gd name="connsiteY37" fmla="*/ 3244078 h 3827499"/>
              <a:gd name="connsiteX38" fmla="*/ 903181 w 2822824"/>
              <a:gd name="connsiteY38" fmla="*/ 2666267 h 3827499"/>
              <a:gd name="connsiteX39" fmla="*/ 1166842 w 2822824"/>
              <a:gd name="connsiteY39" fmla="*/ 2559680 h 3827499"/>
              <a:gd name="connsiteX40" fmla="*/ 1531480 w 2822824"/>
              <a:gd name="connsiteY40" fmla="*/ 2666267 h 3827499"/>
              <a:gd name="connsiteX41" fmla="*/ 1593188 w 2822824"/>
              <a:gd name="connsiteY41" fmla="*/ 2666267 h 3827499"/>
              <a:gd name="connsiteX42" fmla="*/ 1649286 w 2822824"/>
              <a:gd name="connsiteY42" fmla="*/ 2767244 h 3827499"/>
              <a:gd name="connsiteX43" fmla="*/ 1800751 w 2822824"/>
              <a:gd name="connsiteY43" fmla="*/ 2800902 h 3827499"/>
              <a:gd name="connsiteX44" fmla="*/ 1811971 w 2822824"/>
              <a:gd name="connsiteY44" fmla="*/ 2834561 h 3827499"/>
              <a:gd name="connsiteX45" fmla="*/ 1772702 w 2822824"/>
              <a:gd name="connsiteY45" fmla="*/ 3036515 h 3827499"/>
              <a:gd name="connsiteX46" fmla="*/ 1750263 w 2822824"/>
              <a:gd name="connsiteY46" fmla="*/ 3361884 h 3827499"/>
              <a:gd name="connsiteX47" fmla="*/ 1542700 w 2822824"/>
              <a:gd name="connsiteY47" fmla="*/ 3384323 h 3827499"/>
              <a:gd name="connsiteX48" fmla="*/ 1206111 w 2822824"/>
              <a:gd name="connsiteY48" fmla="*/ 3434812 h 3827499"/>
              <a:gd name="connsiteX49" fmla="*/ 1178062 w 2822824"/>
              <a:gd name="connsiteY49" fmla="*/ 3507739 h 3827499"/>
              <a:gd name="connsiteX50" fmla="*/ 1116354 w 2822824"/>
              <a:gd name="connsiteY50" fmla="*/ 3535788 h 3827499"/>
              <a:gd name="connsiteX51" fmla="*/ 1144403 w 2822824"/>
              <a:gd name="connsiteY51" fmla="*/ 3670424 h 3827499"/>
              <a:gd name="connsiteX52" fmla="*/ 1284648 w 2822824"/>
              <a:gd name="connsiteY52" fmla="*/ 3676034 h 3827499"/>
              <a:gd name="connsiteX53" fmla="*/ 1279038 w 2822824"/>
              <a:gd name="connsiteY53" fmla="*/ 3524569 h 3827499"/>
              <a:gd name="connsiteX54" fmla="*/ 1458552 w 2822824"/>
              <a:gd name="connsiteY54" fmla="*/ 3535788 h 3827499"/>
              <a:gd name="connsiteX55" fmla="*/ 1430503 w 2822824"/>
              <a:gd name="connsiteY55" fmla="*/ 3614326 h 3827499"/>
              <a:gd name="connsiteX56" fmla="*/ 1402454 w 2822824"/>
              <a:gd name="connsiteY56" fmla="*/ 3676034 h 3827499"/>
              <a:gd name="connsiteX57" fmla="*/ 1318307 w 2822824"/>
              <a:gd name="connsiteY57" fmla="*/ 3692863 h 3827499"/>
              <a:gd name="connsiteX58" fmla="*/ 1452943 w 2822824"/>
              <a:gd name="connsiteY58" fmla="*/ 3816279 h 3827499"/>
              <a:gd name="connsiteX59" fmla="*/ 1520260 w 2822824"/>
              <a:gd name="connsiteY59" fmla="*/ 3681644 h 3827499"/>
              <a:gd name="connsiteX60" fmla="*/ 1823190 w 2822824"/>
              <a:gd name="connsiteY60" fmla="*/ 3580667 h 3827499"/>
              <a:gd name="connsiteX61" fmla="*/ 2159779 w 2822824"/>
              <a:gd name="connsiteY61" fmla="*/ 3653594 h 3827499"/>
              <a:gd name="connsiteX62" fmla="*/ 2114901 w 2822824"/>
              <a:gd name="connsiteY62" fmla="*/ 3754571 h 3827499"/>
              <a:gd name="connsiteX63" fmla="*/ 2210268 w 2822824"/>
              <a:gd name="connsiteY63" fmla="*/ 3821889 h 3827499"/>
              <a:gd name="connsiteX64" fmla="*/ 2283195 w 2822824"/>
              <a:gd name="connsiteY64" fmla="*/ 3771401 h 3827499"/>
              <a:gd name="connsiteX65" fmla="*/ 2271976 w 2822824"/>
              <a:gd name="connsiteY65" fmla="*/ 3676034 h 3827499"/>
              <a:gd name="connsiteX66" fmla="*/ 2451490 w 2822824"/>
              <a:gd name="connsiteY66" fmla="*/ 3597496 h 3827499"/>
              <a:gd name="connsiteX67" fmla="*/ 2434660 w 2822824"/>
              <a:gd name="connsiteY67" fmla="*/ 3423592 h 3827499"/>
              <a:gd name="connsiteX68" fmla="*/ 1929777 w 2822824"/>
              <a:gd name="connsiteY68" fmla="*/ 3395543 h 3827499"/>
              <a:gd name="connsiteX69" fmla="*/ 1918557 w 2822824"/>
              <a:gd name="connsiteY69" fmla="*/ 3070174 h 3827499"/>
              <a:gd name="connsiteX70" fmla="*/ 1884898 w 2822824"/>
              <a:gd name="connsiteY70" fmla="*/ 3053344 h 3827499"/>
              <a:gd name="connsiteX71" fmla="*/ 1907338 w 2822824"/>
              <a:gd name="connsiteY71" fmla="*/ 2873830 h 3827499"/>
              <a:gd name="connsiteX72" fmla="*/ 1862459 w 2822824"/>
              <a:gd name="connsiteY72" fmla="*/ 2812122 h 3827499"/>
              <a:gd name="connsiteX73" fmla="*/ 2109291 w 2822824"/>
              <a:gd name="connsiteY73" fmla="*/ 2756024 h 3827499"/>
              <a:gd name="connsiteX74" fmla="*/ 2131730 w 2822824"/>
              <a:gd name="connsiteY74" fmla="*/ 2626998 h 3827499"/>
              <a:gd name="connsiteX75" fmla="*/ 2372952 w 2822824"/>
              <a:gd name="connsiteY75" fmla="*/ 2660657 h 3827499"/>
              <a:gd name="connsiteX76" fmla="*/ 2597345 w 2822824"/>
              <a:gd name="connsiteY76" fmla="*/ 2071626 h 3827499"/>
              <a:gd name="connsiteX77" fmla="*/ 2552466 w 2822824"/>
              <a:gd name="connsiteY77" fmla="*/ 1987479 h 3827499"/>
              <a:gd name="connsiteX78" fmla="*/ 2698322 w 2822824"/>
              <a:gd name="connsiteY78" fmla="*/ 1499425 h 3827499"/>
              <a:gd name="connsiteX79" fmla="*/ 2642224 w 2822824"/>
              <a:gd name="connsiteY79" fmla="*/ 1392839 h 3827499"/>
              <a:gd name="connsiteX80" fmla="*/ 2501978 w 2822824"/>
              <a:gd name="connsiteY80" fmla="*/ 809418 h 3827499"/>
              <a:gd name="connsiteX81" fmla="*/ 2782470 w 2822824"/>
              <a:gd name="connsiteY81" fmla="*/ 714051 h 3827499"/>
              <a:gd name="connsiteX82" fmla="*/ 2715151 w 2822824"/>
              <a:gd name="connsiteY82" fmla="*/ 472829 h 3827499"/>
              <a:gd name="connsiteX83" fmla="*/ 2647833 w 2822824"/>
              <a:gd name="connsiteY83" fmla="*/ 80143 h 3827499"/>
              <a:gd name="connsiteX0" fmla="*/ 2647833 w 2822824"/>
              <a:gd name="connsiteY0" fmla="*/ 80143 h 3827499"/>
              <a:gd name="connsiteX1" fmla="*/ 2395391 w 2822824"/>
              <a:gd name="connsiteY1" fmla="*/ 1604 h 3827499"/>
              <a:gd name="connsiteX2" fmla="*/ 2193438 w 2822824"/>
              <a:gd name="connsiteY2" fmla="*/ 197948 h 3827499"/>
              <a:gd name="connsiteX3" fmla="*/ 2114901 w 2822824"/>
              <a:gd name="connsiteY3" fmla="*/ 214777 h 3827499"/>
              <a:gd name="connsiteX4" fmla="*/ 2142950 w 2822824"/>
              <a:gd name="connsiteY4" fmla="*/ 326974 h 3827499"/>
              <a:gd name="connsiteX5" fmla="*/ 2047583 w 2822824"/>
              <a:gd name="connsiteY5" fmla="*/ 495268 h 3827499"/>
              <a:gd name="connsiteX6" fmla="*/ 2159779 w 2822824"/>
              <a:gd name="connsiteY6" fmla="*/ 747710 h 3827499"/>
              <a:gd name="connsiteX7" fmla="*/ 2030754 w 2822824"/>
              <a:gd name="connsiteY7" fmla="*/ 792588 h 3827499"/>
              <a:gd name="connsiteX8" fmla="*/ 1997095 w 2822824"/>
              <a:gd name="connsiteY8" fmla="*/ 859906 h 3827499"/>
              <a:gd name="connsiteX9" fmla="*/ 1997095 w 2822824"/>
              <a:gd name="connsiteY9" fmla="*/ 747710 h 3827499"/>
              <a:gd name="connsiteX10" fmla="*/ 1946606 w 2822824"/>
              <a:gd name="connsiteY10" fmla="*/ 708441 h 3827499"/>
              <a:gd name="connsiteX11" fmla="*/ 1772702 w 2822824"/>
              <a:gd name="connsiteY11" fmla="*/ 758929 h 3827499"/>
              <a:gd name="connsiteX12" fmla="*/ 1402454 w 2822824"/>
              <a:gd name="connsiteY12" fmla="*/ 618684 h 3827499"/>
              <a:gd name="connsiteX13" fmla="*/ 1705384 w 2822824"/>
              <a:gd name="connsiteY13" fmla="*/ 1190885 h 3827499"/>
              <a:gd name="connsiteX14" fmla="*/ 1800751 w 2822824"/>
              <a:gd name="connsiteY14" fmla="*/ 1263813 h 3827499"/>
              <a:gd name="connsiteX15" fmla="*/ 1649286 w 2822824"/>
              <a:gd name="connsiteY15" fmla="*/ 1488205 h 3827499"/>
              <a:gd name="connsiteX16" fmla="*/ 1727824 w 2822824"/>
              <a:gd name="connsiteY16" fmla="*/ 1706988 h 3827499"/>
              <a:gd name="connsiteX17" fmla="*/ 1817581 w 2822824"/>
              <a:gd name="connsiteY17" fmla="*/ 1701379 h 3827499"/>
              <a:gd name="connsiteX18" fmla="*/ 1671725 w 2822824"/>
              <a:gd name="connsiteY18" fmla="*/ 1869673 h 3827499"/>
              <a:gd name="connsiteX19" fmla="*/ 914400 w 2822824"/>
              <a:gd name="connsiteY19" fmla="*/ 1617231 h 3827499"/>
              <a:gd name="connsiteX20" fmla="*/ 460005 w 2822824"/>
              <a:gd name="connsiteY20" fmla="*/ 2643828 h 3827499"/>
              <a:gd name="connsiteX21" fmla="*/ 263662 w 2822824"/>
              <a:gd name="connsiteY21" fmla="*/ 2851391 h 3827499"/>
              <a:gd name="connsiteX22" fmla="*/ 44879 w 2822824"/>
              <a:gd name="connsiteY22" fmla="*/ 2896269 h 3827499"/>
              <a:gd name="connsiteX23" fmla="*/ 0 w 2822824"/>
              <a:gd name="connsiteY23" fmla="*/ 3002856 h 3827499"/>
              <a:gd name="connsiteX24" fmla="*/ 274881 w 2822824"/>
              <a:gd name="connsiteY24" fmla="*/ 3126272 h 3827499"/>
              <a:gd name="connsiteX25" fmla="*/ 504884 w 2822824"/>
              <a:gd name="connsiteY25" fmla="*/ 3025295 h 3827499"/>
              <a:gd name="connsiteX26" fmla="*/ 471225 w 2822824"/>
              <a:gd name="connsiteY26" fmla="*/ 3154321 h 3827499"/>
              <a:gd name="connsiteX27" fmla="*/ 572201 w 2822824"/>
              <a:gd name="connsiteY27" fmla="*/ 3199199 h 3827499"/>
              <a:gd name="connsiteX28" fmla="*/ 381468 w 2822824"/>
              <a:gd name="connsiteY28" fmla="*/ 3659204 h 3827499"/>
              <a:gd name="connsiteX29" fmla="*/ 196344 w 2822824"/>
              <a:gd name="connsiteY29" fmla="*/ 3704083 h 3827499"/>
              <a:gd name="connsiteX30" fmla="*/ 263662 w 2822824"/>
              <a:gd name="connsiteY30" fmla="*/ 3805059 h 3827499"/>
              <a:gd name="connsiteX31" fmla="*/ 555372 w 2822824"/>
              <a:gd name="connsiteY31" fmla="*/ 3827499 h 3827499"/>
              <a:gd name="connsiteX32" fmla="*/ 589031 w 2822824"/>
              <a:gd name="connsiteY32" fmla="*/ 3619936 h 3827499"/>
              <a:gd name="connsiteX33" fmla="*/ 645129 w 2822824"/>
              <a:gd name="connsiteY33" fmla="*/ 3614326 h 3827499"/>
              <a:gd name="connsiteX34" fmla="*/ 690008 w 2822824"/>
              <a:gd name="connsiteY34" fmla="*/ 3737742 h 3827499"/>
              <a:gd name="connsiteX35" fmla="*/ 774155 w 2822824"/>
              <a:gd name="connsiteY35" fmla="*/ 3743352 h 3827499"/>
              <a:gd name="connsiteX36" fmla="*/ 779765 w 2822824"/>
              <a:gd name="connsiteY36" fmla="*/ 3513349 h 3827499"/>
              <a:gd name="connsiteX37" fmla="*/ 746106 w 2822824"/>
              <a:gd name="connsiteY37" fmla="*/ 3244078 h 3827499"/>
              <a:gd name="connsiteX38" fmla="*/ 903181 w 2822824"/>
              <a:gd name="connsiteY38" fmla="*/ 2666267 h 3827499"/>
              <a:gd name="connsiteX39" fmla="*/ 1166842 w 2822824"/>
              <a:gd name="connsiteY39" fmla="*/ 2559680 h 3827499"/>
              <a:gd name="connsiteX40" fmla="*/ 1531480 w 2822824"/>
              <a:gd name="connsiteY40" fmla="*/ 2666267 h 3827499"/>
              <a:gd name="connsiteX41" fmla="*/ 1593188 w 2822824"/>
              <a:gd name="connsiteY41" fmla="*/ 2666267 h 3827499"/>
              <a:gd name="connsiteX42" fmla="*/ 1649286 w 2822824"/>
              <a:gd name="connsiteY42" fmla="*/ 2767244 h 3827499"/>
              <a:gd name="connsiteX43" fmla="*/ 1800751 w 2822824"/>
              <a:gd name="connsiteY43" fmla="*/ 2800902 h 3827499"/>
              <a:gd name="connsiteX44" fmla="*/ 1811971 w 2822824"/>
              <a:gd name="connsiteY44" fmla="*/ 2834561 h 3827499"/>
              <a:gd name="connsiteX45" fmla="*/ 1772702 w 2822824"/>
              <a:gd name="connsiteY45" fmla="*/ 3036515 h 3827499"/>
              <a:gd name="connsiteX46" fmla="*/ 1750263 w 2822824"/>
              <a:gd name="connsiteY46" fmla="*/ 3361884 h 3827499"/>
              <a:gd name="connsiteX47" fmla="*/ 1542700 w 2822824"/>
              <a:gd name="connsiteY47" fmla="*/ 3384323 h 3827499"/>
              <a:gd name="connsiteX48" fmla="*/ 1206111 w 2822824"/>
              <a:gd name="connsiteY48" fmla="*/ 3434812 h 3827499"/>
              <a:gd name="connsiteX49" fmla="*/ 1178062 w 2822824"/>
              <a:gd name="connsiteY49" fmla="*/ 3507739 h 3827499"/>
              <a:gd name="connsiteX50" fmla="*/ 1116354 w 2822824"/>
              <a:gd name="connsiteY50" fmla="*/ 3535788 h 3827499"/>
              <a:gd name="connsiteX51" fmla="*/ 1144403 w 2822824"/>
              <a:gd name="connsiteY51" fmla="*/ 3670424 h 3827499"/>
              <a:gd name="connsiteX52" fmla="*/ 1284648 w 2822824"/>
              <a:gd name="connsiteY52" fmla="*/ 3676034 h 3827499"/>
              <a:gd name="connsiteX53" fmla="*/ 1279038 w 2822824"/>
              <a:gd name="connsiteY53" fmla="*/ 3524569 h 3827499"/>
              <a:gd name="connsiteX54" fmla="*/ 1458552 w 2822824"/>
              <a:gd name="connsiteY54" fmla="*/ 3535788 h 3827499"/>
              <a:gd name="connsiteX55" fmla="*/ 1430503 w 2822824"/>
              <a:gd name="connsiteY55" fmla="*/ 3614326 h 3827499"/>
              <a:gd name="connsiteX56" fmla="*/ 1402454 w 2822824"/>
              <a:gd name="connsiteY56" fmla="*/ 3676034 h 3827499"/>
              <a:gd name="connsiteX57" fmla="*/ 1318307 w 2822824"/>
              <a:gd name="connsiteY57" fmla="*/ 3692863 h 3827499"/>
              <a:gd name="connsiteX58" fmla="*/ 1452943 w 2822824"/>
              <a:gd name="connsiteY58" fmla="*/ 3816279 h 3827499"/>
              <a:gd name="connsiteX59" fmla="*/ 1520260 w 2822824"/>
              <a:gd name="connsiteY59" fmla="*/ 3681644 h 3827499"/>
              <a:gd name="connsiteX60" fmla="*/ 1823190 w 2822824"/>
              <a:gd name="connsiteY60" fmla="*/ 3580667 h 3827499"/>
              <a:gd name="connsiteX61" fmla="*/ 2159779 w 2822824"/>
              <a:gd name="connsiteY61" fmla="*/ 3653594 h 3827499"/>
              <a:gd name="connsiteX62" fmla="*/ 2114901 w 2822824"/>
              <a:gd name="connsiteY62" fmla="*/ 3754571 h 3827499"/>
              <a:gd name="connsiteX63" fmla="*/ 2210268 w 2822824"/>
              <a:gd name="connsiteY63" fmla="*/ 3821889 h 3827499"/>
              <a:gd name="connsiteX64" fmla="*/ 2283195 w 2822824"/>
              <a:gd name="connsiteY64" fmla="*/ 3771401 h 3827499"/>
              <a:gd name="connsiteX65" fmla="*/ 2271976 w 2822824"/>
              <a:gd name="connsiteY65" fmla="*/ 3676034 h 3827499"/>
              <a:gd name="connsiteX66" fmla="*/ 2451490 w 2822824"/>
              <a:gd name="connsiteY66" fmla="*/ 3597496 h 3827499"/>
              <a:gd name="connsiteX67" fmla="*/ 2434660 w 2822824"/>
              <a:gd name="connsiteY67" fmla="*/ 3423592 h 3827499"/>
              <a:gd name="connsiteX68" fmla="*/ 1929777 w 2822824"/>
              <a:gd name="connsiteY68" fmla="*/ 3395543 h 3827499"/>
              <a:gd name="connsiteX69" fmla="*/ 1918557 w 2822824"/>
              <a:gd name="connsiteY69" fmla="*/ 3070174 h 3827499"/>
              <a:gd name="connsiteX70" fmla="*/ 1884898 w 2822824"/>
              <a:gd name="connsiteY70" fmla="*/ 3053344 h 3827499"/>
              <a:gd name="connsiteX71" fmla="*/ 1907338 w 2822824"/>
              <a:gd name="connsiteY71" fmla="*/ 2873830 h 3827499"/>
              <a:gd name="connsiteX72" fmla="*/ 1862459 w 2822824"/>
              <a:gd name="connsiteY72" fmla="*/ 2812122 h 3827499"/>
              <a:gd name="connsiteX73" fmla="*/ 2109291 w 2822824"/>
              <a:gd name="connsiteY73" fmla="*/ 2756024 h 3827499"/>
              <a:gd name="connsiteX74" fmla="*/ 2131730 w 2822824"/>
              <a:gd name="connsiteY74" fmla="*/ 2626998 h 3827499"/>
              <a:gd name="connsiteX75" fmla="*/ 2372952 w 2822824"/>
              <a:gd name="connsiteY75" fmla="*/ 2660657 h 3827499"/>
              <a:gd name="connsiteX76" fmla="*/ 2597345 w 2822824"/>
              <a:gd name="connsiteY76" fmla="*/ 2071626 h 3827499"/>
              <a:gd name="connsiteX77" fmla="*/ 2552466 w 2822824"/>
              <a:gd name="connsiteY77" fmla="*/ 1987479 h 3827499"/>
              <a:gd name="connsiteX78" fmla="*/ 2698322 w 2822824"/>
              <a:gd name="connsiteY78" fmla="*/ 1499425 h 3827499"/>
              <a:gd name="connsiteX79" fmla="*/ 2642224 w 2822824"/>
              <a:gd name="connsiteY79" fmla="*/ 1392839 h 3827499"/>
              <a:gd name="connsiteX80" fmla="*/ 2501978 w 2822824"/>
              <a:gd name="connsiteY80" fmla="*/ 809418 h 3827499"/>
              <a:gd name="connsiteX81" fmla="*/ 2782470 w 2822824"/>
              <a:gd name="connsiteY81" fmla="*/ 714051 h 3827499"/>
              <a:gd name="connsiteX82" fmla="*/ 2715151 w 2822824"/>
              <a:gd name="connsiteY82" fmla="*/ 472829 h 3827499"/>
              <a:gd name="connsiteX83" fmla="*/ 2647833 w 2822824"/>
              <a:gd name="connsiteY83" fmla="*/ 80143 h 3827499"/>
              <a:gd name="connsiteX0" fmla="*/ 2647833 w 2822824"/>
              <a:gd name="connsiteY0" fmla="*/ 80143 h 3827499"/>
              <a:gd name="connsiteX1" fmla="*/ 2395391 w 2822824"/>
              <a:gd name="connsiteY1" fmla="*/ 1604 h 3827499"/>
              <a:gd name="connsiteX2" fmla="*/ 2193438 w 2822824"/>
              <a:gd name="connsiteY2" fmla="*/ 197948 h 3827499"/>
              <a:gd name="connsiteX3" fmla="*/ 2114901 w 2822824"/>
              <a:gd name="connsiteY3" fmla="*/ 214777 h 3827499"/>
              <a:gd name="connsiteX4" fmla="*/ 2142950 w 2822824"/>
              <a:gd name="connsiteY4" fmla="*/ 326974 h 3827499"/>
              <a:gd name="connsiteX5" fmla="*/ 2047583 w 2822824"/>
              <a:gd name="connsiteY5" fmla="*/ 495268 h 3827499"/>
              <a:gd name="connsiteX6" fmla="*/ 2159779 w 2822824"/>
              <a:gd name="connsiteY6" fmla="*/ 747710 h 3827499"/>
              <a:gd name="connsiteX7" fmla="*/ 2030754 w 2822824"/>
              <a:gd name="connsiteY7" fmla="*/ 792588 h 3827499"/>
              <a:gd name="connsiteX8" fmla="*/ 1997095 w 2822824"/>
              <a:gd name="connsiteY8" fmla="*/ 859906 h 3827499"/>
              <a:gd name="connsiteX9" fmla="*/ 1997095 w 2822824"/>
              <a:gd name="connsiteY9" fmla="*/ 747710 h 3827499"/>
              <a:gd name="connsiteX10" fmla="*/ 1946606 w 2822824"/>
              <a:gd name="connsiteY10" fmla="*/ 708441 h 3827499"/>
              <a:gd name="connsiteX11" fmla="*/ 1772702 w 2822824"/>
              <a:gd name="connsiteY11" fmla="*/ 758929 h 3827499"/>
              <a:gd name="connsiteX12" fmla="*/ 1402454 w 2822824"/>
              <a:gd name="connsiteY12" fmla="*/ 618684 h 3827499"/>
              <a:gd name="connsiteX13" fmla="*/ 1705384 w 2822824"/>
              <a:gd name="connsiteY13" fmla="*/ 1190885 h 3827499"/>
              <a:gd name="connsiteX14" fmla="*/ 1800751 w 2822824"/>
              <a:gd name="connsiteY14" fmla="*/ 1263813 h 3827499"/>
              <a:gd name="connsiteX15" fmla="*/ 1649286 w 2822824"/>
              <a:gd name="connsiteY15" fmla="*/ 1488205 h 3827499"/>
              <a:gd name="connsiteX16" fmla="*/ 1727824 w 2822824"/>
              <a:gd name="connsiteY16" fmla="*/ 1706988 h 3827499"/>
              <a:gd name="connsiteX17" fmla="*/ 1817581 w 2822824"/>
              <a:gd name="connsiteY17" fmla="*/ 1701379 h 3827499"/>
              <a:gd name="connsiteX18" fmla="*/ 1671725 w 2822824"/>
              <a:gd name="connsiteY18" fmla="*/ 1869673 h 3827499"/>
              <a:gd name="connsiteX19" fmla="*/ 914400 w 2822824"/>
              <a:gd name="connsiteY19" fmla="*/ 1617231 h 3827499"/>
              <a:gd name="connsiteX20" fmla="*/ 460005 w 2822824"/>
              <a:gd name="connsiteY20" fmla="*/ 2643828 h 3827499"/>
              <a:gd name="connsiteX21" fmla="*/ 263662 w 2822824"/>
              <a:gd name="connsiteY21" fmla="*/ 2851391 h 3827499"/>
              <a:gd name="connsiteX22" fmla="*/ 44879 w 2822824"/>
              <a:gd name="connsiteY22" fmla="*/ 2896269 h 3827499"/>
              <a:gd name="connsiteX23" fmla="*/ 0 w 2822824"/>
              <a:gd name="connsiteY23" fmla="*/ 3002856 h 3827499"/>
              <a:gd name="connsiteX24" fmla="*/ 274881 w 2822824"/>
              <a:gd name="connsiteY24" fmla="*/ 3126272 h 3827499"/>
              <a:gd name="connsiteX25" fmla="*/ 504884 w 2822824"/>
              <a:gd name="connsiteY25" fmla="*/ 3025295 h 3827499"/>
              <a:gd name="connsiteX26" fmla="*/ 471225 w 2822824"/>
              <a:gd name="connsiteY26" fmla="*/ 3154321 h 3827499"/>
              <a:gd name="connsiteX27" fmla="*/ 572201 w 2822824"/>
              <a:gd name="connsiteY27" fmla="*/ 3199199 h 3827499"/>
              <a:gd name="connsiteX28" fmla="*/ 381468 w 2822824"/>
              <a:gd name="connsiteY28" fmla="*/ 3659204 h 3827499"/>
              <a:gd name="connsiteX29" fmla="*/ 196344 w 2822824"/>
              <a:gd name="connsiteY29" fmla="*/ 3704083 h 3827499"/>
              <a:gd name="connsiteX30" fmla="*/ 263662 w 2822824"/>
              <a:gd name="connsiteY30" fmla="*/ 3805059 h 3827499"/>
              <a:gd name="connsiteX31" fmla="*/ 555372 w 2822824"/>
              <a:gd name="connsiteY31" fmla="*/ 3827499 h 3827499"/>
              <a:gd name="connsiteX32" fmla="*/ 589031 w 2822824"/>
              <a:gd name="connsiteY32" fmla="*/ 3619936 h 3827499"/>
              <a:gd name="connsiteX33" fmla="*/ 645129 w 2822824"/>
              <a:gd name="connsiteY33" fmla="*/ 3614326 h 3827499"/>
              <a:gd name="connsiteX34" fmla="*/ 690008 w 2822824"/>
              <a:gd name="connsiteY34" fmla="*/ 3737742 h 3827499"/>
              <a:gd name="connsiteX35" fmla="*/ 774155 w 2822824"/>
              <a:gd name="connsiteY35" fmla="*/ 3743352 h 3827499"/>
              <a:gd name="connsiteX36" fmla="*/ 779765 w 2822824"/>
              <a:gd name="connsiteY36" fmla="*/ 3513349 h 3827499"/>
              <a:gd name="connsiteX37" fmla="*/ 746106 w 2822824"/>
              <a:gd name="connsiteY37" fmla="*/ 3244078 h 3827499"/>
              <a:gd name="connsiteX38" fmla="*/ 903181 w 2822824"/>
              <a:gd name="connsiteY38" fmla="*/ 2666267 h 3827499"/>
              <a:gd name="connsiteX39" fmla="*/ 1166842 w 2822824"/>
              <a:gd name="connsiteY39" fmla="*/ 2559680 h 3827499"/>
              <a:gd name="connsiteX40" fmla="*/ 1531480 w 2822824"/>
              <a:gd name="connsiteY40" fmla="*/ 2666267 h 3827499"/>
              <a:gd name="connsiteX41" fmla="*/ 1593188 w 2822824"/>
              <a:gd name="connsiteY41" fmla="*/ 2666267 h 3827499"/>
              <a:gd name="connsiteX42" fmla="*/ 1649286 w 2822824"/>
              <a:gd name="connsiteY42" fmla="*/ 2767244 h 3827499"/>
              <a:gd name="connsiteX43" fmla="*/ 1800751 w 2822824"/>
              <a:gd name="connsiteY43" fmla="*/ 2800902 h 3827499"/>
              <a:gd name="connsiteX44" fmla="*/ 1811971 w 2822824"/>
              <a:gd name="connsiteY44" fmla="*/ 2834561 h 3827499"/>
              <a:gd name="connsiteX45" fmla="*/ 1772702 w 2822824"/>
              <a:gd name="connsiteY45" fmla="*/ 3036515 h 3827499"/>
              <a:gd name="connsiteX46" fmla="*/ 1750263 w 2822824"/>
              <a:gd name="connsiteY46" fmla="*/ 3361884 h 3827499"/>
              <a:gd name="connsiteX47" fmla="*/ 1542700 w 2822824"/>
              <a:gd name="connsiteY47" fmla="*/ 3384323 h 3827499"/>
              <a:gd name="connsiteX48" fmla="*/ 1206111 w 2822824"/>
              <a:gd name="connsiteY48" fmla="*/ 3434812 h 3827499"/>
              <a:gd name="connsiteX49" fmla="*/ 1178062 w 2822824"/>
              <a:gd name="connsiteY49" fmla="*/ 3507739 h 3827499"/>
              <a:gd name="connsiteX50" fmla="*/ 1116354 w 2822824"/>
              <a:gd name="connsiteY50" fmla="*/ 3535788 h 3827499"/>
              <a:gd name="connsiteX51" fmla="*/ 1144403 w 2822824"/>
              <a:gd name="connsiteY51" fmla="*/ 3670424 h 3827499"/>
              <a:gd name="connsiteX52" fmla="*/ 1284648 w 2822824"/>
              <a:gd name="connsiteY52" fmla="*/ 3676034 h 3827499"/>
              <a:gd name="connsiteX53" fmla="*/ 1279038 w 2822824"/>
              <a:gd name="connsiteY53" fmla="*/ 3524569 h 3827499"/>
              <a:gd name="connsiteX54" fmla="*/ 1458552 w 2822824"/>
              <a:gd name="connsiteY54" fmla="*/ 3535788 h 3827499"/>
              <a:gd name="connsiteX55" fmla="*/ 1430503 w 2822824"/>
              <a:gd name="connsiteY55" fmla="*/ 3614326 h 3827499"/>
              <a:gd name="connsiteX56" fmla="*/ 1402454 w 2822824"/>
              <a:gd name="connsiteY56" fmla="*/ 3676034 h 3827499"/>
              <a:gd name="connsiteX57" fmla="*/ 1318307 w 2822824"/>
              <a:gd name="connsiteY57" fmla="*/ 3692863 h 3827499"/>
              <a:gd name="connsiteX58" fmla="*/ 1452943 w 2822824"/>
              <a:gd name="connsiteY58" fmla="*/ 3816279 h 3827499"/>
              <a:gd name="connsiteX59" fmla="*/ 1520260 w 2822824"/>
              <a:gd name="connsiteY59" fmla="*/ 3681644 h 3827499"/>
              <a:gd name="connsiteX60" fmla="*/ 1823190 w 2822824"/>
              <a:gd name="connsiteY60" fmla="*/ 3580667 h 3827499"/>
              <a:gd name="connsiteX61" fmla="*/ 2159779 w 2822824"/>
              <a:gd name="connsiteY61" fmla="*/ 3653594 h 3827499"/>
              <a:gd name="connsiteX62" fmla="*/ 2114901 w 2822824"/>
              <a:gd name="connsiteY62" fmla="*/ 3754571 h 3827499"/>
              <a:gd name="connsiteX63" fmla="*/ 2210268 w 2822824"/>
              <a:gd name="connsiteY63" fmla="*/ 3821889 h 3827499"/>
              <a:gd name="connsiteX64" fmla="*/ 2283195 w 2822824"/>
              <a:gd name="connsiteY64" fmla="*/ 3771401 h 3827499"/>
              <a:gd name="connsiteX65" fmla="*/ 2271976 w 2822824"/>
              <a:gd name="connsiteY65" fmla="*/ 3676034 h 3827499"/>
              <a:gd name="connsiteX66" fmla="*/ 2451490 w 2822824"/>
              <a:gd name="connsiteY66" fmla="*/ 3597496 h 3827499"/>
              <a:gd name="connsiteX67" fmla="*/ 2434660 w 2822824"/>
              <a:gd name="connsiteY67" fmla="*/ 3423592 h 3827499"/>
              <a:gd name="connsiteX68" fmla="*/ 1929777 w 2822824"/>
              <a:gd name="connsiteY68" fmla="*/ 3395543 h 3827499"/>
              <a:gd name="connsiteX69" fmla="*/ 1918557 w 2822824"/>
              <a:gd name="connsiteY69" fmla="*/ 3070174 h 3827499"/>
              <a:gd name="connsiteX70" fmla="*/ 1884898 w 2822824"/>
              <a:gd name="connsiteY70" fmla="*/ 3053344 h 3827499"/>
              <a:gd name="connsiteX71" fmla="*/ 1907338 w 2822824"/>
              <a:gd name="connsiteY71" fmla="*/ 2873830 h 3827499"/>
              <a:gd name="connsiteX72" fmla="*/ 1862459 w 2822824"/>
              <a:gd name="connsiteY72" fmla="*/ 2812122 h 3827499"/>
              <a:gd name="connsiteX73" fmla="*/ 2109291 w 2822824"/>
              <a:gd name="connsiteY73" fmla="*/ 2756024 h 3827499"/>
              <a:gd name="connsiteX74" fmla="*/ 2131730 w 2822824"/>
              <a:gd name="connsiteY74" fmla="*/ 2626998 h 3827499"/>
              <a:gd name="connsiteX75" fmla="*/ 2372952 w 2822824"/>
              <a:gd name="connsiteY75" fmla="*/ 2660657 h 3827499"/>
              <a:gd name="connsiteX76" fmla="*/ 2597345 w 2822824"/>
              <a:gd name="connsiteY76" fmla="*/ 2071626 h 3827499"/>
              <a:gd name="connsiteX77" fmla="*/ 2552466 w 2822824"/>
              <a:gd name="connsiteY77" fmla="*/ 1987479 h 3827499"/>
              <a:gd name="connsiteX78" fmla="*/ 2698322 w 2822824"/>
              <a:gd name="connsiteY78" fmla="*/ 1499425 h 3827499"/>
              <a:gd name="connsiteX79" fmla="*/ 2642224 w 2822824"/>
              <a:gd name="connsiteY79" fmla="*/ 1392839 h 3827499"/>
              <a:gd name="connsiteX80" fmla="*/ 2490758 w 2822824"/>
              <a:gd name="connsiteY80" fmla="*/ 848687 h 3827499"/>
              <a:gd name="connsiteX81" fmla="*/ 2782470 w 2822824"/>
              <a:gd name="connsiteY81" fmla="*/ 714051 h 3827499"/>
              <a:gd name="connsiteX82" fmla="*/ 2715151 w 2822824"/>
              <a:gd name="connsiteY82" fmla="*/ 472829 h 3827499"/>
              <a:gd name="connsiteX83" fmla="*/ 2647833 w 2822824"/>
              <a:gd name="connsiteY83" fmla="*/ 80143 h 3827499"/>
              <a:gd name="connsiteX0" fmla="*/ 2647833 w 2822824"/>
              <a:gd name="connsiteY0" fmla="*/ 80143 h 3827499"/>
              <a:gd name="connsiteX1" fmla="*/ 2395391 w 2822824"/>
              <a:gd name="connsiteY1" fmla="*/ 1604 h 3827499"/>
              <a:gd name="connsiteX2" fmla="*/ 2193438 w 2822824"/>
              <a:gd name="connsiteY2" fmla="*/ 197948 h 3827499"/>
              <a:gd name="connsiteX3" fmla="*/ 2114901 w 2822824"/>
              <a:gd name="connsiteY3" fmla="*/ 214777 h 3827499"/>
              <a:gd name="connsiteX4" fmla="*/ 2142950 w 2822824"/>
              <a:gd name="connsiteY4" fmla="*/ 326974 h 3827499"/>
              <a:gd name="connsiteX5" fmla="*/ 2047583 w 2822824"/>
              <a:gd name="connsiteY5" fmla="*/ 495268 h 3827499"/>
              <a:gd name="connsiteX6" fmla="*/ 2159779 w 2822824"/>
              <a:gd name="connsiteY6" fmla="*/ 747710 h 3827499"/>
              <a:gd name="connsiteX7" fmla="*/ 2030754 w 2822824"/>
              <a:gd name="connsiteY7" fmla="*/ 792588 h 3827499"/>
              <a:gd name="connsiteX8" fmla="*/ 1997095 w 2822824"/>
              <a:gd name="connsiteY8" fmla="*/ 859906 h 3827499"/>
              <a:gd name="connsiteX9" fmla="*/ 1997095 w 2822824"/>
              <a:gd name="connsiteY9" fmla="*/ 747710 h 3827499"/>
              <a:gd name="connsiteX10" fmla="*/ 1946606 w 2822824"/>
              <a:gd name="connsiteY10" fmla="*/ 708441 h 3827499"/>
              <a:gd name="connsiteX11" fmla="*/ 1772702 w 2822824"/>
              <a:gd name="connsiteY11" fmla="*/ 758929 h 3827499"/>
              <a:gd name="connsiteX12" fmla="*/ 1402454 w 2822824"/>
              <a:gd name="connsiteY12" fmla="*/ 618684 h 3827499"/>
              <a:gd name="connsiteX13" fmla="*/ 1705384 w 2822824"/>
              <a:gd name="connsiteY13" fmla="*/ 1190885 h 3827499"/>
              <a:gd name="connsiteX14" fmla="*/ 1800751 w 2822824"/>
              <a:gd name="connsiteY14" fmla="*/ 1263813 h 3827499"/>
              <a:gd name="connsiteX15" fmla="*/ 1649286 w 2822824"/>
              <a:gd name="connsiteY15" fmla="*/ 1488205 h 3827499"/>
              <a:gd name="connsiteX16" fmla="*/ 1727824 w 2822824"/>
              <a:gd name="connsiteY16" fmla="*/ 1706988 h 3827499"/>
              <a:gd name="connsiteX17" fmla="*/ 1817581 w 2822824"/>
              <a:gd name="connsiteY17" fmla="*/ 1701379 h 3827499"/>
              <a:gd name="connsiteX18" fmla="*/ 1671725 w 2822824"/>
              <a:gd name="connsiteY18" fmla="*/ 1869673 h 3827499"/>
              <a:gd name="connsiteX19" fmla="*/ 914400 w 2822824"/>
              <a:gd name="connsiteY19" fmla="*/ 1617231 h 3827499"/>
              <a:gd name="connsiteX20" fmla="*/ 460005 w 2822824"/>
              <a:gd name="connsiteY20" fmla="*/ 2643828 h 3827499"/>
              <a:gd name="connsiteX21" fmla="*/ 263662 w 2822824"/>
              <a:gd name="connsiteY21" fmla="*/ 2851391 h 3827499"/>
              <a:gd name="connsiteX22" fmla="*/ 44879 w 2822824"/>
              <a:gd name="connsiteY22" fmla="*/ 2896269 h 3827499"/>
              <a:gd name="connsiteX23" fmla="*/ 0 w 2822824"/>
              <a:gd name="connsiteY23" fmla="*/ 3002856 h 3827499"/>
              <a:gd name="connsiteX24" fmla="*/ 274881 w 2822824"/>
              <a:gd name="connsiteY24" fmla="*/ 3126272 h 3827499"/>
              <a:gd name="connsiteX25" fmla="*/ 504884 w 2822824"/>
              <a:gd name="connsiteY25" fmla="*/ 3025295 h 3827499"/>
              <a:gd name="connsiteX26" fmla="*/ 471225 w 2822824"/>
              <a:gd name="connsiteY26" fmla="*/ 3154321 h 3827499"/>
              <a:gd name="connsiteX27" fmla="*/ 572201 w 2822824"/>
              <a:gd name="connsiteY27" fmla="*/ 3199199 h 3827499"/>
              <a:gd name="connsiteX28" fmla="*/ 381468 w 2822824"/>
              <a:gd name="connsiteY28" fmla="*/ 3659204 h 3827499"/>
              <a:gd name="connsiteX29" fmla="*/ 196344 w 2822824"/>
              <a:gd name="connsiteY29" fmla="*/ 3704083 h 3827499"/>
              <a:gd name="connsiteX30" fmla="*/ 263662 w 2822824"/>
              <a:gd name="connsiteY30" fmla="*/ 3805059 h 3827499"/>
              <a:gd name="connsiteX31" fmla="*/ 555372 w 2822824"/>
              <a:gd name="connsiteY31" fmla="*/ 3827499 h 3827499"/>
              <a:gd name="connsiteX32" fmla="*/ 589031 w 2822824"/>
              <a:gd name="connsiteY32" fmla="*/ 3619936 h 3827499"/>
              <a:gd name="connsiteX33" fmla="*/ 645129 w 2822824"/>
              <a:gd name="connsiteY33" fmla="*/ 3614326 h 3827499"/>
              <a:gd name="connsiteX34" fmla="*/ 690008 w 2822824"/>
              <a:gd name="connsiteY34" fmla="*/ 3737742 h 3827499"/>
              <a:gd name="connsiteX35" fmla="*/ 774155 w 2822824"/>
              <a:gd name="connsiteY35" fmla="*/ 3743352 h 3827499"/>
              <a:gd name="connsiteX36" fmla="*/ 779765 w 2822824"/>
              <a:gd name="connsiteY36" fmla="*/ 3513349 h 3827499"/>
              <a:gd name="connsiteX37" fmla="*/ 746106 w 2822824"/>
              <a:gd name="connsiteY37" fmla="*/ 3244078 h 3827499"/>
              <a:gd name="connsiteX38" fmla="*/ 903181 w 2822824"/>
              <a:gd name="connsiteY38" fmla="*/ 2666267 h 3827499"/>
              <a:gd name="connsiteX39" fmla="*/ 1166842 w 2822824"/>
              <a:gd name="connsiteY39" fmla="*/ 2559680 h 3827499"/>
              <a:gd name="connsiteX40" fmla="*/ 1531480 w 2822824"/>
              <a:gd name="connsiteY40" fmla="*/ 2666267 h 3827499"/>
              <a:gd name="connsiteX41" fmla="*/ 1593188 w 2822824"/>
              <a:gd name="connsiteY41" fmla="*/ 2666267 h 3827499"/>
              <a:gd name="connsiteX42" fmla="*/ 1649286 w 2822824"/>
              <a:gd name="connsiteY42" fmla="*/ 2767244 h 3827499"/>
              <a:gd name="connsiteX43" fmla="*/ 1800751 w 2822824"/>
              <a:gd name="connsiteY43" fmla="*/ 2800902 h 3827499"/>
              <a:gd name="connsiteX44" fmla="*/ 1811971 w 2822824"/>
              <a:gd name="connsiteY44" fmla="*/ 2834561 h 3827499"/>
              <a:gd name="connsiteX45" fmla="*/ 1772702 w 2822824"/>
              <a:gd name="connsiteY45" fmla="*/ 3036515 h 3827499"/>
              <a:gd name="connsiteX46" fmla="*/ 1750263 w 2822824"/>
              <a:gd name="connsiteY46" fmla="*/ 3361884 h 3827499"/>
              <a:gd name="connsiteX47" fmla="*/ 1542700 w 2822824"/>
              <a:gd name="connsiteY47" fmla="*/ 3384323 h 3827499"/>
              <a:gd name="connsiteX48" fmla="*/ 1206111 w 2822824"/>
              <a:gd name="connsiteY48" fmla="*/ 3434812 h 3827499"/>
              <a:gd name="connsiteX49" fmla="*/ 1178062 w 2822824"/>
              <a:gd name="connsiteY49" fmla="*/ 3507739 h 3827499"/>
              <a:gd name="connsiteX50" fmla="*/ 1116354 w 2822824"/>
              <a:gd name="connsiteY50" fmla="*/ 3535788 h 3827499"/>
              <a:gd name="connsiteX51" fmla="*/ 1144403 w 2822824"/>
              <a:gd name="connsiteY51" fmla="*/ 3670424 h 3827499"/>
              <a:gd name="connsiteX52" fmla="*/ 1284648 w 2822824"/>
              <a:gd name="connsiteY52" fmla="*/ 3676034 h 3827499"/>
              <a:gd name="connsiteX53" fmla="*/ 1279038 w 2822824"/>
              <a:gd name="connsiteY53" fmla="*/ 3524569 h 3827499"/>
              <a:gd name="connsiteX54" fmla="*/ 1458552 w 2822824"/>
              <a:gd name="connsiteY54" fmla="*/ 3535788 h 3827499"/>
              <a:gd name="connsiteX55" fmla="*/ 1430503 w 2822824"/>
              <a:gd name="connsiteY55" fmla="*/ 3614326 h 3827499"/>
              <a:gd name="connsiteX56" fmla="*/ 1402454 w 2822824"/>
              <a:gd name="connsiteY56" fmla="*/ 3676034 h 3827499"/>
              <a:gd name="connsiteX57" fmla="*/ 1318307 w 2822824"/>
              <a:gd name="connsiteY57" fmla="*/ 3692863 h 3827499"/>
              <a:gd name="connsiteX58" fmla="*/ 1452943 w 2822824"/>
              <a:gd name="connsiteY58" fmla="*/ 3816279 h 3827499"/>
              <a:gd name="connsiteX59" fmla="*/ 1520260 w 2822824"/>
              <a:gd name="connsiteY59" fmla="*/ 3681644 h 3827499"/>
              <a:gd name="connsiteX60" fmla="*/ 1823190 w 2822824"/>
              <a:gd name="connsiteY60" fmla="*/ 3580667 h 3827499"/>
              <a:gd name="connsiteX61" fmla="*/ 2159779 w 2822824"/>
              <a:gd name="connsiteY61" fmla="*/ 3653594 h 3827499"/>
              <a:gd name="connsiteX62" fmla="*/ 2114901 w 2822824"/>
              <a:gd name="connsiteY62" fmla="*/ 3754571 h 3827499"/>
              <a:gd name="connsiteX63" fmla="*/ 2210268 w 2822824"/>
              <a:gd name="connsiteY63" fmla="*/ 3821889 h 3827499"/>
              <a:gd name="connsiteX64" fmla="*/ 2283195 w 2822824"/>
              <a:gd name="connsiteY64" fmla="*/ 3771401 h 3827499"/>
              <a:gd name="connsiteX65" fmla="*/ 2271976 w 2822824"/>
              <a:gd name="connsiteY65" fmla="*/ 3676034 h 3827499"/>
              <a:gd name="connsiteX66" fmla="*/ 2451490 w 2822824"/>
              <a:gd name="connsiteY66" fmla="*/ 3597496 h 3827499"/>
              <a:gd name="connsiteX67" fmla="*/ 2434660 w 2822824"/>
              <a:gd name="connsiteY67" fmla="*/ 3423592 h 3827499"/>
              <a:gd name="connsiteX68" fmla="*/ 1929777 w 2822824"/>
              <a:gd name="connsiteY68" fmla="*/ 3395543 h 3827499"/>
              <a:gd name="connsiteX69" fmla="*/ 1918557 w 2822824"/>
              <a:gd name="connsiteY69" fmla="*/ 3070174 h 3827499"/>
              <a:gd name="connsiteX70" fmla="*/ 1884898 w 2822824"/>
              <a:gd name="connsiteY70" fmla="*/ 3053344 h 3827499"/>
              <a:gd name="connsiteX71" fmla="*/ 1907338 w 2822824"/>
              <a:gd name="connsiteY71" fmla="*/ 2873830 h 3827499"/>
              <a:gd name="connsiteX72" fmla="*/ 1862459 w 2822824"/>
              <a:gd name="connsiteY72" fmla="*/ 2812122 h 3827499"/>
              <a:gd name="connsiteX73" fmla="*/ 2109291 w 2822824"/>
              <a:gd name="connsiteY73" fmla="*/ 2756024 h 3827499"/>
              <a:gd name="connsiteX74" fmla="*/ 2131730 w 2822824"/>
              <a:gd name="connsiteY74" fmla="*/ 2626998 h 3827499"/>
              <a:gd name="connsiteX75" fmla="*/ 2372952 w 2822824"/>
              <a:gd name="connsiteY75" fmla="*/ 2660657 h 3827499"/>
              <a:gd name="connsiteX76" fmla="*/ 2597345 w 2822824"/>
              <a:gd name="connsiteY76" fmla="*/ 2071626 h 3827499"/>
              <a:gd name="connsiteX77" fmla="*/ 2552466 w 2822824"/>
              <a:gd name="connsiteY77" fmla="*/ 1987479 h 3827499"/>
              <a:gd name="connsiteX78" fmla="*/ 2698322 w 2822824"/>
              <a:gd name="connsiteY78" fmla="*/ 1499425 h 3827499"/>
              <a:gd name="connsiteX79" fmla="*/ 2642224 w 2822824"/>
              <a:gd name="connsiteY79" fmla="*/ 1392839 h 3827499"/>
              <a:gd name="connsiteX80" fmla="*/ 2490758 w 2822824"/>
              <a:gd name="connsiteY80" fmla="*/ 848687 h 3827499"/>
              <a:gd name="connsiteX81" fmla="*/ 2782470 w 2822824"/>
              <a:gd name="connsiteY81" fmla="*/ 714051 h 3827499"/>
              <a:gd name="connsiteX82" fmla="*/ 2715151 w 2822824"/>
              <a:gd name="connsiteY82" fmla="*/ 472829 h 3827499"/>
              <a:gd name="connsiteX83" fmla="*/ 2647833 w 2822824"/>
              <a:gd name="connsiteY83" fmla="*/ 80143 h 3827499"/>
              <a:gd name="connsiteX0" fmla="*/ 2647833 w 2803959"/>
              <a:gd name="connsiteY0" fmla="*/ 80143 h 3827499"/>
              <a:gd name="connsiteX1" fmla="*/ 2395391 w 2803959"/>
              <a:gd name="connsiteY1" fmla="*/ 1604 h 3827499"/>
              <a:gd name="connsiteX2" fmla="*/ 2193438 w 2803959"/>
              <a:gd name="connsiteY2" fmla="*/ 197948 h 3827499"/>
              <a:gd name="connsiteX3" fmla="*/ 2114901 w 2803959"/>
              <a:gd name="connsiteY3" fmla="*/ 214777 h 3827499"/>
              <a:gd name="connsiteX4" fmla="*/ 2142950 w 2803959"/>
              <a:gd name="connsiteY4" fmla="*/ 326974 h 3827499"/>
              <a:gd name="connsiteX5" fmla="*/ 2047583 w 2803959"/>
              <a:gd name="connsiteY5" fmla="*/ 495268 h 3827499"/>
              <a:gd name="connsiteX6" fmla="*/ 2159779 w 2803959"/>
              <a:gd name="connsiteY6" fmla="*/ 747710 h 3827499"/>
              <a:gd name="connsiteX7" fmla="*/ 2030754 w 2803959"/>
              <a:gd name="connsiteY7" fmla="*/ 792588 h 3827499"/>
              <a:gd name="connsiteX8" fmla="*/ 1997095 w 2803959"/>
              <a:gd name="connsiteY8" fmla="*/ 859906 h 3827499"/>
              <a:gd name="connsiteX9" fmla="*/ 1997095 w 2803959"/>
              <a:gd name="connsiteY9" fmla="*/ 747710 h 3827499"/>
              <a:gd name="connsiteX10" fmla="*/ 1946606 w 2803959"/>
              <a:gd name="connsiteY10" fmla="*/ 708441 h 3827499"/>
              <a:gd name="connsiteX11" fmla="*/ 1772702 w 2803959"/>
              <a:gd name="connsiteY11" fmla="*/ 758929 h 3827499"/>
              <a:gd name="connsiteX12" fmla="*/ 1402454 w 2803959"/>
              <a:gd name="connsiteY12" fmla="*/ 618684 h 3827499"/>
              <a:gd name="connsiteX13" fmla="*/ 1705384 w 2803959"/>
              <a:gd name="connsiteY13" fmla="*/ 1190885 h 3827499"/>
              <a:gd name="connsiteX14" fmla="*/ 1800751 w 2803959"/>
              <a:gd name="connsiteY14" fmla="*/ 1263813 h 3827499"/>
              <a:gd name="connsiteX15" fmla="*/ 1649286 w 2803959"/>
              <a:gd name="connsiteY15" fmla="*/ 1488205 h 3827499"/>
              <a:gd name="connsiteX16" fmla="*/ 1727824 w 2803959"/>
              <a:gd name="connsiteY16" fmla="*/ 1706988 h 3827499"/>
              <a:gd name="connsiteX17" fmla="*/ 1817581 w 2803959"/>
              <a:gd name="connsiteY17" fmla="*/ 1701379 h 3827499"/>
              <a:gd name="connsiteX18" fmla="*/ 1671725 w 2803959"/>
              <a:gd name="connsiteY18" fmla="*/ 1869673 h 3827499"/>
              <a:gd name="connsiteX19" fmla="*/ 914400 w 2803959"/>
              <a:gd name="connsiteY19" fmla="*/ 1617231 h 3827499"/>
              <a:gd name="connsiteX20" fmla="*/ 460005 w 2803959"/>
              <a:gd name="connsiteY20" fmla="*/ 2643828 h 3827499"/>
              <a:gd name="connsiteX21" fmla="*/ 263662 w 2803959"/>
              <a:gd name="connsiteY21" fmla="*/ 2851391 h 3827499"/>
              <a:gd name="connsiteX22" fmla="*/ 44879 w 2803959"/>
              <a:gd name="connsiteY22" fmla="*/ 2896269 h 3827499"/>
              <a:gd name="connsiteX23" fmla="*/ 0 w 2803959"/>
              <a:gd name="connsiteY23" fmla="*/ 3002856 h 3827499"/>
              <a:gd name="connsiteX24" fmla="*/ 274881 w 2803959"/>
              <a:gd name="connsiteY24" fmla="*/ 3126272 h 3827499"/>
              <a:gd name="connsiteX25" fmla="*/ 504884 w 2803959"/>
              <a:gd name="connsiteY25" fmla="*/ 3025295 h 3827499"/>
              <a:gd name="connsiteX26" fmla="*/ 471225 w 2803959"/>
              <a:gd name="connsiteY26" fmla="*/ 3154321 h 3827499"/>
              <a:gd name="connsiteX27" fmla="*/ 572201 w 2803959"/>
              <a:gd name="connsiteY27" fmla="*/ 3199199 h 3827499"/>
              <a:gd name="connsiteX28" fmla="*/ 381468 w 2803959"/>
              <a:gd name="connsiteY28" fmla="*/ 3659204 h 3827499"/>
              <a:gd name="connsiteX29" fmla="*/ 196344 w 2803959"/>
              <a:gd name="connsiteY29" fmla="*/ 3704083 h 3827499"/>
              <a:gd name="connsiteX30" fmla="*/ 263662 w 2803959"/>
              <a:gd name="connsiteY30" fmla="*/ 3805059 h 3827499"/>
              <a:gd name="connsiteX31" fmla="*/ 555372 w 2803959"/>
              <a:gd name="connsiteY31" fmla="*/ 3827499 h 3827499"/>
              <a:gd name="connsiteX32" fmla="*/ 589031 w 2803959"/>
              <a:gd name="connsiteY32" fmla="*/ 3619936 h 3827499"/>
              <a:gd name="connsiteX33" fmla="*/ 645129 w 2803959"/>
              <a:gd name="connsiteY33" fmla="*/ 3614326 h 3827499"/>
              <a:gd name="connsiteX34" fmla="*/ 690008 w 2803959"/>
              <a:gd name="connsiteY34" fmla="*/ 3737742 h 3827499"/>
              <a:gd name="connsiteX35" fmla="*/ 774155 w 2803959"/>
              <a:gd name="connsiteY35" fmla="*/ 3743352 h 3827499"/>
              <a:gd name="connsiteX36" fmla="*/ 779765 w 2803959"/>
              <a:gd name="connsiteY36" fmla="*/ 3513349 h 3827499"/>
              <a:gd name="connsiteX37" fmla="*/ 746106 w 2803959"/>
              <a:gd name="connsiteY37" fmla="*/ 3244078 h 3827499"/>
              <a:gd name="connsiteX38" fmla="*/ 903181 w 2803959"/>
              <a:gd name="connsiteY38" fmla="*/ 2666267 h 3827499"/>
              <a:gd name="connsiteX39" fmla="*/ 1166842 w 2803959"/>
              <a:gd name="connsiteY39" fmla="*/ 2559680 h 3827499"/>
              <a:gd name="connsiteX40" fmla="*/ 1531480 w 2803959"/>
              <a:gd name="connsiteY40" fmla="*/ 2666267 h 3827499"/>
              <a:gd name="connsiteX41" fmla="*/ 1593188 w 2803959"/>
              <a:gd name="connsiteY41" fmla="*/ 2666267 h 3827499"/>
              <a:gd name="connsiteX42" fmla="*/ 1649286 w 2803959"/>
              <a:gd name="connsiteY42" fmla="*/ 2767244 h 3827499"/>
              <a:gd name="connsiteX43" fmla="*/ 1800751 w 2803959"/>
              <a:gd name="connsiteY43" fmla="*/ 2800902 h 3827499"/>
              <a:gd name="connsiteX44" fmla="*/ 1811971 w 2803959"/>
              <a:gd name="connsiteY44" fmla="*/ 2834561 h 3827499"/>
              <a:gd name="connsiteX45" fmla="*/ 1772702 w 2803959"/>
              <a:gd name="connsiteY45" fmla="*/ 3036515 h 3827499"/>
              <a:gd name="connsiteX46" fmla="*/ 1750263 w 2803959"/>
              <a:gd name="connsiteY46" fmla="*/ 3361884 h 3827499"/>
              <a:gd name="connsiteX47" fmla="*/ 1542700 w 2803959"/>
              <a:gd name="connsiteY47" fmla="*/ 3384323 h 3827499"/>
              <a:gd name="connsiteX48" fmla="*/ 1206111 w 2803959"/>
              <a:gd name="connsiteY48" fmla="*/ 3434812 h 3827499"/>
              <a:gd name="connsiteX49" fmla="*/ 1178062 w 2803959"/>
              <a:gd name="connsiteY49" fmla="*/ 3507739 h 3827499"/>
              <a:gd name="connsiteX50" fmla="*/ 1116354 w 2803959"/>
              <a:gd name="connsiteY50" fmla="*/ 3535788 h 3827499"/>
              <a:gd name="connsiteX51" fmla="*/ 1144403 w 2803959"/>
              <a:gd name="connsiteY51" fmla="*/ 3670424 h 3827499"/>
              <a:gd name="connsiteX52" fmla="*/ 1284648 w 2803959"/>
              <a:gd name="connsiteY52" fmla="*/ 3676034 h 3827499"/>
              <a:gd name="connsiteX53" fmla="*/ 1279038 w 2803959"/>
              <a:gd name="connsiteY53" fmla="*/ 3524569 h 3827499"/>
              <a:gd name="connsiteX54" fmla="*/ 1458552 w 2803959"/>
              <a:gd name="connsiteY54" fmla="*/ 3535788 h 3827499"/>
              <a:gd name="connsiteX55" fmla="*/ 1430503 w 2803959"/>
              <a:gd name="connsiteY55" fmla="*/ 3614326 h 3827499"/>
              <a:gd name="connsiteX56" fmla="*/ 1402454 w 2803959"/>
              <a:gd name="connsiteY56" fmla="*/ 3676034 h 3827499"/>
              <a:gd name="connsiteX57" fmla="*/ 1318307 w 2803959"/>
              <a:gd name="connsiteY57" fmla="*/ 3692863 h 3827499"/>
              <a:gd name="connsiteX58" fmla="*/ 1452943 w 2803959"/>
              <a:gd name="connsiteY58" fmla="*/ 3816279 h 3827499"/>
              <a:gd name="connsiteX59" fmla="*/ 1520260 w 2803959"/>
              <a:gd name="connsiteY59" fmla="*/ 3681644 h 3827499"/>
              <a:gd name="connsiteX60" fmla="*/ 1823190 w 2803959"/>
              <a:gd name="connsiteY60" fmla="*/ 3580667 h 3827499"/>
              <a:gd name="connsiteX61" fmla="*/ 2159779 w 2803959"/>
              <a:gd name="connsiteY61" fmla="*/ 3653594 h 3827499"/>
              <a:gd name="connsiteX62" fmla="*/ 2114901 w 2803959"/>
              <a:gd name="connsiteY62" fmla="*/ 3754571 h 3827499"/>
              <a:gd name="connsiteX63" fmla="*/ 2210268 w 2803959"/>
              <a:gd name="connsiteY63" fmla="*/ 3821889 h 3827499"/>
              <a:gd name="connsiteX64" fmla="*/ 2283195 w 2803959"/>
              <a:gd name="connsiteY64" fmla="*/ 3771401 h 3827499"/>
              <a:gd name="connsiteX65" fmla="*/ 2271976 w 2803959"/>
              <a:gd name="connsiteY65" fmla="*/ 3676034 h 3827499"/>
              <a:gd name="connsiteX66" fmla="*/ 2451490 w 2803959"/>
              <a:gd name="connsiteY66" fmla="*/ 3597496 h 3827499"/>
              <a:gd name="connsiteX67" fmla="*/ 2434660 w 2803959"/>
              <a:gd name="connsiteY67" fmla="*/ 3423592 h 3827499"/>
              <a:gd name="connsiteX68" fmla="*/ 1929777 w 2803959"/>
              <a:gd name="connsiteY68" fmla="*/ 3395543 h 3827499"/>
              <a:gd name="connsiteX69" fmla="*/ 1918557 w 2803959"/>
              <a:gd name="connsiteY69" fmla="*/ 3070174 h 3827499"/>
              <a:gd name="connsiteX70" fmla="*/ 1884898 w 2803959"/>
              <a:gd name="connsiteY70" fmla="*/ 3053344 h 3827499"/>
              <a:gd name="connsiteX71" fmla="*/ 1907338 w 2803959"/>
              <a:gd name="connsiteY71" fmla="*/ 2873830 h 3827499"/>
              <a:gd name="connsiteX72" fmla="*/ 1862459 w 2803959"/>
              <a:gd name="connsiteY72" fmla="*/ 2812122 h 3827499"/>
              <a:gd name="connsiteX73" fmla="*/ 2109291 w 2803959"/>
              <a:gd name="connsiteY73" fmla="*/ 2756024 h 3827499"/>
              <a:gd name="connsiteX74" fmla="*/ 2131730 w 2803959"/>
              <a:gd name="connsiteY74" fmla="*/ 2626998 h 3827499"/>
              <a:gd name="connsiteX75" fmla="*/ 2372952 w 2803959"/>
              <a:gd name="connsiteY75" fmla="*/ 2660657 h 3827499"/>
              <a:gd name="connsiteX76" fmla="*/ 2597345 w 2803959"/>
              <a:gd name="connsiteY76" fmla="*/ 2071626 h 3827499"/>
              <a:gd name="connsiteX77" fmla="*/ 2552466 w 2803959"/>
              <a:gd name="connsiteY77" fmla="*/ 1987479 h 3827499"/>
              <a:gd name="connsiteX78" fmla="*/ 2698322 w 2803959"/>
              <a:gd name="connsiteY78" fmla="*/ 1499425 h 3827499"/>
              <a:gd name="connsiteX79" fmla="*/ 2642224 w 2803959"/>
              <a:gd name="connsiteY79" fmla="*/ 1392839 h 3827499"/>
              <a:gd name="connsiteX80" fmla="*/ 2490758 w 2803959"/>
              <a:gd name="connsiteY80" fmla="*/ 848687 h 3827499"/>
              <a:gd name="connsiteX81" fmla="*/ 2743201 w 2803959"/>
              <a:gd name="connsiteY81" fmla="*/ 714051 h 3827499"/>
              <a:gd name="connsiteX82" fmla="*/ 2715151 w 2803959"/>
              <a:gd name="connsiteY82" fmla="*/ 472829 h 3827499"/>
              <a:gd name="connsiteX83" fmla="*/ 2647833 w 2803959"/>
              <a:gd name="connsiteY83" fmla="*/ 80143 h 3827499"/>
              <a:gd name="connsiteX0" fmla="*/ 2647833 w 2798650"/>
              <a:gd name="connsiteY0" fmla="*/ 80143 h 3827499"/>
              <a:gd name="connsiteX1" fmla="*/ 2395391 w 2798650"/>
              <a:gd name="connsiteY1" fmla="*/ 1604 h 3827499"/>
              <a:gd name="connsiteX2" fmla="*/ 2193438 w 2798650"/>
              <a:gd name="connsiteY2" fmla="*/ 197948 h 3827499"/>
              <a:gd name="connsiteX3" fmla="*/ 2114901 w 2798650"/>
              <a:gd name="connsiteY3" fmla="*/ 214777 h 3827499"/>
              <a:gd name="connsiteX4" fmla="*/ 2142950 w 2798650"/>
              <a:gd name="connsiteY4" fmla="*/ 326974 h 3827499"/>
              <a:gd name="connsiteX5" fmla="*/ 2047583 w 2798650"/>
              <a:gd name="connsiteY5" fmla="*/ 495268 h 3827499"/>
              <a:gd name="connsiteX6" fmla="*/ 2159779 w 2798650"/>
              <a:gd name="connsiteY6" fmla="*/ 747710 h 3827499"/>
              <a:gd name="connsiteX7" fmla="*/ 2030754 w 2798650"/>
              <a:gd name="connsiteY7" fmla="*/ 792588 h 3827499"/>
              <a:gd name="connsiteX8" fmla="*/ 1997095 w 2798650"/>
              <a:gd name="connsiteY8" fmla="*/ 859906 h 3827499"/>
              <a:gd name="connsiteX9" fmla="*/ 1997095 w 2798650"/>
              <a:gd name="connsiteY9" fmla="*/ 747710 h 3827499"/>
              <a:gd name="connsiteX10" fmla="*/ 1946606 w 2798650"/>
              <a:gd name="connsiteY10" fmla="*/ 708441 h 3827499"/>
              <a:gd name="connsiteX11" fmla="*/ 1772702 w 2798650"/>
              <a:gd name="connsiteY11" fmla="*/ 758929 h 3827499"/>
              <a:gd name="connsiteX12" fmla="*/ 1402454 w 2798650"/>
              <a:gd name="connsiteY12" fmla="*/ 618684 h 3827499"/>
              <a:gd name="connsiteX13" fmla="*/ 1705384 w 2798650"/>
              <a:gd name="connsiteY13" fmla="*/ 1190885 h 3827499"/>
              <a:gd name="connsiteX14" fmla="*/ 1800751 w 2798650"/>
              <a:gd name="connsiteY14" fmla="*/ 1263813 h 3827499"/>
              <a:gd name="connsiteX15" fmla="*/ 1649286 w 2798650"/>
              <a:gd name="connsiteY15" fmla="*/ 1488205 h 3827499"/>
              <a:gd name="connsiteX16" fmla="*/ 1727824 w 2798650"/>
              <a:gd name="connsiteY16" fmla="*/ 1706988 h 3827499"/>
              <a:gd name="connsiteX17" fmla="*/ 1817581 w 2798650"/>
              <a:gd name="connsiteY17" fmla="*/ 1701379 h 3827499"/>
              <a:gd name="connsiteX18" fmla="*/ 1671725 w 2798650"/>
              <a:gd name="connsiteY18" fmla="*/ 1869673 h 3827499"/>
              <a:gd name="connsiteX19" fmla="*/ 914400 w 2798650"/>
              <a:gd name="connsiteY19" fmla="*/ 1617231 h 3827499"/>
              <a:gd name="connsiteX20" fmla="*/ 460005 w 2798650"/>
              <a:gd name="connsiteY20" fmla="*/ 2643828 h 3827499"/>
              <a:gd name="connsiteX21" fmla="*/ 263662 w 2798650"/>
              <a:gd name="connsiteY21" fmla="*/ 2851391 h 3827499"/>
              <a:gd name="connsiteX22" fmla="*/ 44879 w 2798650"/>
              <a:gd name="connsiteY22" fmla="*/ 2896269 h 3827499"/>
              <a:gd name="connsiteX23" fmla="*/ 0 w 2798650"/>
              <a:gd name="connsiteY23" fmla="*/ 3002856 h 3827499"/>
              <a:gd name="connsiteX24" fmla="*/ 274881 w 2798650"/>
              <a:gd name="connsiteY24" fmla="*/ 3126272 h 3827499"/>
              <a:gd name="connsiteX25" fmla="*/ 504884 w 2798650"/>
              <a:gd name="connsiteY25" fmla="*/ 3025295 h 3827499"/>
              <a:gd name="connsiteX26" fmla="*/ 471225 w 2798650"/>
              <a:gd name="connsiteY26" fmla="*/ 3154321 h 3827499"/>
              <a:gd name="connsiteX27" fmla="*/ 572201 w 2798650"/>
              <a:gd name="connsiteY27" fmla="*/ 3199199 h 3827499"/>
              <a:gd name="connsiteX28" fmla="*/ 381468 w 2798650"/>
              <a:gd name="connsiteY28" fmla="*/ 3659204 h 3827499"/>
              <a:gd name="connsiteX29" fmla="*/ 196344 w 2798650"/>
              <a:gd name="connsiteY29" fmla="*/ 3704083 h 3827499"/>
              <a:gd name="connsiteX30" fmla="*/ 263662 w 2798650"/>
              <a:gd name="connsiteY30" fmla="*/ 3805059 h 3827499"/>
              <a:gd name="connsiteX31" fmla="*/ 555372 w 2798650"/>
              <a:gd name="connsiteY31" fmla="*/ 3827499 h 3827499"/>
              <a:gd name="connsiteX32" fmla="*/ 589031 w 2798650"/>
              <a:gd name="connsiteY32" fmla="*/ 3619936 h 3827499"/>
              <a:gd name="connsiteX33" fmla="*/ 645129 w 2798650"/>
              <a:gd name="connsiteY33" fmla="*/ 3614326 h 3827499"/>
              <a:gd name="connsiteX34" fmla="*/ 690008 w 2798650"/>
              <a:gd name="connsiteY34" fmla="*/ 3737742 h 3827499"/>
              <a:gd name="connsiteX35" fmla="*/ 774155 w 2798650"/>
              <a:gd name="connsiteY35" fmla="*/ 3743352 h 3827499"/>
              <a:gd name="connsiteX36" fmla="*/ 779765 w 2798650"/>
              <a:gd name="connsiteY36" fmla="*/ 3513349 h 3827499"/>
              <a:gd name="connsiteX37" fmla="*/ 746106 w 2798650"/>
              <a:gd name="connsiteY37" fmla="*/ 3244078 h 3827499"/>
              <a:gd name="connsiteX38" fmla="*/ 903181 w 2798650"/>
              <a:gd name="connsiteY38" fmla="*/ 2666267 h 3827499"/>
              <a:gd name="connsiteX39" fmla="*/ 1166842 w 2798650"/>
              <a:gd name="connsiteY39" fmla="*/ 2559680 h 3827499"/>
              <a:gd name="connsiteX40" fmla="*/ 1531480 w 2798650"/>
              <a:gd name="connsiteY40" fmla="*/ 2666267 h 3827499"/>
              <a:gd name="connsiteX41" fmla="*/ 1593188 w 2798650"/>
              <a:gd name="connsiteY41" fmla="*/ 2666267 h 3827499"/>
              <a:gd name="connsiteX42" fmla="*/ 1649286 w 2798650"/>
              <a:gd name="connsiteY42" fmla="*/ 2767244 h 3827499"/>
              <a:gd name="connsiteX43" fmla="*/ 1800751 w 2798650"/>
              <a:gd name="connsiteY43" fmla="*/ 2800902 h 3827499"/>
              <a:gd name="connsiteX44" fmla="*/ 1811971 w 2798650"/>
              <a:gd name="connsiteY44" fmla="*/ 2834561 h 3827499"/>
              <a:gd name="connsiteX45" fmla="*/ 1772702 w 2798650"/>
              <a:gd name="connsiteY45" fmla="*/ 3036515 h 3827499"/>
              <a:gd name="connsiteX46" fmla="*/ 1750263 w 2798650"/>
              <a:gd name="connsiteY46" fmla="*/ 3361884 h 3827499"/>
              <a:gd name="connsiteX47" fmla="*/ 1542700 w 2798650"/>
              <a:gd name="connsiteY47" fmla="*/ 3384323 h 3827499"/>
              <a:gd name="connsiteX48" fmla="*/ 1206111 w 2798650"/>
              <a:gd name="connsiteY48" fmla="*/ 3434812 h 3827499"/>
              <a:gd name="connsiteX49" fmla="*/ 1178062 w 2798650"/>
              <a:gd name="connsiteY49" fmla="*/ 3507739 h 3827499"/>
              <a:gd name="connsiteX50" fmla="*/ 1116354 w 2798650"/>
              <a:gd name="connsiteY50" fmla="*/ 3535788 h 3827499"/>
              <a:gd name="connsiteX51" fmla="*/ 1144403 w 2798650"/>
              <a:gd name="connsiteY51" fmla="*/ 3670424 h 3827499"/>
              <a:gd name="connsiteX52" fmla="*/ 1284648 w 2798650"/>
              <a:gd name="connsiteY52" fmla="*/ 3676034 h 3827499"/>
              <a:gd name="connsiteX53" fmla="*/ 1279038 w 2798650"/>
              <a:gd name="connsiteY53" fmla="*/ 3524569 h 3827499"/>
              <a:gd name="connsiteX54" fmla="*/ 1458552 w 2798650"/>
              <a:gd name="connsiteY54" fmla="*/ 3535788 h 3827499"/>
              <a:gd name="connsiteX55" fmla="*/ 1430503 w 2798650"/>
              <a:gd name="connsiteY55" fmla="*/ 3614326 h 3827499"/>
              <a:gd name="connsiteX56" fmla="*/ 1402454 w 2798650"/>
              <a:gd name="connsiteY56" fmla="*/ 3676034 h 3827499"/>
              <a:gd name="connsiteX57" fmla="*/ 1318307 w 2798650"/>
              <a:gd name="connsiteY57" fmla="*/ 3692863 h 3827499"/>
              <a:gd name="connsiteX58" fmla="*/ 1452943 w 2798650"/>
              <a:gd name="connsiteY58" fmla="*/ 3816279 h 3827499"/>
              <a:gd name="connsiteX59" fmla="*/ 1520260 w 2798650"/>
              <a:gd name="connsiteY59" fmla="*/ 3681644 h 3827499"/>
              <a:gd name="connsiteX60" fmla="*/ 1823190 w 2798650"/>
              <a:gd name="connsiteY60" fmla="*/ 3580667 h 3827499"/>
              <a:gd name="connsiteX61" fmla="*/ 2159779 w 2798650"/>
              <a:gd name="connsiteY61" fmla="*/ 3653594 h 3827499"/>
              <a:gd name="connsiteX62" fmla="*/ 2114901 w 2798650"/>
              <a:gd name="connsiteY62" fmla="*/ 3754571 h 3827499"/>
              <a:gd name="connsiteX63" fmla="*/ 2210268 w 2798650"/>
              <a:gd name="connsiteY63" fmla="*/ 3821889 h 3827499"/>
              <a:gd name="connsiteX64" fmla="*/ 2283195 w 2798650"/>
              <a:gd name="connsiteY64" fmla="*/ 3771401 h 3827499"/>
              <a:gd name="connsiteX65" fmla="*/ 2271976 w 2798650"/>
              <a:gd name="connsiteY65" fmla="*/ 3676034 h 3827499"/>
              <a:gd name="connsiteX66" fmla="*/ 2451490 w 2798650"/>
              <a:gd name="connsiteY66" fmla="*/ 3597496 h 3827499"/>
              <a:gd name="connsiteX67" fmla="*/ 2434660 w 2798650"/>
              <a:gd name="connsiteY67" fmla="*/ 3423592 h 3827499"/>
              <a:gd name="connsiteX68" fmla="*/ 1929777 w 2798650"/>
              <a:gd name="connsiteY68" fmla="*/ 3395543 h 3827499"/>
              <a:gd name="connsiteX69" fmla="*/ 1918557 w 2798650"/>
              <a:gd name="connsiteY69" fmla="*/ 3070174 h 3827499"/>
              <a:gd name="connsiteX70" fmla="*/ 1884898 w 2798650"/>
              <a:gd name="connsiteY70" fmla="*/ 3053344 h 3827499"/>
              <a:gd name="connsiteX71" fmla="*/ 1907338 w 2798650"/>
              <a:gd name="connsiteY71" fmla="*/ 2873830 h 3827499"/>
              <a:gd name="connsiteX72" fmla="*/ 1862459 w 2798650"/>
              <a:gd name="connsiteY72" fmla="*/ 2812122 h 3827499"/>
              <a:gd name="connsiteX73" fmla="*/ 2109291 w 2798650"/>
              <a:gd name="connsiteY73" fmla="*/ 2756024 h 3827499"/>
              <a:gd name="connsiteX74" fmla="*/ 2131730 w 2798650"/>
              <a:gd name="connsiteY74" fmla="*/ 2626998 h 3827499"/>
              <a:gd name="connsiteX75" fmla="*/ 2372952 w 2798650"/>
              <a:gd name="connsiteY75" fmla="*/ 2660657 h 3827499"/>
              <a:gd name="connsiteX76" fmla="*/ 2597345 w 2798650"/>
              <a:gd name="connsiteY76" fmla="*/ 2071626 h 3827499"/>
              <a:gd name="connsiteX77" fmla="*/ 2552466 w 2798650"/>
              <a:gd name="connsiteY77" fmla="*/ 1987479 h 3827499"/>
              <a:gd name="connsiteX78" fmla="*/ 2698322 w 2798650"/>
              <a:gd name="connsiteY78" fmla="*/ 1499425 h 3827499"/>
              <a:gd name="connsiteX79" fmla="*/ 2642224 w 2798650"/>
              <a:gd name="connsiteY79" fmla="*/ 1392839 h 3827499"/>
              <a:gd name="connsiteX80" fmla="*/ 2490758 w 2798650"/>
              <a:gd name="connsiteY80" fmla="*/ 848687 h 3827499"/>
              <a:gd name="connsiteX81" fmla="*/ 2743201 w 2798650"/>
              <a:gd name="connsiteY81" fmla="*/ 714051 h 3827499"/>
              <a:gd name="connsiteX82" fmla="*/ 2715151 w 2798650"/>
              <a:gd name="connsiteY82" fmla="*/ 472829 h 3827499"/>
              <a:gd name="connsiteX83" fmla="*/ 2647833 w 2798650"/>
              <a:gd name="connsiteY83" fmla="*/ 80143 h 3827499"/>
              <a:gd name="connsiteX0" fmla="*/ 2647833 w 2777761"/>
              <a:gd name="connsiteY0" fmla="*/ 80143 h 3827499"/>
              <a:gd name="connsiteX1" fmla="*/ 2395391 w 2777761"/>
              <a:gd name="connsiteY1" fmla="*/ 1604 h 3827499"/>
              <a:gd name="connsiteX2" fmla="*/ 2193438 w 2777761"/>
              <a:gd name="connsiteY2" fmla="*/ 197948 h 3827499"/>
              <a:gd name="connsiteX3" fmla="*/ 2114901 w 2777761"/>
              <a:gd name="connsiteY3" fmla="*/ 214777 h 3827499"/>
              <a:gd name="connsiteX4" fmla="*/ 2142950 w 2777761"/>
              <a:gd name="connsiteY4" fmla="*/ 326974 h 3827499"/>
              <a:gd name="connsiteX5" fmla="*/ 2047583 w 2777761"/>
              <a:gd name="connsiteY5" fmla="*/ 495268 h 3827499"/>
              <a:gd name="connsiteX6" fmla="*/ 2159779 w 2777761"/>
              <a:gd name="connsiteY6" fmla="*/ 747710 h 3827499"/>
              <a:gd name="connsiteX7" fmla="*/ 2030754 w 2777761"/>
              <a:gd name="connsiteY7" fmla="*/ 792588 h 3827499"/>
              <a:gd name="connsiteX8" fmla="*/ 1997095 w 2777761"/>
              <a:gd name="connsiteY8" fmla="*/ 859906 h 3827499"/>
              <a:gd name="connsiteX9" fmla="*/ 1997095 w 2777761"/>
              <a:gd name="connsiteY9" fmla="*/ 747710 h 3827499"/>
              <a:gd name="connsiteX10" fmla="*/ 1946606 w 2777761"/>
              <a:gd name="connsiteY10" fmla="*/ 708441 h 3827499"/>
              <a:gd name="connsiteX11" fmla="*/ 1772702 w 2777761"/>
              <a:gd name="connsiteY11" fmla="*/ 758929 h 3827499"/>
              <a:gd name="connsiteX12" fmla="*/ 1402454 w 2777761"/>
              <a:gd name="connsiteY12" fmla="*/ 618684 h 3827499"/>
              <a:gd name="connsiteX13" fmla="*/ 1705384 w 2777761"/>
              <a:gd name="connsiteY13" fmla="*/ 1190885 h 3827499"/>
              <a:gd name="connsiteX14" fmla="*/ 1800751 w 2777761"/>
              <a:gd name="connsiteY14" fmla="*/ 1263813 h 3827499"/>
              <a:gd name="connsiteX15" fmla="*/ 1649286 w 2777761"/>
              <a:gd name="connsiteY15" fmla="*/ 1488205 h 3827499"/>
              <a:gd name="connsiteX16" fmla="*/ 1727824 w 2777761"/>
              <a:gd name="connsiteY16" fmla="*/ 1706988 h 3827499"/>
              <a:gd name="connsiteX17" fmla="*/ 1817581 w 2777761"/>
              <a:gd name="connsiteY17" fmla="*/ 1701379 h 3827499"/>
              <a:gd name="connsiteX18" fmla="*/ 1671725 w 2777761"/>
              <a:gd name="connsiteY18" fmla="*/ 1869673 h 3827499"/>
              <a:gd name="connsiteX19" fmla="*/ 914400 w 2777761"/>
              <a:gd name="connsiteY19" fmla="*/ 1617231 h 3827499"/>
              <a:gd name="connsiteX20" fmla="*/ 460005 w 2777761"/>
              <a:gd name="connsiteY20" fmla="*/ 2643828 h 3827499"/>
              <a:gd name="connsiteX21" fmla="*/ 263662 w 2777761"/>
              <a:gd name="connsiteY21" fmla="*/ 2851391 h 3827499"/>
              <a:gd name="connsiteX22" fmla="*/ 44879 w 2777761"/>
              <a:gd name="connsiteY22" fmla="*/ 2896269 h 3827499"/>
              <a:gd name="connsiteX23" fmla="*/ 0 w 2777761"/>
              <a:gd name="connsiteY23" fmla="*/ 3002856 h 3827499"/>
              <a:gd name="connsiteX24" fmla="*/ 274881 w 2777761"/>
              <a:gd name="connsiteY24" fmla="*/ 3126272 h 3827499"/>
              <a:gd name="connsiteX25" fmla="*/ 504884 w 2777761"/>
              <a:gd name="connsiteY25" fmla="*/ 3025295 h 3827499"/>
              <a:gd name="connsiteX26" fmla="*/ 471225 w 2777761"/>
              <a:gd name="connsiteY26" fmla="*/ 3154321 h 3827499"/>
              <a:gd name="connsiteX27" fmla="*/ 572201 w 2777761"/>
              <a:gd name="connsiteY27" fmla="*/ 3199199 h 3827499"/>
              <a:gd name="connsiteX28" fmla="*/ 381468 w 2777761"/>
              <a:gd name="connsiteY28" fmla="*/ 3659204 h 3827499"/>
              <a:gd name="connsiteX29" fmla="*/ 196344 w 2777761"/>
              <a:gd name="connsiteY29" fmla="*/ 3704083 h 3827499"/>
              <a:gd name="connsiteX30" fmla="*/ 263662 w 2777761"/>
              <a:gd name="connsiteY30" fmla="*/ 3805059 h 3827499"/>
              <a:gd name="connsiteX31" fmla="*/ 555372 w 2777761"/>
              <a:gd name="connsiteY31" fmla="*/ 3827499 h 3827499"/>
              <a:gd name="connsiteX32" fmla="*/ 589031 w 2777761"/>
              <a:gd name="connsiteY32" fmla="*/ 3619936 h 3827499"/>
              <a:gd name="connsiteX33" fmla="*/ 645129 w 2777761"/>
              <a:gd name="connsiteY33" fmla="*/ 3614326 h 3827499"/>
              <a:gd name="connsiteX34" fmla="*/ 690008 w 2777761"/>
              <a:gd name="connsiteY34" fmla="*/ 3737742 h 3827499"/>
              <a:gd name="connsiteX35" fmla="*/ 774155 w 2777761"/>
              <a:gd name="connsiteY35" fmla="*/ 3743352 h 3827499"/>
              <a:gd name="connsiteX36" fmla="*/ 779765 w 2777761"/>
              <a:gd name="connsiteY36" fmla="*/ 3513349 h 3827499"/>
              <a:gd name="connsiteX37" fmla="*/ 746106 w 2777761"/>
              <a:gd name="connsiteY37" fmla="*/ 3244078 h 3827499"/>
              <a:gd name="connsiteX38" fmla="*/ 903181 w 2777761"/>
              <a:gd name="connsiteY38" fmla="*/ 2666267 h 3827499"/>
              <a:gd name="connsiteX39" fmla="*/ 1166842 w 2777761"/>
              <a:gd name="connsiteY39" fmla="*/ 2559680 h 3827499"/>
              <a:gd name="connsiteX40" fmla="*/ 1531480 w 2777761"/>
              <a:gd name="connsiteY40" fmla="*/ 2666267 h 3827499"/>
              <a:gd name="connsiteX41" fmla="*/ 1593188 w 2777761"/>
              <a:gd name="connsiteY41" fmla="*/ 2666267 h 3827499"/>
              <a:gd name="connsiteX42" fmla="*/ 1649286 w 2777761"/>
              <a:gd name="connsiteY42" fmla="*/ 2767244 h 3827499"/>
              <a:gd name="connsiteX43" fmla="*/ 1800751 w 2777761"/>
              <a:gd name="connsiteY43" fmla="*/ 2800902 h 3827499"/>
              <a:gd name="connsiteX44" fmla="*/ 1811971 w 2777761"/>
              <a:gd name="connsiteY44" fmla="*/ 2834561 h 3827499"/>
              <a:gd name="connsiteX45" fmla="*/ 1772702 w 2777761"/>
              <a:gd name="connsiteY45" fmla="*/ 3036515 h 3827499"/>
              <a:gd name="connsiteX46" fmla="*/ 1750263 w 2777761"/>
              <a:gd name="connsiteY46" fmla="*/ 3361884 h 3827499"/>
              <a:gd name="connsiteX47" fmla="*/ 1542700 w 2777761"/>
              <a:gd name="connsiteY47" fmla="*/ 3384323 h 3827499"/>
              <a:gd name="connsiteX48" fmla="*/ 1206111 w 2777761"/>
              <a:gd name="connsiteY48" fmla="*/ 3434812 h 3827499"/>
              <a:gd name="connsiteX49" fmla="*/ 1178062 w 2777761"/>
              <a:gd name="connsiteY49" fmla="*/ 3507739 h 3827499"/>
              <a:gd name="connsiteX50" fmla="*/ 1116354 w 2777761"/>
              <a:gd name="connsiteY50" fmla="*/ 3535788 h 3827499"/>
              <a:gd name="connsiteX51" fmla="*/ 1144403 w 2777761"/>
              <a:gd name="connsiteY51" fmla="*/ 3670424 h 3827499"/>
              <a:gd name="connsiteX52" fmla="*/ 1284648 w 2777761"/>
              <a:gd name="connsiteY52" fmla="*/ 3676034 h 3827499"/>
              <a:gd name="connsiteX53" fmla="*/ 1279038 w 2777761"/>
              <a:gd name="connsiteY53" fmla="*/ 3524569 h 3827499"/>
              <a:gd name="connsiteX54" fmla="*/ 1458552 w 2777761"/>
              <a:gd name="connsiteY54" fmla="*/ 3535788 h 3827499"/>
              <a:gd name="connsiteX55" fmla="*/ 1430503 w 2777761"/>
              <a:gd name="connsiteY55" fmla="*/ 3614326 h 3827499"/>
              <a:gd name="connsiteX56" fmla="*/ 1402454 w 2777761"/>
              <a:gd name="connsiteY56" fmla="*/ 3676034 h 3827499"/>
              <a:gd name="connsiteX57" fmla="*/ 1318307 w 2777761"/>
              <a:gd name="connsiteY57" fmla="*/ 3692863 h 3827499"/>
              <a:gd name="connsiteX58" fmla="*/ 1452943 w 2777761"/>
              <a:gd name="connsiteY58" fmla="*/ 3816279 h 3827499"/>
              <a:gd name="connsiteX59" fmla="*/ 1520260 w 2777761"/>
              <a:gd name="connsiteY59" fmla="*/ 3681644 h 3827499"/>
              <a:gd name="connsiteX60" fmla="*/ 1823190 w 2777761"/>
              <a:gd name="connsiteY60" fmla="*/ 3580667 h 3827499"/>
              <a:gd name="connsiteX61" fmla="*/ 2159779 w 2777761"/>
              <a:gd name="connsiteY61" fmla="*/ 3653594 h 3827499"/>
              <a:gd name="connsiteX62" fmla="*/ 2114901 w 2777761"/>
              <a:gd name="connsiteY62" fmla="*/ 3754571 h 3827499"/>
              <a:gd name="connsiteX63" fmla="*/ 2210268 w 2777761"/>
              <a:gd name="connsiteY63" fmla="*/ 3821889 h 3827499"/>
              <a:gd name="connsiteX64" fmla="*/ 2283195 w 2777761"/>
              <a:gd name="connsiteY64" fmla="*/ 3771401 h 3827499"/>
              <a:gd name="connsiteX65" fmla="*/ 2271976 w 2777761"/>
              <a:gd name="connsiteY65" fmla="*/ 3676034 h 3827499"/>
              <a:gd name="connsiteX66" fmla="*/ 2451490 w 2777761"/>
              <a:gd name="connsiteY66" fmla="*/ 3597496 h 3827499"/>
              <a:gd name="connsiteX67" fmla="*/ 2434660 w 2777761"/>
              <a:gd name="connsiteY67" fmla="*/ 3423592 h 3827499"/>
              <a:gd name="connsiteX68" fmla="*/ 1929777 w 2777761"/>
              <a:gd name="connsiteY68" fmla="*/ 3395543 h 3827499"/>
              <a:gd name="connsiteX69" fmla="*/ 1918557 w 2777761"/>
              <a:gd name="connsiteY69" fmla="*/ 3070174 h 3827499"/>
              <a:gd name="connsiteX70" fmla="*/ 1884898 w 2777761"/>
              <a:gd name="connsiteY70" fmla="*/ 3053344 h 3827499"/>
              <a:gd name="connsiteX71" fmla="*/ 1907338 w 2777761"/>
              <a:gd name="connsiteY71" fmla="*/ 2873830 h 3827499"/>
              <a:gd name="connsiteX72" fmla="*/ 1862459 w 2777761"/>
              <a:gd name="connsiteY72" fmla="*/ 2812122 h 3827499"/>
              <a:gd name="connsiteX73" fmla="*/ 2109291 w 2777761"/>
              <a:gd name="connsiteY73" fmla="*/ 2756024 h 3827499"/>
              <a:gd name="connsiteX74" fmla="*/ 2131730 w 2777761"/>
              <a:gd name="connsiteY74" fmla="*/ 2626998 h 3827499"/>
              <a:gd name="connsiteX75" fmla="*/ 2372952 w 2777761"/>
              <a:gd name="connsiteY75" fmla="*/ 2660657 h 3827499"/>
              <a:gd name="connsiteX76" fmla="*/ 2597345 w 2777761"/>
              <a:gd name="connsiteY76" fmla="*/ 2071626 h 3827499"/>
              <a:gd name="connsiteX77" fmla="*/ 2552466 w 2777761"/>
              <a:gd name="connsiteY77" fmla="*/ 1987479 h 3827499"/>
              <a:gd name="connsiteX78" fmla="*/ 2698322 w 2777761"/>
              <a:gd name="connsiteY78" fmla="*/ 1499425 h 3827499"/>
              <a:gd name="connsiteX79" fmla="*/ 2642224 w 2777761"/>
              <a:gd name="connsiteY79" fmla="*/ 1392839 h 3827499"/>
              <a:gd name="connsiteX80" fmla="*/ 2490758 w 2777761"/>
              <a:gd name="connsiteY80" fmla="*/ 848687 h 3827499"/>
              <a:gd name="connsiteX81" fmla="*/ 2743201 w 2777761"/>
              <a:gd name="connsiteY81" fmla="*/ 714051 h 3827499"/>
              <a:gd name="connsiteX82" fmla="*/ 2715151 w 2777761"/>
              <a:gd name="connsiteY82" fmla="*/ 472829 h 3827499"/>
              <a:gd name="connsiteX83" fmla="*/ 2647833 w 2777761"/>
              <a:gd name="connsiteY83" fmla="*/ 80143 h 3827499"/>
              <a:gd name="connsiteX0" fmla="*/ 2647833 w 2777761"/>
              <a:gd name="connsiteY0" fmla="*/ 80143 h 3827499"/>
              <a:gd name="connsiteX1" fmla="*/ 2395391 w 2777761"/>
              <a:gd name="connsiteY1" fmla="*/ 1604 h 3827499"/>
              <a:gd name="connsiteX2" fmla="*/ 2193438 w 2777761"/>
              <a:gd name="connsiteY2" fmla="*/ 197948 h 3827499"/>
              <a:gd name="connsiteX3" fmla="*/ 2114901 w 2777761"/>
              <a:gd name="connsiteY3" fmla="*/ 214777 h 3827499"/>
              <a:gd name="connsiteX4" fmla="*/ 2142950 w 2777761"/>
              <a:gd name="connsiteY4" fmla="*/ 326974 h 3827499"/>
              <a:gd name="connsiteX5" fmla="*/ 2047583 w 2777761"/>
              <a:gd name="connsiteY5" fmla="*/ 495268 h 3827499"/>
              <a:gd name="connsiteX6" fmla="*/ 2159779 w 2777761"/>
              <a:gd name="connsiteY6" fmla="*/ 747710 h 3827499"/>
              <a:gd name="connsiteX7" fmla="*/ 2030754 w 2777761"/>
              <a:gd name="connsiteY7" fmla="*/ 792588 h 3827499"/>
              <a:gd name="connsiteX8" fmla="*/ 1997095 w 2777761"/>
              <a:gd name="connsiteY8" fmla="*/ 859906 h 3827499"/>
              <a:gd name="connsiteX9" fmla="*/ 1997095 w 2777761"/>
              <a:gd name="connsiteY9" fmla="*/ 747710 h 3827499"/>
              <a:gd name="connsiteX10" fmla="*/ 1946606 w 2777761"/>
              <a:gd name="connsiteY10" fmla="*/ 708441 h 3827499"/>
              <a:gd name="connsiteX11" fmla="*/ 1772702 w 2777761"/>
              <a:gd name="connsiteY11" fmla="*/ 758929 h 3827499"/>
              <a:gd name="connsiteX12" fmla="*/ 1402454 w 2777761"/>
              <a:gd name="connsiteY12" fmla="*/ 618684 h 3827499"/>
              <a:gd name="connsiteX13" fmla="*/ 1705384 w 2777761"/>
              <a:gd name="connsiteY13" fmla="*/ 1190885 h 3827499"/>
              <a:gd name="connsiteX14" fmla="*/ 1800751 w 2777761"/>
              <a:gd name="connsiteY14" fmla="*/ 1263813 h 3827499"/>
              <a:gd name="connsiteX15" fmla="*/ 1649286 w 2777761"/>
              <a:gd name="connsiteY15" fmla="*/ 1488205 h 3827499"/>
              <a:gd name="connsiteX16" fmla="*/ 1727824 w 2777761"/>
              <a:gd name="connsiteY16" fmla="*/ 1706988 h 3827499"/>
              <a:gd name="connsiteX17" fmla="*/ 1817581 w 2777761"/>
              <a:gd name="connsiteY17" fmla="*/ 1701379 h 3827499"/>
              <a:gd name="connsiteX18" fmla="*/ 1671725 w 2777761"/>
              <a:gd name="connsiteY18" fmla="*/ 1869673 h 3827499"/>
              <a:gd name="connsiteX19" fmla="*/ 914400 w 2777761"/>
              <a:gd name="connsiteY19" fmla="*/ 1617231 h 3827499"/>
              <a:gd name="connsiteX20" fmla="*/ 460005 w 2777761"/>
              <a:gd name="connsiteY20" fmla="*/ 2643828 h 3827499"/>
              <a:gd name="connsiteX21" fmla="*/ 263662 w 2777761"/>
              <a:gd name="connsiteY21" fmla="*/ 2851391 h 3827499"/>
              <a:gd name="connsiteX22" fmla="*/ 44879 w 2777761"/>
              <a:gd name="connsiteY22" fmla="*/ 2896269 h 3827499"/>
              <a:gd name="connsiteX23" fmla="*/ 0 w 2777761"/>
              <a:gd name="connsiteY23" fmla="*/ 3002856 h 3827499"/>
              <a:gd name="connsiteX24" fmla="*/ 274881 w 2777761"/>
              <a:gd name="connsiteY24" fmla="*/ 3126272 h 3827499"/>
              <a:gd name="connsiteX25" fmla="*/ 504884 w 2777761"/>
              <a:gd name="connsiteY25" fmla="*/ 3025295 h 3827499"/>
              <a:gd name="connsiteX26" fmla="*/ 471225 w 2777761"/>
              <a:gd name="connsiteY26" fmla="*/ 3154321 h 3827499"/>
              <a:gd name="connsiteX27" fmla="*/ 572201 w 2777761"/>
              <a:gd name="connsiteY27" fmla="*/ 3199199 h 3827499"/>
              <a:gd name="connsiteX28" fmla="*/ 381468 w 2777761"/>
              <a:gd name="connsiteY28" fmla="*/ 3659204 h 3827499"/>
              <a:gd name="connsiteX29" fmla="*/ 196344 w 2777761"/>
              <a:gd name="connsiteY29" fmla="*/ 3704083 h 3827499"/>
              <a:gd name="connsiteX30" fmla="*/ 263662 w 2777761"/>
              <a:gd name="connsiteY30" fmla="*/ 3805059 h 3827499"/>
              <a:gd name="connsiteX31" fmla="*/ 555372 w 2777761"/>
              <a:gd name="connsiteY31" fmla="*/ 3827499 h 3827499"/>
              <a:gd name="connsiteX32" fmla="*/ 589031 w 2777761"/>
              <a:gd name="connsiteY32" fmla="*/ 3619936 h 3827499"/>
              <a:gd name="connsiteX33" fmla="*/ 645129 w 2777761"/>
              <a:gd name="connsiteY33" fmla="*/ 3614326 h 3827499"/>
              <a:gd name="connsiteX34" fmla="*/ 690008 w 2777761"/>
              <a:gd name="connsiteY34" fmla="*/ 3737742 h 3827499"/>
              <a:gd name="connsiteX35" fmla="*/ 774155 w 2777761"/>
              <a:gd name="connsiteY35" fmla="*/ 3743352 h 3827499"/>
              <a:gd name="connsiteX36" fmla="*/ 779765 w 2777761"/>
              <a:gd name="connsiteY36" fmla="*/ 3513349 h 3827499"/>
              <a:gd name="connsiteX37" fmla="*/ 746106 w 2777761"/>
              <a:gd name="connsiteY37" fmla="*/ 3244078 h 3827499"/>
              <a:gd name="connsiteX38" fmla="*/ 903181 w 2777761"/>
              <a:gd name="connsiteY38" fmla="*/ 2666267 h 3827499"/>
              <a:gd name="connsiteX39" fmla="*/ 1166842 w 2777761"/>
              <a:gd name="connsiteY39" fmla="*/ 2559680 h 3827499"/>
              <a:gd name="connsiteX40" fmla="*/ 1531480 w 2777761"/>
              <a:gd name="connsiteY40" fmla="*/ 2666267 h 3827499"/>
              <a:gd name="connsiteX41" fmla="*/ 1593188 w 2777761"/>
              <a:gd name="connsiteY41" fmla="*/ 2666267 h 3827499"/>
              <a:gd name="connsiteX42" fmla="*/ 1649286 w 2777761"/>
              <a:gd name="connsiteY42" fmla="*/ 2767244 h 3827499"/>
              <a:gd name="connsiteX43" fmla="*/ 1800751 w 2777761"/>
              <a:gd name="connsiteY43" fmla="*/ 2800902 h 3827499"/>
              <a:gd name="connsiteX44" fmla="*/ 1811971 w 2777761"/>
              <a:gd name="connsiteY44" fmla="*/ 2834561 h 3827499"/>
              <a:gd name="connsiteX45" fmla="*/ 1772702 w 2777761"/>
              <a:gd name="connsiteY45" fmla="*/ 3036515 h 3827499"/>
              <a:gd name="connsiteX46" fmla="*/ 1750263 w 2777761"/>
              <a:gd name="connsiteY46" fmla="*/ 3361884 h 3827499"/>
              <a:gd name="connsiteX47" fmla="*/ 1542700 w 2777761"/>
              <a:gd name="connsiteY47" fmla="*/ 3384323 h 3827499"/>
              <a:gd name="connsiteX48" fmla="*/ 1206111 w 2777761"/>
              <a:gd name="connsiteY48" fmla="*/ 3434812 h 3827499"/>
              <a:gd name="connsiteX49" fmla="*/ 1178062 w 2777761"/>
              <a:gd name="connsiteY49" fmla="*/ 3507739 h 3827499"/>
              <a:gd name="connsiteX50" fmla="*/ 1116354 w 2777761"/>
              <a:gd name="connsiteY50" fmla="*/ 3535788 h 3827499"/>
              <a:gd name="connsiteX51" fmla="*/ 1144403 w 2777761"/>
              <a:gd name="connsiteY51" fmla="*/ 3670424 h 3827499"/>
              <a:gd name="connsiteX52" fmla="*/ 1284648 w 2777761"/>
              <a:gd name="connsiteY52" fmla="*/ 3676034 h 3827499"/>
              <a:gd name="connsiteX53" fmla="*/ 1279038 w 2777761"/>
              <a:gd name="connsiteY53" fmla="*/ 3524569 h 3827499"/>
              <a:gd name="connsiteX54" fmla="*/ 1458552 w 2777761"/>
              <a:gd name="connsiteY54" fmla="*/ 3535788 h 3827499"/>
              <a:gd name="connsiteX55" fmla="*/ 1430503 w 2777761"/>
              <a:gd name="connsiteY55" fmla="*/ 3614326 h 3827499"/>
              <a:gd name="connsiteX56" fmla="*/ 1402454 w 2777761"/>
              <a:gd name="connsiteY56" fmla="*/ 3676034 h 3827499"/>
              <a:gd name="connsiteX57" fmla="*/ 1318307 w 2777761"/>
              <a:gd name="connsiteY57" fmla="*/ 3692863 h 3827499"/>
              <a:gd name="connsiteX58" fmla="*/ 1452943 w 2777761"/>
              <a:gd name="connsiteY58" fmla="*/ 3816279 h 3827499"/>
              <a:gd name="connsiteX59" fmla="*/ 1520260 w 2777761"/>
              <a:gd name="connsiteY59" fmla="*/ 3681644 h 3827499"/>
              <a:gd name="connsiteX60" fmla="*/ 1823190 w 2777761"/>
              <a:gd name="connsiteY60" fmla="*/ 3580667 h 3827499"/>
              <a:gd name="connsiteX61" fmla="*/ 2159779 w 2777761"/>
              <a:gd name="connsiteY61" fmla="*/ 3653594 h 3827499"/>
              <a:gd name="connsiteX62" fmla="*/ 2114901 w 2777761"/>
              <a:gd name="connsiteY62" fmla="*/ 3754571 h 3827499"/>
              <a:gd name="connsiteX63" fmla="*/ 2210268 w 2777761"/>
              <a:gd name="connsiteY63" fmla="*/ 3821889 h 3827499"/>
              <a:gd name="connsiteX64" fmla="*/ 2283195 w 2777761"/>
              <a:gd name="connsiteY64" fmla="*/ 3771401 h 3827499"/>
              <a:gd name="connsiteX65" fmla="*/ 2271976 w 2777761"/>
              <a:gd name="connsiteY65" fmla="*/ 3676034 h 3827499"/>
              <a:gd name="connsiteX66" fmla="*/ 2451490 w 2777761"/>
              <a:gd name="connsiteY66" fmla="*/ 3597496 h 3827499"/>
              <a:gd name="connsiteX67" fmla="*/ 2434660 w 2777761"/>
              <a:gd name="connsiteY67" fmla="*/ 3423592 h 3827499"/>
              <a:gd name="connsiteX68" fmla="*/ 1929777 w 2777761"/>
              <a:gd name="connsiteY68" fmla="*/ 3395543 h 3827499"/>
              <a:gd name="connsiteX69" fmla="*/ 1918557 w 2777761"/>
              <a:gd name="connsiteY69" fmla="*/ 3070174 h 3827499"/>
              <a:gd name="connsiteX70" fmla="*/ 1884898 w 2777761"/>
              <a:gd name="connsiteY70" fmla="*/ 3053344 h 3827499"/>
              <a:gd name="connsiteX71" fmla="*/ 1907338 w 2777761"/>
              <a:gd name="connsiteY71" fmla="*/ 2873830 h 3827499"/>
              <a:gd name="connsiteX72" fmla="*/ 1862459 w 2777761"/>
              <a:gd name="connsiteY72" fmla="*/ 2812122 h 3827499"/>
              <a:gd name="connsiteX73" fmla="*/ 2109291 w 2777761"/>
              <a:gd name="connsiteY73" fmla="*/ 2756024 h 3827499"/>
              <a:gd name="connsiteX74" fmla="*/ 2131730 w 2777761"/>
              <a:gd name="connsiteY74" fmla="*/ 2626998 h 3827499"/>
              <a:gd name="connsiteX75" fmla="*/ 2372952 w 2777761"/>
              <a:gd name="connsiteY75" fmla="*/ 2660657 h 3827499"/>
              <a:gd name="connsiteX76" fmla="*/ 2597345 w 2777761"/>
              <a:gd name="connsiteY76" fmla="*/ 2071626 h 3827499"/>
              <a:gd name="connsiteX77" fmla="*/ 2552466 w 2777761"/>
              <a:gd name="connsiteY77" fmla="*/ 1987479 h 3827499"/>
              <a:gd name="connsiteX78" fmla="*/ 2698322 w 2777761"/>
              <a:gd name="connsiteY78" fmla="*/ 1499425 h 3827499"/>
              <a:gd name="connsiteX79" fmla="*/ 2642224 w 2777761"/>
              <a:gd name="connsiteY79" fmla="*/ 1392839 h 3827499"/>
              <a:gd name="connsiteX80" fmla="*/ 2490758 w 2777761"/>
              <a:gd name="connsiteY80" fmla="*/ 848687 h 3827499"/>
              <a:gd name="connsiteX81" fmla="*/ 2743201 w 2777761"/>
              <a:gd name="connsiteY81" fmla="*/ 714051 h 3827499"/>
              <a:gd name="connsiteX82" fmla="*/ 2715151 w 2777761"/>
              <a:gd name="connsiteY82" fmla="*/ 472829 h 3827499"/>
              <a:gd name="connsiteX83" fmla="*/ 2647833 w 2777761"/>
              <a:gd name="connsiteY83" fmla="*/ 80143 h 3827499"/>
              <a:gd name="connsiteX0" fmla="*/ 2647833 w 2777761"/>
              <a:gd name="connsiteY0" fmla="*/ 80143 h 3827499"/>
              <a:gd name="connsiteX1" fmla="*/ 2395391 w 2777761"/>
              <a:gd name="connsiteY1" fmla="*/ 1604 h 3827499"/>
              <a:gd name="connsiteX2" fmla="*/ 2193438 w 2777761"/>
              <a:gd name="connsiteY2" fmla="*/ 197948 h 3827499"/>
              <a:gd name="connsiteX3" fmla="*/ 2114901 w 2777761"/>
              <a:gd name="connsiteY3" fmla="*/ 214777 h 3827499"/>
              <a:gd name="connsiteX4" fmla="*/ 2142950 w 2777761"/>
              <a:gd name="connsiteY4" fmla="*/ 326974 h 3827499"/>
              <a:gd name="connsiteX5" fmla="*/ 2047583 w 2777761"/>
              <a:gd name="connsiteY5" fmla="*/ 495268 h 3827499"/>
              <a:gd name="connsiteX6" fmla="*/ 2159779 w 2777761"/>
              <a:gd name="connsiteY6" fmla="*/ 747710 h 3827499"/>
              <a:gd name="connsiteX7" fmla="*/ 2030754 w 2777761"/>
              <a:gd name="connsiteY7" fmla="*/ 792588 h 3827499"/>
              <a:gd name="connsiteX8" fmla="*/ 1997095 w 2777761"/>
              <a:gd name="connsiteY8" fmla="*/ 859906 h 3827499"/>
              <a:gd name="connsiteX9" fmla="*/ 1997095 w 2777761"/>
              <a:gd name="connsiteY9" fmla="*/ 747710 h 3827499"/>
              <a:gd name="connsiteX10" fmla="*/ 1946606 w 2777761"/>
              <a:gd name="connsiteY10" fmla="*/ 708441 h 3827499"/>
              <a:gd name="connsiteX11" fmla="*/ 1772702 w 2777761"/>
              <a:gd name="connsiteY11" fmla="*/ 758929 h 3827499"/>
              <a:gd name="connsiteX12" fmla="*/ 1402454 w 2777761"/>
              <a:gd name="connsiteY12" fmla="*/ 618684 h 3827499"/>
              <a:gd name="connsiteX13" fmla="*/ 1705384 w 2777761"/>
              <a:gd name="connsiteY13" fmla="*/ 1190885 h 3827499"/>
              <a:gd name="connsiteX14" fmla="*/ 1800751 w 2777761"/>
              <a:gd name="connsiteY14" fmla="*/ 1263813 h 3827499"/>
              <a:gd name="connsiteX15" fmla="*/ 1649286 w 2777761"/>
              <a:gd name="connsiteY15" fmla="*/ 1488205 h 3827499"/>
              <a:gd name="connsiteX16" fmla="*/ 1727824 w 2777761"/>
              <a:gd name="connsiteY16" fmla="*/ 1706988 h 3827499"/>
              <a:gd name="connsiteX17" fmla="*/ 1817581 w 2777761"/>
              <a:gd name="connsiteY17" fmla="*/ 1701379 h 3827499"/>
              <a:gd name="connsiteX18" fmla="*/ 1671725 w 2777761"/>
              <a:gd name="connsiteY18" fmla="*/ 1869673 h 3827499"/>
              <a:gd name="connsiteX19" fmla="*/ 914400 w 2777761"/>
              <a:gd name="connsiteY19" fmla="*/ 1617231 h 3827499"/>
              <a:gd name="connsiteX20" fmla="*/ 460005 w 2777761"/>
              <a:gd name="connsiteY20" fmla="*/ 2643828 h 3827499"/>
              <a:gd name="connsiteX21" fmla="*/ 263662 w 2777761"/>
              <a:gd name="connsiteY21" fmla="*/ 2851391 h 3827499"/>
              <a:gd name="connsiteX22" fmla="*/ 44879 w 2777761"/>
              <a:gd name="connsiteY22" fmla="*/ 2896269 h 3827499"/>
              <a:gd name="connsiteX23" fmla="*/ 0 w 2777761"/>
              <a:gd name="connsiteY23" fmla="*/ 3002856 h 3827499"/>
              <a:gd name="connsiteX24" fmla="*/ 274881 w 2777761"/>
              <a:gd name="connsiteY24" fmla="*/ 3126272 h 3827499"/>
              <a:gd name="connsiteX25" fmla="*/ 504884 w 2777761"/>
              <a:gd name="connsiteY25" fmla="*/ 3025295 h 3827499"/>
              <a:gd name="connsiteX26" fmla="*/ 471225 w 2777761"/>
              <a:gd name="connsiteY26" fmla="*/ 3154321 h 3827499"/>
              <a:gd name="connsiteX27" fmla="*/ 572201 w 2777761"/>
              <a:gd name="connsiteY27" fmla="*/ 3199199 h 3827499"/>
              <a:gd name="connsiteX28" fmla="*/ 381468 w 2777761"/>
              <a:gd name="connsiteY28" fmla="*/ 3659204 h 3827499"/>
              <a:gd name="connsiteX29" fmla="*/ 196344 w 2777761"/>
              <a:gd name="connsiteY29" fmla="*/ 3704083 h 3827499"/>
              <a:gd name="connsiteX30" fmla="*/ 263662 w 2777761"/>
              <a:gd name="connsiteY30" fmla="*/ 3805059 h 3827499"/>
              <a:gd name="connsiteX31" fmla="*/ 555372 w 2777761"/>
              <a:gd name="connsiteY31" fmla="*/ 3827499 h 3827499"/>
              <a:gd name="connsiteX32" fmla="*/ 589031 w 2777761"/>
              <a:gd name="connsiteY32" fmla="*/ 3619936 h 3827499"/>
              <a:gd name="connsiteX33" fmla="*/ 645129 w 2777761"/>
              <a:gd name="connsiteY33" fmla="*/ 3614326 h 3827499"/>
              <a:gd name="connsiteX34" fmla="*/ 690008 w 2777761"/>
              <a:gd name="connsiteY34" fmla="*/ 3737742 h 3827499"/>
              <a:gd name="connsiteX35" fmla="*/ 774155 w 2777761"/>
              <a:gd name="connsiteY35" fmla="*/ 3743352 h 3827499"/>
              <a:gd name="connsiteX36" fmla="*/ 779765 w 2777761"/>
              <a:gd name="connsiteY36" fmla="*/ 3513349 h 3827499"/>
              <a:gd name="connsiteX37" fmla="*/ 746106 w 2777761"/>
              <a:gd name="connsiteY37" fmla="*/ 3244078 h 3827499"/>
              <a:gd name="connsiteX38" fmla="*/ 903181 w 2777761"/>
              <a:gd name="connsiteY38" fmla="*/ 2666267 h 3827499"/>
              <a:gd name="connsiteX39" fmla="*/ 1166842 w 2777761"/>
              <a:gd name="connsiteY39" fmla="*/ 2559680 h 3827499"/>
              <a:gd name="connsiteX40" fmla="*/ 1531480 w 2777761"/>
              <a:gd name="connsiteY40" fmla="*/ 2666267 h 3827499"/>
              <a:gd name="connsiteX41" fmla="*/ 1593188 w 2777761"/>
              <a:gd name="connsiteY41" fmla="*/ 2666267 h 3827499"/>
              <a:gd name="connsiteX42" fmla="*/ 1649286 w 2777761"/>
              <a:gd name="connsiteY42" fmla="*/ 2767244 h 3827499"/>
              <a:gd name="connsiteX43" fmla="*/ 1800751 w 2777761"/>
              <a:gd name="connsiteY43" fmla="*/ 2800902 h 3827499"/>
              <a:gd name="connsiteX44" fmla="*/ 1811971 w 2777761"/>
              <a:gd name="connsiteY44" fmla="*/ 2834561 h 3827499"/>
              <a:gd name="connsiteX45" fmla="*/ 1772702 w 2777761"/>
              <a:gd name="connsiteY45" fmla="*/ 3036515 h 3827499"/>
              <a:gd name="connsiteX46" fmla="*/ 1750263 w 2777761"/>
              <a:gd name="connsiteY46" fmla="*/ 3361884 h 3827499"/>
              <a:gd name="connsiteX47" fmla="*/ 1542700 w 2777761"/>
              <a:gd name="connsiteY47" fmla="*/ 3384323 h 3827499"/>
              <a:gd name="connsiteX48" fmla="*/ 1206111 w 2777761"/>
              <a:gd name="connsiteY48" fmla="*/ 3434812 h 3827499"/>
              <a:gd name="connsiteX49" fmla="*/ 1178062 w 2777761"/>
              <a:gd name="connsiteY49" fmla="*/ 3507739 h 3827499"/>
              <a:gd name="connsiteX50" fmla="*/ 1116354 w 2777761"/>
              <a:gd name="connsiteY50" fmla="*/ 3535788 h 3827499"/>
              <a:gd name="connsiteX51" fmla="*/ 1144403 w 2777761"/>
              <a:gd name="connsiteY51" fmla="*/ 3670424 h 3827499"/>
              <a:gd name="connsiteX52" fmla="*/ 1284648 w 2777761"/>
              <a:gd name="connsiteY52" fmla="*/ 3676034 h 3827499"/>
              <a:gd name="connsiteX53" fmla="*/ 1279038 w 2777761"/>
              <a:gd name="connsiteY53" fmla="*/ 3524569 h 3827499"/>
              <a:gd name="connsiteX54" fmla="*/ 1458552 w 2777761"/>
              <a:gd name="connsiteY54" fmla="*/ 3535788 h 3827499"/>
              <a:gd name="connsiteX55" fmla="*/ 1430503 w 2777761"/>
              <a:gd name="connsiteY55" fmla="*/ 3614326 h 3827499"/>
              <a:gd name="connsiteX56" fmla="*/ 1402454 w 2777761"/>
              <a:gd name="connsiteY56" fmla="*/ 3676034 h 3827499"/>
              <a:gd name="connsiteX57" fmla="*/ 1318307 w 2777761"/>
              <a:gd name="connsiteY57" fmla="*/ 3692863 h 3827499"/>
              <a:gd name="connsiteX58" fmla="*/ 1452943 w 2777761"/>
              <a:gd name="connsiteY58" fmla="*/ 3816279 h 3827499"/>
              <a:gd name="connsiteX59" fmla="*/ 1520260 w 2777761"/>
              <a:gd name="connsiteY59" fmla="*/ 3681644 h 3827499"/>
              <a:gd name="connsiteX60" fmla="*/ 1823190 w 2777761"/>
              <a:gd name="connsiteY60" fmla="*/ 3580667 h 3827499"/>
              <a:gd name="connsiteX61" fmla="*/ 2159779 w 2777761"/>
              <a:gd name="connsiteY61" fmla="*/ 3653594 h 3827499"/>
              <a:gd name="connsiteX62" fmla="*/ 2114901 w 2777761"/>
              <a:gd name="connsiteY62" fmla="*/ 3754571 h 3827499"/>
              <a:gd name="connsiteX63" fmla="*/ 2210268 w 2777761"/>
              <a:gd name="connsiteY63" fmla="*/ 3821889 h 3827499"/>
              <a:gd name="connsiteX64" fmla="*/ 2283195 w 2777761"/>
              <a:gd name="connsiteY64" fmla="*/ 3771401 h 3827499"/>
              <a:gd name="connsiteX65" fmla="*/ 2271976 w 2777761"/>
              <a:gd name="connsiteY65" fmla="*/ 3676034 h 3827499"/>
              <a:gd name="connsiteX66" fmla="*/ 2451490 w 2777761"/>
              <a:gd name="connsiteY66" fmla="*/ 3597496 h 3827499"/>
              <a:gd name="connsiteX67" fmla="*/ 2434660 w 2777761"/>
              <a:gd name="connsiteY67" fmla="*/ 3423592 h 3827499"/>
              <a:gd name="connsiteX68" fmla="*/ 1929777 w 2777761"/>
              <a:gd name="connsiteY68" fmla="*/ 3395543 h 3827499"/>
              <a:gd name="connsiteX69" fmla="*/ 1918557 w 2777761"/>
              <a:gd name="connsiteY69" fmla="*/ 3070174 h 3827499"/>
              <a:gd name="connsiteX70" fmla="*/ 1884898 w 2777761"/>
              <a:gd name="connsiteY70" fmla="*/ 3053344 h 3827499"/>
              <a:gd name="connsiteX71" fmla="*/ 1907338 w 2777761"/>
              <a:gd name="connsiteY71" fmla="*/ 2873830 h 3827499"/>
              <a:gd name="connsiteX72" fmla="*/ 1862459 w 2777761"/>
              <a:gd name="connsiteY72" fmla="*/ 2812122 h 3827499"/>
              <a:gd name="connsiteX73" fmla="*/ 2109291 w 2777761"/>
              <a:gd name="connsiteY73" fmla="*/ 2756024 h 3827499"/>
              <a:gd name="connsiteX74" fmla="*/ 2131730 w 2777761"/>
              <a:gd name="connsiteY74" fmla="*/ 2626998 h 3827499"/>
              <a:gd name="connsiteX75" fmla="*/ 2372952 w 2777761"/>
              <a:gd name="connsiteY75" fmla="*/ 2660657 h 3827499"/>
              <a:gd name="connsiteX76" fmla="*/ 2597345 w 2777761"/>
              <a:gd name="connsiteY76" fmla="*/ 2071626 h 3827499"/>
              <a:gd name="connsiteX77" fmla="*/ 2552466 w 2777761"/>
              <a:gd name="connsiteY77" fmla="*/ 1987479 h 3827499"/>
              <a:gd name="connsiteX78" fmla="*/ 2698322 w 2777761"/>
              <a:gd name="connsiteY78" fmla="*/ 1499425 h 3827499"/>
              <a:gd name="connsiteX79" fmla="*/ 2642224 w 2777761"/>
              <a:gd name="connsiteY79" fmla="*/ 1392839 h 3827499"/>
              <a:gd name="connsiteX80" fmla="*/ 2501977 w 2777761"/>
              <a:gd name="connsiteY80" fmla="*/ 815028 h 3827499"/>
              <a:gd name="connsiteX81" fmla="*/ 2743201 w 2777761"/>
              <a:gd name="connsiteY81" fmla="*/ 714051 h 3827499"/>
              <a:gd name="connsiteX82" fmla="*/ 2715151 w 2777761"/>
              <a:gd name="connsiteY82" fmla="*/ 472829 h 3827499"/>
              <a:gd name="connsiteX83" fmla="*/ 2647833 w 2777761"/>
              <a:gd name="connsiteY83" fmla="*/ 80143 h 3827499"/>
              <a:gd name="connsiteX0" fmla="*/ 2647833 w 2777761"/>
              <a:gd name="connsiteY0" fmla="*/ 80143 h 3827499"/>
              <a:gd name="connsiteX1" fmla="*/ 2395391 w 2777761"/>
              <a:gd name="connsiteY1" fmla="*/ 1604 h 3827499"/>
              <a:gd name="connsiteX2" fmla="*/ 2193438 w 2777761"/>
              <a:gd name="connsiteY2" fmla="*/ 197948 h 3827499"/>
              <a:gd name="connsiteX3" fmla="*/ 2114901 w 2777761"/>
              <a:gd name="connsiteY3" fmla="*/ 214777 h 3827499"/>
              <a:gd name="connsiteX4" fmla="*/ 2142950 w 2777761"/>
              <a:gd name="connsiteY4" fmla="*/ 326974 h 3827499"/>
              <a:gd name="connsiteX5" fmla="*/ 2047583 w 2777761"/>
              <a:gd name="connsiteY5" fmla="*/ 495268 h 3827499"/>
              <a:gd name="connsiteX6" fmla="*/ 2159779 w 2777761"/>
              <a:gd name="connsiteY6" fmla="*/ 747710 h 3827499"/>
              <a:gd name="connsiteX7" fmla="*/ 2030754 w 2777761"/>
              <a:gd name="connsiteY7" fmla="*/ 792588 h 3827499"/>
              <a:gd name="connsiteX8" fmla="*/ 1997095 w 2777761"/>
              <a:gd name="connsiteY8" fmla="*/ 859906 h 3827499"/>
              <a:gd name="connsiteX9" fmla="*/ 1997095 w 2777761"/>
              <a:gd name="connsiteY9" fmla="*/ 747710 h 3827499"/>
              <a:gd name="connsiteX10" fmla="*/ 1946606 w 2777761"/>
              <a:gd name="connsiteY10" fmla="*/ 708441 h 3827499"/>
              <a:gd name="connsiteX11" fmla="*/ 1772702 w 2777761"/>
              <a:gd name="connsiteY11" fmla="*/ 758929 h 3827499"/>
              <a:gd name="connsiteX12" fmla="*/ 1402454 w 2777761"/>
              <a:gd name="connsiteY12" fmla="*/ 618684 h 3827499"/>
              <a:gd name="connsiteX13" fmla="*/ 1705384 w 2777761"/>
              <a:gd name="connsiteY13" fmla="*/ 1190885 h 3827499"/>
              <a:gd name="connsiteX14" fmla="*/ 1800751 w 2777761"/>
              <a:gd name="connsiteY14" fmla="*/ 1263813 h 3827499"/>
              <a:gd name="connsiteX15" fmla="*/ 1649286 w 2777761"/>
              <a:gd name="connsiteY15" fmla="*/ 1488205 h 3827499"/>
              <a:gd name="connsiteX16" fmla="*/ 1727824 w 2777761"/>
              <a:gd name="connsiteY16" fmla="*/ 1706988 h 3827499"/>
              <a:gd name="connsiteX17" fmla="*/ 1817581 w 2777761"/>
              <a:gd name="connsiteY17" fmla="*/ 1701379 h 3827499"/>
              <a:gd name="connsiteX18" fmla="*/ 1671725 w 2777761"/>
              <a:gd name="connsiteY18" fmla="*/ 1869673 h 3827499"/>
              <a:gd name="connsiteX19" fmla="*/ 914400 w 2777761"/>
              <a:gd name="connsiteY19" fmla="*/ 1617231 h 3827499"/>
              <a:gd name="connsiteX20" fmla="*/ 460005 w 2777761"/>
              <a:gd name="connsiteY20" fmla="*/ 2643828 h 3827499"/>
              <a:gd name="connsiteX21" fmla="*/ 263662 w 2777761"/>
              <a:gd name="connsiteY21" fmla="*/ 2851391 h 3827499"/>
              <a:gd name="connsiteX22" fmla="*/ 44879 w 2777761"/>
              <a:gd name="connsiteY22" fmla="*/ 2896269 h 3827499"/>
              <a:gd name="connsiteX23" fmla="*/ 0 w 2777761"/>
              <a:gd name="connsiteY23" fmla="*/ 3002856 h 3827499"/>
              <a:gd name="connsiteX24" fmla="*/ 274881 w 2777761"/>
              <a:gd name="connsiteY24" fmla="*/ 3126272 h 3827499"/>
              <a:gd name="connsiteX25" fmla="*/ 504884 w 2777761"/>
              <a:gd name="connsiteY25" fmla="*/ 3025295 h 3827499"/>
              <a:gd name="connsiteX26" fmla="*/ 471225 w 2777761"/>
              <a:gd name="connsiteY26" fmla="*/ 3154321 h 3827499"/>
              <a:gd name="connsiteX27" fmla="*/ 572201 w 2777761"/>
              <a:gd name="connsiteY27" fmla="*/ 3199199 h 3827499"/>
              <a:gd name="connsiteX28" fmla="*/ 381468 w 2777761"/>
              <a:gd name="connsiteY28" fmla="*/ 3659204 h 3827499"/>
              <a:gd name="connsiteX29" fmla="*/ 196344 w 2777761"/>
              <a:gd name="connsiteY29" fmla="*/ 3704083 h 3827499"/>
              <a:gd name="connsiteX30" fmla="*/ 263662 w 2777761"/>
              <a:gd name="connsiteY30" fmla="*/ 3805059 h 3827499"/>
              <a:gd name="connsiteX31" fmla="*/ 555372 w 2777761"/>
              <a:gd name="connsiteY31" fmla="*/ 3827499 h 3827499"/>
              <a:gd name="connsiteX32" fmla="*/ 589031 w 2777761"/>
              <a:gd name="connsiteY32" fmla="*/ 3619936 h 3827499"/>
              <a:gd name="connsiteX33" fmla="*/ 645129 w 2777761"/>
              <a:gd name="connsiteY33" fmla="*/ 3614326 h 3827499"/>
              <a:gd name="connsiteX34" fmla="*/ 690008 w 2777761"/>
              <a:gd name="connsiteY34" fmla="*/ 3737742 h 3827499"/>
              <a:gd name="connsiteX35" fmla="*/ 774155 w 2777761"/>
              <a:gd name="connsiteY35" fmla="*/ 3743352 h 3827499"/>
              <a:gd name="connsiteX36" fmla="*/ 779765 w 2777761"/>
              <a:gd name="connsiteY36" fmla="*/ 3513349 h 3827499"/>
              <a:gd name="connsiteX37" fmla="*/ 746106 w 2777761"/>
              <a:gd name="connsiteY37" fmla="*/ 3244078 h 3827499"/>
              <a:gd name="connsiteX38" fmla="*/ 903181 w 2777761"/>
              <a:gd name="connsiteY38" fmla="*/ 2666267 h 3827499"/>
              <a:gd name="connsiteX39" fmla="*/ 1166842 w 2777761"/>
              <a:gd name="connsiteY39" fmla="*/ 2559680 h 3827499"/>
              <a:gd name="connsiteX40" fmla="*/ 1531480 w 2777761"/>
              <a:gd name="connsiteY40" fmla="*/ 2666267 h 3827499"/>
              <a:gd name="connsiteX41" fmla="*/ 1593188 w 2777761"/>
              <a:gd name="connsiteY41" fmla="*/ 2666267 h 3827499"/>
              <a:gd name="connsiteX42" fmla="*/ 1649286 w 2777761"/>
              <a:gd name="connsiteY42" fmla="*/ 2767244 h 3827499"/>
              <a:gd name="connsiteX43" fmla="*/ 1800751 w 2777761"/>
              <a:gd name="connsiteY43" fmla="*/ 2800902 h 3827499"/>
              <a:gd name="connsiteX44" fmla="*/ 1811971 w 2777761"/>
              <a:gd name="connsiteY44" fmla="*/ 2834561 h 3827499"/>
              <a:gd name="connsiteX45" fmla="*/ 1772702 w 2777761"/>
              <a:gd name="connsiteY45" fmla="*/ 3036515 h 3827499"/>
              <a:gd name="connsiteX46" fmla="*/ 1750263 w 2777761"/>
              <a:gd name="connsiteY46" fmla="*/ 3361884 h 3827499"/>
              <a:gd name="connsiteX47" fmla="*/ 1542700 w 2777761"/>
              <a:gd name="connsiteY47" fmla="*/ 3384323 h 3827499"/>
              <a:gd name="connsiteX48" fmla="*/ 1206111 w 2777761"/>
              <a:gd name="connsiteY48" fmla="*/ 3434812 h 3827499"/>
              <a:gd name="connsiteX49" fmla="*/ 1178062 w 2777761"/>
              <a:gd name="connsiteY49" fmla="*/ 3507739 h 3827499"/>
              <a:gd name="connsiteX50" fmla="*/ 1116354 w 2777761"/>
              <a:gd name="connsiteY50" fmla="*/ 3535788 h 3827499"/>
              <a:gd name="connsiteX51" fmla="*/ 1144403 w 2777761"/>
              <a:gd name="connsiteY51" fmla="*/ 3670424 h 3827499"/>
              <a:gd name="connsiteX52" fmla="*/ 1284648 w 2777761"/>
              <a:gd name="connsiteY52" fmla="*/ 3676034 h 3827499"/>
              <a:gd name="connsiteX53" fmla="*/ 1279038 w 2777761"/>
              <a:gd name="connsiteY53" fmla="*/ 3524569 h 3827499"/>
              <a:gd name="connsiteX54" fmla="*/ 1458552 w 2777761"/>
              <a:gd name="connsiteY54" fmla="*/ 3535788 h 3827499"/>
              <a:gd name="connsiteX55" fmla="*/ 1430503 w 2777761"/>
              <a:gd name="connsiteY55" fmla="*/ 3614326 h 3827499"/>
              <a:gd name="connsiteX56" fmla="*/ 1402454 w 2777761"/>
              <a:gd name="connsiteY56" fmla="*/ 3676034 h 3827499"/>
              <a:gd name="connsiteX57" fmla="*/ 1318307 w 2777761"/>
              <a:gd name="connsiteY57" fmla="*/ 3692863 h 3827499"/>
              <a:gd name="connsiteX58" fmla="*/ 1452943 w 2777761"/>
              <a:gd name="connsiteY58" fmla="*/ 3816279 h 3827499"/>
              <a:gd name="connsiteX59" fmla="*/ 1520260 w 2777761"/>
              <a:gd name="connsiteY59" fmla="*/ 3681644 h 3827499"/>
              <a:gd name="connsiteX60" fmla="*/ 1823190 w 2777761"/>
              <a:gd name="connsiteY60" fmla="*/ 3580667 h 3827499"/>
              <a:gd name="connsiteX61" fmla="*/ 2159779 w 2777761"/>
              <a:gd name="connsiteY61" fmla="*/ 3653594 h 3827499"/>
              <a:gd name="connsiteX62" fmla="*/ 2114901 w 2777761"/>
              <a:gd name="connsiteY62" fmla="*/ 3754571 h 3827499"/>
              <a:gd name="connsiteX63" fmla="*/ 2210268 w 2777761"/>
              <a:gd name="connsiteY63" fmla="*/ 3821889 h 3827499"/>
              <a:gd name="connsiteX64" fmla="*/ 2283195 w 2777761"/>
              <a:gd name="connsiteY64" fmla="*/ 3771401 h 3827499"/>
              <a:gd name="connsiteX65" fmla="*/ 2271976 w 2777761"/>
              <a:gd name="connsiteY65" fmla="*/ 3676034 h 3827499"/>
              <a:gd name="connsiteX66" fmla="*/ 2451490 w 2777761"/>
              <a:gd name="connsiteY66" fmla="*/ 3597496 h 3827499"/>
              <a:gd name="connsiteX67" fmla="*/ 2434660 w 2777761"/>
              <a:gd name="connsiteY67" fmla="*/ 3423592 h 3827499"/>
              <a:gd name="connsiteX68" fmla="*/ 1929777 w 2777761"/>
              <a:gd name="connsiteY68" fmla="*/ 3395543 h 3827499"/>
              <a:gd name="connsiteX69" fmla="*/ 1918557 w 2777761"/>
              <a:gd name="connsiteY69" fmla="*/ 3070174 h 3827499"/>
              <a:gd name="connsiteX70" fmla="*/ 1884898 w 2777761"/>
              <a:gd name="connsiteY70" fmla="*/ 3053344 h 3827499"/>
              <a:gd name="connsiteX71" fmla="*/ 1907338 w 2777761"/>
              <a:gd name="connsiteY71" fmla="*/ 2873830 h 3827499"/>
              <a:gd name="connsiteX72" fmla="*/ 1862459 w 2777761"/>
              <a:gd name="connsiteY72" fmla="*/ 2812122 h 3827499"/>
              <a:gd name="connsiteX73" fmla="*/ 2109291 w 2777761"/>
              <a:gd name="connsiteY73" fmla="*/ 2756024 h 3827499"/>
              <a:gd name="connsiteX74" fmla="*/ 2131730 w 2777761"/>
              <a:gd name="connsiteY74" fmla="*/ 2626998 h 3827499"/>
              <a:gd name="connsiteX75" fmla="*/ 2372952 w 2777761"/>
              <a:gd name="connsiteY75" fmla="*/ 2660657 h 3827499"/>
              <a:gd name="connsiteX76" fmla="*/ 2597345 w 2777761"/>
              <a:gd name="connsiteY76" fmla="*/ 2071626 h 3827499"/>
              <a:gd name="connsiteX77" fmla="*/ 2552466 w 2777761"/>
              <a:gd name="connsiteY77" fmla="*/ 1987479 h 3827499"/>
              <a:gd name="connsiteX78" fmla="*/ 2698322 w 2777761"/>
              <a:gd name="connsiteY78" fmla="*/ 1499425 h 3827499"/>
              <a:gd name="connsiteX79" fmla="*/ 2642224 w 2777761"/>
              <a:gd name="connsiteY79" fmla="*/ 1392839 h 3827499"/>
              <a:gd name="connsiteX80" fmla="*/ 2485148 w 2777761"/>
              <a:gd name="connsiteY80" fmla="*/ 837467 h 3827499"/>
              <a:gd name="connsiteX81" fmla="*/ 2743201 w 2777761"/>
              <a:gd name="connsiteY81" fmla="*/ 714051 h 3827499"/>
              <a:gd name="connsiteX82" fmla="*/ 2715151 w 2777761"/>
              <a:gd name="connsiteY82" fmla="*/ 472829 h 3827499"/>
              <a:gd name="connsiteX83" fmla="*/ 2647833 w 2777761"/>
              <a:gd name="connsiteY83" fmla="*/ 80143 h 3827499"/>
              <a:gd name="connsiteX0" fmla="*/ 2647833 w 2777761"/>
              <a:gd name="connsiteY0" fmla="*/ 80143 h 3827499"/>
              <a:gd name="connsiteX1" fmla="*/ 2395391 w 2777761"/>
              <a:gd name="connsiteY1" fmla="*/ 1604 h 3827499"/>
              <a:gd name="connsiteX2" fmla="*/ 2193438 w 2777761"/>
              <a:gd name="connsiteY2" fmla="*/ 197948 h 3827499"/>
              <a:gd name="connsiteX3" fmla="*/ 2114901 w 2777761"/>
              <a:gd name="connsiteY3" fmla="*/ 214777 h 3827499"/>
              <a:gd name="connsiteX4" fmla="*/ 2142950 w 2777761"/>
              <a:gd name="connsiteY4" fmla="*/ 326974 h 3827499"/>
              <a:gd name="connsiteX5" fmla="*/ 2047583 w 2777761"/>
              <a:gd name="connsiteY5" fmla="*/ 495268 h 3827499"/>
              <a:gd name="connsiteX6" fmla="*/ 2159779 w 2777761"/>
              <a:gd name="connsiteY6" fmla="*/ 747710 h 3827499"/>
              <a:gd name="connsiteX7" fmla="*/ 2030754 w 2777761"/>
              <a:gd name="connsiteY7" fmla="*/ 792588 h 3827499"/>
              <a:gd name="connsiteX8" fmla="*/ 1997095 w 2777761"/>
              <a:gd name="connsiteY8" fmla="*/ 859906 h 3827499"/>
              <a:gd name="connsiteX9" fmla="*/ 1997095 w 2777761"/>
              <a:gd name="connsiteY9" fmla="*/ 747710 h 3827499"/>
              <a:gd name="connsiteX10" fmla="*/ 1946606 w 2777761"/>
              <a:gd name="connsiteY10" fmla="*/ 708441 h 3827499"/>
              <a:gd name="connsiteX11" fmla="*/ 1772702 w 2777761"/>
              <a:gd name="connsiteY11" fmla="*/ 758929 h 3827499"/>
              <a:gd name="connsiteX12" fmla="*/ 1402454 w 2777761"/>
              <a:gd name="connsiteY12" fmla="*/ 618684 h 3827499"/>
              <a:gd name="connsiteX13" fmla="*/ 1705384 w 2777761"/>
              <a:gd name="connsiteY13" fmla="*/ 1190885 h 3827499"/>
              <a:gd name="connsiteX14" fmla="*/ 1800751 w 2777761"/>
              <a:gd name="connsiteY14" fmla="*/ 1263813 h 3827499"/>
              <a:gd name="connsiteX15" fmla="*/ 1649286 w 2777761"/>
              <a:gd name="connsiteY15" fmla="*/ 1488205 h 3827499"/>
              <a:gd name="connsiteX16" fmla="*/ 1727824 w 2777761"/>
              <a:gd name="connsiteY16" fmla="*/ 1706988 h 3827499"/>
              <a:gd name="connsiteX17" fmla="*/ 1817581 w 2777761"/>
              <a:gd name="connsiteY17" fmla="*/ 1701379 h 3827499"/>
              <a:gd name="connsiteX18" fmla="*/ 1671725 w 2777761"/>
              <a:gd name="connsiteY18" fmla="*/ 1869673 h 3827499"/>
              <a:gd name="connsiteX19" fmla="*/ 914400 w 2777761"/>
              <a:gd name="connsiteY19" fmla="*/ 1617231 h 3827499"/>
              <a:gd name="connsiteX20" fmla="*/ 460005 w 2777761"/>
              <a:gd name="connsiteY20" fmla="*/ 2643828 h 3827499"/>
              <a:gd name="connsiteX21" fmla="*/ 263662 w 2777761"/>
              <a:gd name="connsiteY21" fmla="*/ 2851391 h 3827499"/>
              <a:gd name="connsiteX22" fmla="*/ 44879 w 2777761"/>
              <a:gd name="connsiteY22" fmla="*/ 2896269 h 3827499"/>
              <a:gd name="connsiteX23" fmla="*/ 0 w 2777761"/>
              <a:gd name="connsiteY23" fmla="*/ 3002856 h 3827499"/>
              <a:gd name="connsiteX24" fmla="*/ 274881 w 2777761"/>
              <a:gd name="connsiteY24" fmla="*/ 3126272 h 3827499"/>
              <a:gd name="connsiteX25" fmla="*/ 504884 w 2777761"/>
              <a:gd name="connsiteY25" fmla="*/ 3025295 h 3827499"/>
              <a:gd name="connsiteX26" fmla="*/ 471225 w 2777761"/>
              <a:gd name="connsiteY26" fmla="*/ 3154321 h 3827499"/>
              <a:gd name="connsiteX27" fmla="*/ 572201 w 2777761"/>
              <a:gd name="connsiteY27" fmla="*/ 3199199 h 3827499"/>
              <a:gd name="connsiteX28" fmla="*/ 381468 w 2777761"/>
              <a:gd name="connsiteY28" fmla="*/ 3659204 h 3827499"/>
              <a:gd name="connsiteX29" fmla="*/ 196344 w 2777761"/>
              <a:gd name="connsiteY29" fmla="*/ 3704083 h 3827499"/>
              <a:gd name="connsiteX30" fmla="*/ 263662 w 2777761"/>
              <a:gd name="connsiteY30" fmla="*/ 3805059 h 3827499"/>
              <a:gd name="connsiteX31" fmla="*/ 555372 w 2777761"/>
              <a:gd name="connsiteY31" fmla="*/ 3827499 h 3827499"/>
              <a:gd name="connsiteX32" fmla="*/ 589031 w 2777761"/>
              <a:gd name="connsiteY32" fmla="*/ 3619936 h 3827499"/>
              <a:gd name="connsiteX33" fmla="*/ 645129 w 2777761"/>
              <a:gd name="connsiteY33" fmla="*/ 3614326 h 3827499"/>
              <a:gd name="connsiteX34" fmla="*/ 690008 w 2777761"/>
              <a:gd name="connsiteY34" fmla="*/ 3737742 h 3827499"/>
              <a:gd name="connsiteX35" fmla="*/ 774155 w 2777761"/>
              <a:gd name="connsiteY35" fmla="*/ 3743352 h 3827499"/>
              <a:gd name="connsiteX36" fmla="*/ 779765 w 2777761"/>
              <a:gd name="connsiteY36" fmla="*/ 3513349 h 3827499"/>
              <a:gd name="connsiteX37" fmla="*/ 746106 w 2777761"/>
              <a:gd name="connsiteY37" fmla="*/ 3244078 h 3827499"/>
              <a:gd name="connsiteX38" fmla="*/ 903181 w 2777761"/>
              <a:gd name="connsiteY38" fmla="*/ 2666267 h 3827499"/>
              <a:gd name="connsiteX39" fmla="*/ 1166842 w 2777761"/>
              <a:gd name="connsiteY39" fmla="*/ 2559680 h 3827499"/>
              <a:gd name="connsiteX40" fmla="*/ 1531480 w 2777761"/>
              <a:gd name="connsiteY40" fmla="*/ 2666267 h 3827499"/>
              <a:gd name="connsiteX41" fmla="*/ 1593188 w 2777761"/>
              <a:gd name="connsiteY41" fmla="*/ 2666267 h 3827499"/>
              <a:gd name="connsiteX42" fmla="*/ 1649286 w 2777761"/>
              <a:gd name="connsiteY42" fmla="*/ 2767244 h 3827499"/>
              <a:gd name="connsiteX43" fmla="*/ 1800751 w 2777761"/>
              <a:gd name="connsiteY43" fmla="*/ 2800902 h 3827499"/>
              <a:gd name="connsiteX44" fmla="*/ 1811971 w 2777761"/>
              <a:gd name="connsiteY44" fmla="*/ 2834561 h 3827499"/>
              <a:gd name="connsiteX45" fmla="*/ 1772702 w 2777761"/>
              <a:gd name="connsiteY45" fmla="*/ 3036515 h 3827499"/>
              <a:gd name="connsiteX46" fmla="*/ 1750263 w 2777761"/>
              <a:gd name="connsiteY46" fmla="*/ 3361884 h 3827499"/>
              <a:gd name="connsiteX47" fmla="*/ 1542700 w 2777761"/>
              <a:gd name="connsiteY47" fmla="*/ 3384323 h 3827499"/>
              <a:gd name="connsiteX48" fmla="*/ 1206111 w 2777761"/>
              <a:gd name="connsiteY48" fmla="*/ 3434812 h 3827499"/>
              <a:gd name="connsiteX49" fmla="*/ 1178062 w 2777761"/>
              <a:gd name="connsiteY49" fmla="*/ 3507739 h 3827499"/>
              <a:gd name="connsiteX50" fmla="*/ 1116354 w 2777761"/>
              <a:gd name="connsiteY50" fmla="*/ 3535788 h 3827499"/>
              <a:gd name="connsiteX51" fmla="*/ 1144403 w 2777761"/>
              <a:gd name="connsiteY51" fmla="*/ 3670424 h 3827499"/>
              <a:gd name="connsiteX52" fmla="*/ 1284648 w 2777761"/>
              <a:gd name="connsiteY52" fmla="*/ 3676034 h 3827499"/>
              <a:gd name="connsiteX53" fmla="*/ 1279038 w 2777761"/>
              <a:gd name="connsiteY53" fmla="*/ 3524569 h 3827499"/>
              <a:gd name="connsiteX54" fmla="*/ 1458552 w 2777761"/>
              <a:gd name="connsiteY54" fmla="*/ 3535788 h 3827499"/>
              <a:gd name="connsiteX55" fmla="*/ 1430503 w 2777761"/>
              <a:gd name="connsiteY55" fmla="*/ 3614326 h 3827499"/>
              <a:gd name="connsiteX56" fmla="*/ 1402454 w 2777761"/>
              <a:gd name="connsiteY56" fmla="*/ 3676034 h 3827499"/>
              <a:gd name="connsiteX57" fmla="*/ 1318307 w 2777761"/>
              <a:gd name="connsiteY57" fmla="*/ 3692863 h 3827499"/>
              <a:gd name="connsiteX58" fmla="*/ 1452943 w 2777761"/>
              <a:gd name="connsiteY58" fmla="*/ 3816279 h 3827499"/>
              <a:gd name="connsiteX59" fmla="*/ 1520260 w 2777761"/>
              <a:gd name="connsiteY59" fmla="*/ 3681644 h 3827499"/>
              <a:gd name="connsiteX60" fmla="*/ 1823190 w 2777761"/>
              <a:gd name="connsiteY60" fmla="*/ 3580667 h 3827499"/>
              <a:gd name="connsiteX61" fmla="*/ 2159779 w 2777761"/>
              <a:gd name="connsiteY61" fmla="*/ 3653594 h 3827499"/>
              <a:gd name="connsiteX62" fmla="*/ 2114901 w 2777761"/>
              <a:gd name="connsiteY62" fmla="*/ 3754571 h 3827499"/>
              <a:gd name="connsiteX63" fmla="*/ 2210268 w 2777761"/>
              <a:gd name="connsiteY63" fmla="*/ 3821889 h 3827499"/>
              <a:gd name="connsiteX64" fmla="*/ 2283195 w 2777761"/>
              <a:gd name="connsiteY64" fmla="*/ 3771401 h 3827499"/>
              <a:gd name="connsiteX65" fmla="*/ 2271976 w 2777761"/>
              <a:gd name="connsiteY65" fmla="*/ 3676034 h 3827499"/>
              <a:gd name="connsiteX66" fmla="*/ 2451490 w 2777761"/>
              <a:gd name="connsiteY66" fmla="*/ 3597496 h 3827499"/>
              <a:gd name="connsiteX67" fmla="*/ 2434660 w 2777761"/>
              <a:gd name="connsiteY67" fmla="*/ 3423592 h 3827499"/>
              <a:gd name="connsiteX68" fmla="*/ 1929777 w 2777761"/>
              <a:gd name="connsiteY68" fmla="*/ 3395543 h 3827499"/>
              <a:gd name="connsiteX69" fmla="*/ 1918557 w 2777761"/>
              <a:gd name="connsiteY69" fmla="*/ 3070174 h 3827499"/>
              <a:gd name="connsiteX70" fmla="*/ 1884898 w 2777761"/>
              <a:gd name="connsiteY70" fmla="*/ 3053344 h 3827499"/>
              <a:gd name="connsiteX71" fmla="*/ 1907338 w 2777761"/>
              <a:gd name="connsiteY71" fmla="*/ 2873830 h 3827499"/>
              <a:gd name="connsiteX72" fmla="*/ 1862459 w 2777761"/>
              <a:gd name="connsiteY72" fmla="*/ 2812122 h 3827499"/>
              <a:gd name="connsiteX73" fmla="*/ 2109291 w 2777761"/>
              <a:gd name="connsiteY73" fmla="*/ 2756024 h 3827499"/>
              <a:gd name="connsiteX74" fmla="*/ 2131730 w 2777761"/>
              <a:gd name="connsiteY74" fmla="*/ 2626998 h 3827499"/>
              <a:gd name="connsiteX75" fmla="*/ 2372952 w 2777761"/>
              <a:gd name="connsiteY75" fmla="*/ 2660657 h 3827499"/>
              <a:gd name="connsiteX76" fmla="*/ 2597345 w 2777761"/>
              <a:gd name="connsiteY76" fmla="*/ 2071626 h 3827499"/>
              <a:gd name="connsiteX77" fmla="*/ 2552466 w 2777761"/>
              <a:gd name="connsiteY77" fmla="*/ 1987479 h 3827499"/>
              <a:gd name="connsiteX78" fmla="*/ 2698322 w 2777761"/>
              <a:gd name="connsiteY78" fmla="*/ 1499425 h 3827499"/>
              <a:gd name="connsiteX79" fmla="*/ 2642224 w 2777761"/>
              <a:gd name="connsiteY79" fmla="*/ 1392839 h 3827499"/>
              <a:gd name="connsiteX80" fmla="*/ 2485148 w 2777761"/>
              <a:gd name="connsiteY80" fmla="*/ 837467 h 3827499"/>
              <a:gd name="connsiteX81" fmla="*/ 2743201 w 2777761"/>
              <a:gd name="connsiteY81" fmla="*/ 714051 h 3827499"/>
              <a:gd name="connsiteX82" fmla="*/ 2715151 w 2777761"/>
              <a:gd name="connsiteY82" fmla="*/ 472829 h 3827499"/>
              <a:gd name="connsiteX83" fmla="*/ 2647833 w 2777761"/>
              <a:gd name="connsiteY83" fmla="*/ 80143 h 3827499"/>
              <a:gd name="connsiteX0" fmla="*/ 2597345 w 2777761"/>
              <a:gd name="connsiteY0" fmla="*/ 91363 h 3827499"/>
              <a:gd name="connsiteX1" fmla="*/ 2395391 w 2777761"/>
              <a:gd name="connsiteY1" fmla="*/ 1604 h 3827499"/>
              <a:gd name="connsiteX2" fmla="*/ 2193438 w 2777761"/>
              <a:gd name="connsiteY2" fmla="*/ 197948 h 3827499"/>
              <a:gd name="connsiteX3" fmla="*/ 2114901 w 2777761"/>
              <a:gd name="connsiteY3" fmla="*/ 214777 h 3827499"/>
              <a:gd name="connsiteX4" fmla="*/ 2142950 w 2777761"/>
              <a:gd name="connsiteY4" fmla="*/ 326974 h 3827499"/>
              <a:gd name="connsiteX5" fmla="*/ 2047583 w 2777761"/>
              <a:gd name="connsiteY5" fmla="*/ 495268 h 3827499"/>
              <a:gd name="connsiteX6" fmla="*/ 2159779 w 2777761"/>
              <a:gd name="connsiteY6" fmla="*/ 747710 h 3827499"/>
              <a:gd name="connsiteX7" fmla="*/ 2030754 w 2777761"/>
              <a:gd name="connsiteY7" fmla="*/ 792588 h 3827499"/>
              <a:gd name="connsiteX8" fmla="*/ 1997095 w 2777761"/>
              <a:gd name="connsiteY8" fmla="*/ 859906 h 3827499"/>
              <a:gd name="connsiteX9" fmla="*/ 1997095 w 2777761"/>
              <a:gd name="connsiteY9" fmla="*/ 747710 h 3827499"/>
              <a:gd name="connsiteX10" fmla="*/ 1946606 w 2777761"/>
              <a:gd name="connsiteY10" fmla="*/ 708441 h 3827499"/>
              <a:gd name="connsiteX11" fmla="*/ 1772702 w 2777761"/>
              <a:gd name="connsiteY11" fmla="*/ 758929 h 3827499"/>
              <a:gd name="connsiteX12" fmla="*/ 1402454 w 2777761"/>
              <a:gd name="connsiteY12" fmla="*/ 618684 h 3827499"/>
              <a:gd name="connsiteX13" fmla="*/ 1705384 w 2777761"/>
              <a:gd name="connsiteY13" fmla="*/ 1190885 h 3827499"/>
              <a:gd name="connsiteX14" fmla="*/ 1800751 w 2777761"/>
              <a:gd name="connsiteY14" fmla="*/ 1263813 h 3827499"/>
              <a:gd name="connsiteX15" fmla="*/ 1649286 w 2777761"/>
              <a:gd name="connsiteY15" fmla="*/ 1488205 h 3827499"/>
              <a:gd name="connsiteX16" fmla="*/ 1727824 w 2777761"/>
              <a:gd name="connsiteY16" fmla="*/ 1706988 h 3827499"/>
              <a:gd name="connsiteX17" fmla="*/ 1817581 w 2777761"/>
              <a:gd name="connsiteY17" fmla="*/ 1701379 h 3827499"/>
              <a:gd name="connsiteX18" fmla="*/ 1671725 w 2777761"/>
              <a:gd name="connsiteY18" fmla="*/ 1869673 h 3827499"/>
              <a:gd name="connsiteX19" fmla="*/ 914400 w 2777761"/>
              <a:gd name="connsiteY19" fmla="*/ 1617231 h 3827499"/>
              <a:gd name="connsiteX20" fmla="*/ 460005 w 2777761"/>
              <a:gd name="connsiteY20" fmla="*/ 2643828 h 3827499"/>
              <a:gd name="connsiteX21" fmla="*/ 263662 w 2777761"/>
              <a:gd name="connsiteY21" fmla="*/ 2851391 h 3827499"/>
              <a:gd name="connsiteX22" fmla="*/ 44879 w 2777761"/>
              <a:gd name="connsiteY22" fmla="*/ 2896269 h 3827499"/>
              <a:gd name="connsiteX23" fmla="*/ 0 w 2777761"/>
              <a:gd name="connsiteY23" fmla="*/ 3002856 h 3827499"/>
              <a:gd name="connsiteX24" fmla="*/ 274881 w 2777761"/>
              <a:gd name="connsiteY24" fmla="*/ 3126272 h 3827499"/>
              <a:gd name="connsiteX25" fmla="*/ 504884 w 2777761"/>
              <a:gd name="connsiteY25" fmla="*/ 3025295 h 3827499"/>
              <a:gd name="connsiteX26" fmla="*/ 471225 w 2777761"/>
              <a:gd name="connsiteY26" fmla="*/ 3154321 h 3827499"/>
              <a:gd name="connsiteX27" fmla="*/ 572201 w 2777761"/>
              <a:gd name="connsiteY27" fmla="*/ 3199199 h 3827499"/>
              <a:gd name="connsiteX28" fmla="*/ 381468 w 2777761"/>
              <a:gd name="connsiteY28" fmla="*/ 3659204 h 3827499"/>
              <a:gd name="connsiteX29" fmla="*/ 196344 w 2777761"/>
              <a:gd name="connsiteY29" fmla="*/ 3704083 h 3827499"/>
              <a:gd name="connsiteX30" fmla="*/ 263662 w 2777761"/>
              <a:gd name="connsiteY30" fmla="*/ 3805059 h 3827499"/>
              <a:gd name="connsiteX31" fmla="*/ 555372 w 2777761"/>
              <a:gd name="connsiteY31" fmla="*/ 3827499 h 3827499"/>
              <a:gd name="connsiteX32" fmla="*/ 589031 w 2777761"/>
              <a:gd name="connsiteY32" fmla="*/ 3619936 h 3827499"/>
              <a:gd name="connsiteX33" fmla="*/ 645129 w 2777761"/>
              <a:gd name="connsiteY33" fmla="*/ 3614326 h 3827499"/>
              <a:gd name="connsiteX34" fmla="*/ 690008 w 2777761"/>
              <a:gd name="connsiteY34" fmla="*/ 3737742 h 3827499"/>
              <a:gd name="connsiteX35" fmla="*/ 774155 w 2777761"/>
              <a:gd name="connsiteY35" fmla="*/ 3743352 h 3827499"/>
              <a:gd name="connsiteX36" fmla="*/ 779765 w 2777761"/>
              <a:gd name="connsiteY36" fmla="*/ 3513349 h 3827499"/>
              <a:gd name="connsiteX37" fmla="*/ 746106 w 2777761"/>
              <a:gd name="connsiteY37" fmla="*/ 3244078 h 3827499"/>
              <a:gd name="connsiteX38" fmla="*/ 903181 w 2777761"/>
              <a:gd name="connsiteY38" fmla="*/ 2666267 h 3827499"/>
              <a:gd name="connsiteX39" fmla="*/ 1166842 w 2777761"/>
              <a:gd name="connsiteY39" fmla="*/ 2559680 h 3827499"/>
              <a:gd name="connsiteX40" fmla="*/ 1531480 w 2777761"/>
              <a:gd name="connsiteY40" fmla="*/ 2666267 h 3827499"/>
              <a:gd name="connsiteX41" fmla="*/ 1593188 w 2777761"/>
              <a:gd name="connsiteY41" fmla="*/ 2666267 h 3827499"/>
              <a:gd name="connsiteX42" fmla="*/ 1649286 w 2777761"/>
              <a:gd name="connsiteY42" fmla="*/ 2767244 h 3827499"/>
              <a:gd name="connsiteX43" fmla="*/ 1800751 w 2777761"/>
              <a:gd name="connsiteY43" fmla="*/ 2800902 h 3827499"/>
              <a:gd name="connsiteX44" fmla="*/ 1811971 w 2777761"/>
              <a:gd name="connsiteY44" fmla="*/ 2834561 h 3827499"/>
              <a:gd name="connsiteX45" fmla="*/ 1772702 w 2777761"/>
              <a:gd name="connsiteY45" fmla="*/ 3036515 h 3827499"/>
              <a:gd name="connsiteX46" fmla="*/ 1750263 w 2777761"/>
              <a:gd name="connsiteY46" fmla="*/ 3361884 h 3827499"/>
              <a:gd name="connsiteX47" fmla="*/ 1542700 w 2777761"/>
              <a:gd name="connsiteY47" fmla="*/ 3384323 h 3827499"/>
              <a:gd name="connsiteX48" fmla="*/ 1206111 w 2777761"/>
              <a:gd name="connsiteY48" fmla="*/ 3434812 h 3827499"/>
              <a:gd name="connsiteX49" fmla="*/ 1178062 w 2777761"/>
              <a:gd name="connsiteY49" fmla="*/ 3507739 h 3827499"/>
              <a:gd name="connsiteX50" fmla="*/ 1116354 w 2777761"/>
              <a:gd name="connsiteY50" fmla="*/ 3535788 h 3827499"/>
              <a:gd name="connsiteX51" fmla="*/ 1144403 w 2777761"/>
              <a:gd name="connsiteY51" fmla="*/ 3670424 h 3827499"/>
              <a:gd name="connsiteX52" fmla="*/ 1284648 w 2777761"/>
              <a:gd name="connsiteY52" fmla="*/ 3676034 h 3827499"/>
              <a:gd name="connsiteX53" fmla="*/ 1279038 w 2777761"/>
              <a:gd name="connsiteY53" fmla="*/ 3524569 h 3827499"/>
              <a:gd name="connsiteX54" fmla="*/ 1458552 w 2777761"/>
              <a:gd name="connsiteY54" fmla="*/ 3535788 h 3827499"/>
              <a:gd name="connsiteX55" fmla="*/ 1430503 w 2777761"/>
              <a:gd name="connsiteY55" fmla="*/ 3614326 h 3827499"/>
              <a:gd name="connsiteX56" fmla="*/ 1402454 w 2777761"/>
              <a:gd name="connsiteY56" fmla="*/ 3676034 h 3827499"/>
              <a:gd name="connsiteX57" fmla="*/ 1318307 w 2777761"/>
              <a:gd name="connsiteY57" fmla="*/ 3692863 h 3827499"/>
              <a:gd name="connsiteX58" fmla="*/ 1452943 w 2777761"/>
              <a:gd name="connsiteY58" fmla="*/ 3816279 h 3827499"/>
              <a:gd name="connsiteX59" fmla="*/ 1520260 w 2777761"/>
              <a:gd name="connsiteY59" fmla="*/ 3681644 h 3827499"/>
              <a:gd name="connsiteX60" fmla="*/ 1823190 w 2777761"/>
              <a:gd name="connsiteY60" fmla="*/ 3580667 h 3827499"/>
              <a:gd name="connsiteX61" fmla="*/ 2159779 w 2777761"/>
              <a:gd name="connsiteY61" fmla="*/ 3653594 h 3827499"/>
              <a:gd name="connsiteX62" fmla="*/ 2114901 w 2777761"/>
              <a:gd name="connsiteY62" fmla="*/ 3754571 h 3827499"/>
              <a:gd name="connsiteX63" fmla="*/ 2210268 w 2777761"/>
              <a:gd name="connsiteY63" fmla="*/ 3821889 h 3827499"/>
              <a:gd name="connsiteX64" fmla="*/ 2283195 w 2777761"/>
              <a:gd name="connsiteY64" fmla="*/ 3771401 h 3827499"/>
              <a:gd name="connsiteX65" fmla="*/ 2271976 w 2777761"/>
              <a:gd name="connsiteY65" fmla="*/ 3676034 h 3827499"/>
              <a:gd name="connsiteX66" fmla="*/ 2451490 w 2777761"/>
              <a:gd name="connsiteY66" fmla="*/ 3597496 h 3827499"/>
              <a:gd name="connsiteX67" fmla="*/ 2434660 w 2777761"/>
              <a:gd name="connsiteY67" fmla="*/ 3423592 h 3827499"/>
              <a:gd name="connsiteX68" fmla="*/ 1929777 w 2777761"/>
              <a:gd name="connsiteY68" fmla="*/ 3395543 h 3827499"/>
              <a:gd name="connsiteX69" fmla="*/ 1918557 w 2777761"/>
              <a:gd name="connsiteY69" fmla="*/ 3070174 h 3827499"/>
              <a:gd name="connsiteX70" fmla="*/ 1884898 w 2777761"/>
              <a:gd name="connsiteY70" fmla="*/ 3053344 h 3827499"/>
              <a:gd name="connsiteX71" fmla="*/ 1907338 w 2777761"/>
              <a:gd name="connsiteY71" fmla="*/ 2873830 h 3827499"/>
              <a:gd name="connsiteX72" fmla="*/ 1862459 w 2777761"/>
              <a:gd name="connsiteY72" fmla="*/ 2812122 h 3827499"/>
              <a:gd name="connsiteX73" fmla="*/ 2109291 w 2777761"/>
              <a:gd name="connsiteY73" fmla="*/ 2756024 h 3827499"/>
              <a:gd name="connsiteX74" fmla="*/ 2131730 w 2777761"/>
              <a:gd name="connsiteY74" fmla="*/ 2626998 h 3827499"/>
              <a:gd name="connsiteX75" fmla="*/ 2372952 w 2777761"/>
              <a:gd name="connsiteY75" fmla="*/ 2660657 h 3827499"/>
              <a:gd name="connsiteX76" fmla="*/ 2597345 w 2777761"/>
              <a:gd name="connsiteY76" fmla="*/ 2071626 h 3827499"/>
              <a:gd name="connsiteX77" fmla="*/ 2552466 w 2777761"/>
              <a:gd name="connsiteY77" fmla="*/ 1987479 h 3827499"/>
              <a:gd name="connsiteX78" fmla="*/ 2698322 w 2777761"/>
              <a:gd name="connsiteY78" fmla="*/ 1499425 h 3827499"/>
              <a:gd name="connsiteX79" fmla="*/ 2642224 w 2777761"/>
              <a:gd name="connsiteY79" fmla="*/ 1392839 h 3827499"/>
              <a:gd name="connsiteX80" fmla="*/ 2485148 w 2777761"/>
              <a:gd name="connsiteY80" fmla="*/ 837467 h 3827499"/>
              <a:gd name="connsiteX81" fmla="*/ 2743201 w 2777761"/>
              <a:gd name="connsiteY81" fmla="*/ 714051 h 3827499"/>
              <a:gd name="connsiteX82" fmla="*/ 2715151 w 2777761"/>
              <a:gd name="connsiteY82" fmla="*/ 472829 h 3827499"/>
              <a:gd name="connsiteX83" fmla="*/ 2597345 w 2777761"/>
              <a:gd name="connsiteY83" fmla="*/ 91363 h 3827499"/>
              <a:gd name="connsiteX0" fmla="*/ 2597345 w 2777761"/>
              <a:gd name="connsiteY0" fmla="*/ 91363 h 3827499"/>
              <a:gd name="connsiteX1" fmla="*/ 2395391 w 2777761"/>
              <a:gd name="connsiteY1" fmla="*/ 1604 h 3827499"/>
              <a:gd name="connsiteX2" fmla="*/ 2193438 w 2777761"/>
              <a:gd name="connsiteY2" fmla="*/ 197948 h 3827499"/>
              <a:gd name="connsiteX3" fmla="*/ 2114901 w 2777761"/>
              <a:gd name="connsiteY3" fmla="*/ 214777 h 3827499"/>
              <a:gd name="connsiteX4" fmla="*/ 2142950 w 2777761"/>
              <a:gd name="connsiteY4" fmla="*/ 326974 h 3827499"/>
              <a:gd name="connsiteX5" fmla="*/ 2047583 w 2777761"/>
              <a:gd name="connsiteY5" fmla="*/ 495268 h 3827499"/>
              <a:gd name="connsiteX6" fmla="*/ 2159779 w 2777761"/>
              <a:gd name="connsiteY6" fmla="*/ 747710 h 3827499"/>
              <a:gd name="connsiteX7" fmla="*/ 2030754 w 2777761"/>
              <a:gd name="connsiteY7" fmla="*/ 792588 h 3827499"/>
              <a:gd name="connsiteX8" fmla="*/ 1997095 w 2777761"/>
              <a:gd name="connsiteY8" fmla="*/ 859906 h 3827499"/>
              <a:gd name="connsiteX9" fmla="*/ 1997095 w 2777761"/>
              <a:gd name="connsiteY9" fmla="*/ 747710 h 3827499"/>
              <a:gd name="connsiteX10" fmla="*/ 1946606 w 2777761"/>
              <a:gd name="connsiteY10" fmla="*/ 708441 h 3827499"/>
              <a:gd name="connsiteX11" fmla="*/ 1772702 w 2777761"/>
              <a:gd name="connsiteY11" fmla="*/ 758929 h 3827499"/>
              <a:gd name="connsiteX12" fmla="*/ 1402454 w 2777761"/>
              <a:gd name="connsiteY12" fmla="*/ 618684 h 3827499"/>
              <a:gd name="connsiteX13" fmla="*/ 1705384 w 2777761"/>
              <a:gd name="connsiteY13" fmla="*/ 1190885 h 3827499"/>
              <a:gd name="connsiteX14" fmla="*/ 1800751 w 2777761"/>
              <a:gd name="connsiteY14" fmla="*/ 1263813 h 3827499"/>
              <a:gd name="connsiteX15" fmla="*/ 1649286 w 2777761"/>
              <a:gd name="connsiteY15" fmla="*/ 1488205 h 3827499"/>
              <a:gd name="connsiteX16" fmla="*/ 1727824 w 2777761"/>
              <a:gd name="connsiteY16" fmla="*/ 1706988 h 3827499"/>
              <a:gd name="connsiteX17" fmla="*/ 1817581 w 2777761"/>
              <a:gd name="connsiteY17" fmla="*/ 1701379 h 3827499"/>
              <a:gd name="connsiteX18" fmla="*/ 1671725 w 2777761"/>
              <a:gd name="connsiteY18" fmla="*/ 1869673 h 3827499"/>
              <a:gd name="connsiteX19" fmla="*/ 914400 w 2777761"/>
              <a:gd name="connsiteY19" fmla="*/ 1617231 h 3827499"/>
              <a:gd name="connsiteX20" fmla="*/ 460005 w 2777761"/>
              <a:gd name="connsiteY20" fmla="*/ 2643828 h 3827499"/>
              <a:gd name="connsiteX21" fmla="*/ 263662 w 2777761"/>
              <a:gd name="connsiteY21" fmla="*/ 2851391 h 3827499"/>
              <a:gd name="connsiteX22" fmla="*/ 44879 w 2777761"/>
              <a:gd name="connsiteY22" fmla="*/ 2896269 h 3827499"/>
              <a:gd name="connsiteX23" fmla="*/ 0 w 2777761"/>
              <a:gd name="connsiteY23" fmla="*/ 3002856 h 3827499"/>
              <a:gd name="connsiteX24" fmla="*/ 274881 w 2777761"/>
              <a:gd name="connsiteY24" fmla="*/ 3126272 h 3827499"/>
              <a:gd name="connsiteX25" fmla="*/ 504884 w 2777761"/>
              <a:gd name="connsiteY25" fmla="*/ 3025295 h 3827499"/>
              <a:gd name="connsiteX26" fmla="*/ 471225 w 2777761"/>
              <a:gd name="connsiteY26" fmla="*/ 3154321 h 3827499"/>
              <a:gd name="connsiteX27" fmla="*/ 572201 w 2777761"/>
              <a:gd name="connsiteY27" fmla="*/ 3199199 h 3827499"/>
              <a:gd name="connsiteX28" fmla="*/ 381468 w 2777761"/>
              <a:gd name="connsiteY28" fmla="*/ 3659204 h 3827499"/>
              <a:gd name="connsiteX29" fmla="*/ 196344 w 2777761"/>
              <a:gd name="connsiteY29" fmla="*/ 3704083 h 3827499"/>
              <a:gd name="connsiteX30" fmla="*/ 263662 w 2777761"/>
              <a:gd name="connsiteY30" fmla="*/ 3805059 h 3827499"/>
              <a:gd name="connsiteX31" fmla="*/ 555372 w 2777761"/>
              <a:gd name="connsiteY31" fmla="*/ 3827499 h 3827499"/>
              <a:gd name="connsiteX32" fmla="*/ 589031 w 2777761"/>
              <a:gd name="connsiteY32" fmla="*/ 3619936 h 3827499"/>
              <a:gd name="connsiteX33" fmla="*/ 645129 w 2777761"/>
              <a:gd name="connsiteY33" fmla="*/ 3614326 h 3827499"/>
              <a:gd name="connsiteX34" fmla="*/ 690008 w 2777761"/>
              <a:gd name="connsiteY34" fmla="*/ 3737742 h 3827499"/>
              <a:gd name="connsiteX35" fmla="*/ 774155 w 2777761"/>
              <a:gd name="connsiteY35" fmla="*/ 3743352 h 3827499"/>
              <a:gd name="connsiteX36" fmla="*/ 779765 w 2777761"/>
              <a:gd name="connsiteY36" fmla="*/ 3513349 h 3827499"/>
              <a:gd name="connsiteX37" fmla="*/ 746106 w 2777761"/>
              <a:gd name="connsiteY37" fmla="*/ 3244078 h 3827499"/>
              <a:gd name="connsiteX38" fmla="*/ 903181 w 2777761"/>
              <a:gd name="connsiteY38" fmla="*/ 2666267 h 3827499"/>
              <a:gd name="connsiteX39" fmla="*/ 1166842 w 2777761"/>
              <a:gd name="connsiteY39" fmla="*/ 2559680 h 3827499"/>
              <a:gd name="connsiteX40" fmla="*/ 1531480 w 2777761"/>
              <a:gd name="connsiteY40" fmla="*/ 2666267 h 3827499"/>
              <a:gd name="connsiteX41" fmla="*/ 1593188 w 2777761"/>
              <a:gd name="connsiteY41" fmla="*/ 2666267 h 3827499"/>
              <a:gd name="connsiteX42" fmla="*/ 1649286 w 2777761"/>
              <a:gd name="connsiteY42" fmla="*/ 2767244 h 3827499"/>
              <a:gd name="connsiteX43" fmla="*/ 1800751 w 2777761"/>
              <a:gd name="connsiteY43" fmla="*/ 2800902 h 3827499"/>
              <a:gd name="connsiteX44" fmla="*/ 1811971 w 2777761"/>
              <a:gd name="connsiteY44" fmla="*/ 2834561 h 3827499"/>
              <a:gd name="connsiteX45" fmla="*/ 1772702 w 2777761"/>
              <a:gd name="connsiteY45" fmla="*/ 3036515 h 3827499"/>
              <a:gd name="connsiteX46" fmla="*/ 1750263 w 2777761"/>
              <a:gd name="connsiteY46" fmla="*/ 3361884 h 3827499"/>
              <a:gd name="connsiteX47" fmla="*/ 1542700 w 2777761"/>
              <a:gd name="connsiteY47" fmla="*/ 3384323 h 3827499"/>
              <a:gd name="connsiteX48" fmla="*/ 1206111 w 2777761"/>
              <a:gd name="connsiteY48" fmla="*/ 3434812 h 3827499"/>
              <a:gd name="connsiteX49" fmla="*/ 1178062 w 2777761"/>
              <a:gd name="connsiteY49" fmla="*/ 3507739 h 3827499"/>
              <a:gd name="connsiteX50" fmla="*/ 1116354 w 2777761"/>
              <a:gd name="connsiteY50" fmla="*/ 3535788 h 3827499"/>
              <a:gd name="connsiteX51" fmla="*/ 1144403 w 2777761"/>
              <a:gd name="connsiteY51" fmla="*/ 3670424 h 3827499"/>
              <a:gd name="connsiteX52" fmla="*/ 1284648 w 2777761"/>
              <a:gd name="connsiteY52" fmla="*/ 3676034 h 3827499"/>
              <a:gd name="connsiteX53" fmla="*/ 1279038 w 2777761"/>
              <a:gd name="connsiteY53" fmla="*/ 3524569 h 3827499"/>
              <a:gd name="connsiteX54" fmla="*/ 1458552 w 2777761"/>
              <a:gd name="connsiteY54" fmla="*/ 3535788 h 3827499"/>
              <a:gd name="connsiteX55" fmla="*/ 1430503 w 2777761"/>
              <a:gd name="connsiteY55" fmla="*/ 3614326 h 3827499"/>
              <a:gd name="connsiteX56" fmla="*/ 1402454 w 2777761"/>
              <a:gd name="connsiteY56" fmla="*/ 3676034 h 3827499"/>
              <a:gd name="connsiteX57" fmla="*/ 1318307 w 2777761"/>
              <a:gd name="connsiteY57" fmla="*/ 3692863 h 3827499"/>
              <a:gd name="connsiteX58" fmla="*/ 1452943 w 2777761"/>
              <a:gd name="connsiteY58" fmla="*/ 3816279 h 3827499"/>
              <a:gd name="connsiteX59" fmla="*/ 1520260 w 2777761"/>
              <a:gd name="connsiteY59" fmla="*/ 3681644 h 3827499"/>
              <a:gd name="connsiteX60" fmla="*/ 1823190 w 2777761"/>
              <a:gd name="connsiteY60" fmla="*/ 3580667 h 3827499"/>
              <a:gd name="connsiteX61" fmla="*/ 2159779 w 2777761"/>
              <a:gd name="connsiteY61" fmla="*/ 3653594 h 3827499"/>
              <a:gd name="connsiteX62" fmla="*/ 2114901 w 2777761"/>
              <a:gd name="connsiteY62" fmla="*/ 3754571 h 3827499"/>
              <a:gd name="connsiteX63" fmla="*/ 2210268 w 2777761"/>
              <a:gd name="connsiteY63" fmla="*/ 3821889 h 3827499"/>
              <a:gd name="connsiteX64" fmla="*/ 2283195 w 2777761"/>
              <a:gd name="connsiteY64" fmla="*/ 3771401 h 3827499"/>
              <a:gd name="connsiteX65" fmla="*/ 2271976 w 2777761"/>
              <a:gd name="connsiteY65" fmla="*/ 3676034 h 3827499"/>
              <a:gd name="connsiteX66" fmla="*/ 2451490 w 2777761"/>
              <a:gd name="connsiteY66" fmla="*/ 3597496 h 3827499"/>
              <a:gd name="connsiteX67" fmla="*/ 2434660 w 2777761"/>
              <a:gd name="connsiteY67" fmla="*/ 3423592 h 3827499"/>
              <a:gd name="connsiteX68" fmla="*/ 1929777 w 2777761"/>
              <a:gd name="connsiteY68" fmla="*/ 3395543 h 3827499"/>
              <a:gd name="connsiteX69" fmla="*/ 1918557 w 2777761"/>
              <a:gd name="connsiteY69" fmla="*/ 3070174 h 3827499"/>
              <a:gd name="connsiteX70" fmla="*/ 1884898 w 2777761"/>
              <a:gd name="connsiteY70" fmla="*/ 3053344 h 3827499"/>
              <a:gd name="connsiteX71" fmla="*/ 1907338 w 2777761"/>
              <a:gd name="connsiteY71" fmla="*/ 2873830 h 3827499"/>
              <a:gd name="connsiteX72" fmla="*/ 1862459 w 2777761"/>
              <a:gd name="connsiteY72" fmla="*/ 2812122 h 3827499"/>
              <a:gd name="connsiteX73" fmla="*/ 2109291 w 2777761"/>
              <a:gd name="connsiteY73" fmla="*/ 2756024 h 3827499"/>
              <a:gd name="connsiteX74" fmla="*/ 2131730 w 2777761"/>
              <a:gd name="connsiteY74" fmla="*/ 2626998 h 3827499"/>
              <a:gd name="connsiteX75" fmla="*/ 2372952 w 2777761"/>
              <a:gd name="connsiteY75" fmla="*/ 2660657 h 3827499"/>
              <a:gd name="connsiteX76" fmla="*/ 2597345 w 2777761"/>
              <a:gd name="connsiteY76" fmla="*/ 2071626 h 3827499"/>
              <a:gd name="connsiteX77" fmla="*/ 2552466 w 2777761"/>
              <a:gd name="connsiteY77" fmla="*/ 1987479 h 3827499"/>
              <a:gd name="connsiteX78" fmla="*/ 2698322 w 2777761"/>
              <a:gd name="connsiteY78" fmla="*/ 1499425 h 3827499"/>
              <a:gd name="connsiteX79" fmla="*/ 2642224 w 2777761"/>
              <a:gd name="connsiteY79" fmla="*/ 1392839 h 3827499"/>
              <a:gd name="connsiteX80" fmla="*/ 2485148 w 2777761"/>
              <a:gd name="connsiteY80" fmla="*/ 837467 h 3827499"/>
              <a:gd name="connsiteX81" fmla="*/ 2743201 w 2777761"/>
              <a:gd name="connsiteY81" fmla="*/ 714051 h 3827499"/>
              <a:gd name="connsiteX82" fmla="*/ 2715151 w 2777761"/>
              <a:gd name="connsiteY82" fmla="*/ 472829 h 3827499"/>
              <a:gd name="connsiteX83" fmla="*/ 2597345 w 2777761"/>
              <a:gd name="connsiteY83" fmla="*/ 91363 h 3827499"/>
              <a:gd name="connsiteX0" fmla="*/ 2597345 w 2777761"/>
              <a:gd name="connsiteY0" fmla="*/ 91363 h 3827499"/>
              <a:gd name="connsiteX1" fmla="*/ 2395391 w 2777761"/>
              <a:gd name="connsiteY1" fmla="*/ 1604 h 3827499"/>
              <a:gd name="connsiteX2" fmla="*/ 2193438 w 2777761"/>
              <a:gd name="connsiteY2" fmla="*/ 197948 h 3827499"/>
              <a:gd name="connsiteX3" fmla="*/ 2114901 w 2777761"/>
              <a:gd name="connsiteY3" fmla="*/ 214777 h 3827499"/>
              <a:gd name="connsiteX4" fmla="*/ 2142950 w 2777761"/>
              <a:gd name="connsiteY4" fmla="*/ 326974 h 3827499"/>
              <a:gd name="connsiteX5" fmla="*/ 2047583 w 2777761"/>
              <a:gd name="connsiteY5" fmla="*/ 495268 h 3827499"/>
              <a:gd name="connsiteX6" fmla="*/ 2159779 w 2777761"/>
              <a:gd name="connsiteY6" fmla="*/ 747710 h 3827499"/>
              <a:gd name="connsiteX7" fmla="*/ 2030754 w 2777761"/>
              <a:gd name="connsiteY7" fmla="*/ 792588 h 3827499"/>
              <a:gd name="connsiteX8" fmla="*/ 1997095 w 2777761"/>
              <a:gd name="connsiteY8" fmla="*/ 859906 h 3827499"/>
              <a:gd name="connsiteX9" fmla="*/ 1997095 w 2777761"/>
              <a:gd name="connsiteY9" fmla="*/ 747710 h 3827499"/>
              <a:gd name="connsiteX10" fmla="*/ 1946606 w 2777761"/>
              <a:gd name="connsiteY10" fmla="*/ 708441 h 3827499"/>
              <a:gd name="connsiteX11" fmla="*/ 1772702 w 2777761"/>
              <a:gd name="connsiteY11" fmla="*/ 758929 h 3827499"/>
              <a:gd name="connsiteX12" fmla="*/ 1402454 w 2777761"/>
              <a:gd name="connsiteY12" fmla="*/ 618684 h 3827499"/>
              <a:gd name="connsiteX13" fmla="*/ 1705384 w 2777761"/>
              <a:gd name="connsiteY13" fmla="*/ 1190885 h 3827499"/>
              <a:gd name="connsiteX14" fmla="*/ 1800751 w 2777761"/>
              <a:gd name="connsiteY14" fmla="*/ 1263813 h 3827499"/>
              <a:gd name="connsiteX15" fmla="*/ 1649286 w 2777761"/>
              <a:gd name="connsiteY15" fmla="*/ 1488205 h 3827499"/>
              <a:gd name="connsiteX16" fmla="*/ 1727824 w 2777761"/>
              <a:gd name="connsiteY16" fmla="*/ 1706988 h 3827499"/>
              <a:gd name="connsiteX17" fmla="*/ 1817581 w 2777761"/>
              <a:gd name="connsiteY17" fmla="*/ 1701379 h 3827499"/>
              <a:gd name="connsiteX18" fmla="*/ 1671725 w 2777761"/>
              <a:gd name="connsiteY18" fmla="*/ 1869673 h 3827499"/>
              <a:gd name="connsiteX19" fmla="*/ 914400 w 2777761"/>
              <a:gd name="connsiteY19" fmla="*/ 1617231 h 3827499"/>
              <a:gd name="connsiteX20" fmla="*/ 460005 w 2777761"/>
              <a:gd name="connsiteY20" fmla="*/ 2643828 h 3827499"/>
              <a:gd name="connsiteX21" fmla="*/ 263662 w 2777761"/>
              <a:gd name="connsiteY21" fmla="*/ 2851391 h 3827499"/>
              <a:gd name="connsiteX22" fmla="*/ 44879 w 2777761"/>
              <a:gd name="connsiteY22" fmla="*/ 2896269 h 3827499"/>
              <a:gd name="connsiteX23" fmla="*/ 0 w 2777761"/>
              <a:gd name="connsiteY23" fmla="*/ 3002856 h 3827499"/>
              <a:gd name="connsiteX24" fmla="*/ 274881 w 2777761"/>
              <a:gd name="connsiteY24" fmla="*/ 3126272 h 3827499"/>
              <a:gd name="connsiteX25" fmla="*/ 504884 w 2777761"/>
              <a:gd name="connsiteY25" fmla="*/ 3025295 h 3827499"/>
              <a:gd name="connsiteX26" fmla="*/ 471225 w 2777761"/>
              <a:gd name="connsiteY26" fmla="*/ 3154321 h 3827499"/>
              <a:gd name="connsiteX27" fmla="*/ 572201 w 2777761"/>
              <a:gd name="connsiteY27" fmla="*/ 3199199 h 3827499"/>
              <a:gd name="connsiteX28" fmla="*/ 381468 w 2777761"/>
              <a:gd name="connsiteY28" fmla="*/ 3659204 h 3827499"/>
              <a:gd name="connsiteX29" fmla="*/ 196344 w 2777761"/>
              <a:gd name="connsiteY29" fmla="*/ 3704083 h 3827499"/>
              <a:gd name="connsiteX30" fmla="*/ 263662 w 2777761"/>
              <a:gd name="connsiteY30" fmla="*/ 3805059 h 3827499"/>
              <a:gd name="connsiteX31" fmla="*/ 555372 w 2777761"/>
              <a:gd name="connsiteY31" fmla="*/ 3827499 h 3827499"/>
              <a:gd name="connsiteX32" fmla="*/ 589031 w 2777761"/>
              <a:gd name="connsiteY32" fmla="*/ 3619936 h 3827499"/>
              <a:gd name="connsiteX33" fmla="*/ 645129 w 2777761"/>
              <a:gd name="connsiteY33" fmla="*/ 3614326 h 3827499"/>
              <a:gd name="connsiteX34" fmla="*/ 690008 w 2777761"/>
              <a:gd name="connsiteY34" fmla="*/ 3737742 h 3827499"/>
              <a:gd name="connsiteX35" fmla="*/ 774155 w 2777761"/>
              <a:gd name="connsiteY35" fmla="*/ 3743352 h 3827499"/>
              <a:gd name="connsiteX36" fmla="*/ 779765 w 2777761"/>
              <a:gd name="connsiteY36" fmla="*/ 3513349 h 3827499"/>
              <a:gd name="connsiteX37" fmla="*/ 746106 w 2777761"/>
              <a:gd name="connsiteY37" fmla="*/ 3244078 h 3827499"/>
              <a:gd name="connsiteX38" fmla="*/ 903181 w 2777761"/>
              <a:gd name="connsiteY38" fmla="*/ 2666267 h 3827499"/>
              <a:gd name="connsiteX39" fmla="*/ 1166842 w 2777761"/>
              <a:gd name="connsiteY39" fmla="*/ 2559680 h 3827499"/>
              <a:gd name="connsiteX40" fmla="*/ 1531480 w 2777761"/>
              <a:gd name="connsiteY40" fmla="*/ 2666267 h 3827499"/>
              <a:gd name="connsiteX41" fmla="*/ 1593188 w 2777761"/>
              <a:gd name="connsiteY41" fmla="*/ 2666267 h 3827499"/>
              <a:gd name="connsiteX42" fmla="*/ 1649286 w 2777761"/>
              <a:gd name="connsiteY42" fmla="*/ 2767244 h 3827499"/>
              <a:gd name="connsiteX43" fmla="*/ 1800751 w 2777761"/>
              <a:gd name="connsiteY43" fmla="*/ 2800902 h 3827499"/>
              <a:gd name="connsiteX44" fmla="*/ 1811971 w 2777761"/>
              <a:gd name="connsiteY44" fmla="*/ 2834561 h 3827499"/>
              <a:gd name="connsiteX45" fmla="*/ 1772702 w 2777761"/>
              <a:gd name="connsiteY45" fmla="*/ 3036515 h 3827499"/>
              <a:gd name="connsiteX46" fmla="*/ 1750263 w 2777761"/>
              <a:gd name="connsiteY46" fmla="*/ 3361884 h 3827499"/>
              <a:gd name="connsiteX47" fmla="*/ 1542700 w 2777761"/>
              <a:gd name="connsiteY47" fmla="*/ 3384323 h 3827499"/>
              <a:gd name="connsiteX48" fmla="*/ 1206111 w 2777761"/>
              <a:gd name="connsiteY48" fmla="*/ 3434812 h 3827499"/>
              <a:gd name="connsiteX49" fmla="*/ 1178062 w 2777761"/>
              <a:gd name="connsiteY49" fmla="*/ 3507739 h 3827499"/>
              <a:gd name="connsiteX50" fmla="*/ 1116354 w 2777761"/>
              <a:gd name="connsiteY50" fmla="*/ 3535788 h 3827499"/>
              <a:gd name="connsiteX51" fmla="*/ 1144403 w 2777761"/>
              <a:gd name="connsiteY51" fmla="*/ 3670424 h 3827499"/>
              <a:gd name="connsiteX52" fmla="*/ 1284648 w 2777761"/>
              <a:gd name="connsiteY52" fmla="*/ 3676034 h 3827499"/>
              <a:gd name="connsiteX53" fmla="*/ 1279038 w 2777761"/>
              <a:gd name="connsiteY53" fmla="*/ 3524569 h 3827499"/>
              <a:gd name="connsiteX54" fmla="*/ 1458552 w 2777761"/>
              <a:gd name="connsiteY54" fmla="*/ 3535788 h 3827499"/>
              <a:gd name="connsiteX55" fmla="*/ 1430503 w 2777761"/>
              <a:gd name="connsiteY55" fmla="*/ 3614326 h 3827499"/>
              <a:gd name="connsiteX56" fmla="*/ 1402454 w 2777761"/>
              <a:gd name="connsiteY56" fmla="*/ 3676034 h 3827499"/>
              <a:gd name="connsiteX57" fmla="*/ 1318307 w 2777761"/>
              <a:gd name="connsiteY57" fmla="*/ 3692863 h 3827499"/>
              <a:gd name="connsiteX58" fmla="*/ 1452943 w 2777761"/>
              <a:gd name="connsiteY58" fmla="*/ 3816279 h 3827499"/>
              <a:gd name="connsiteX59" fmla="*/ 1520260 w 2777761"/>
              <a:gd name="connsiteY59" fmla="*/ 3681644 h 3827499"/>
              <a:gd name="connsiteX60" fmla="*/ 1823190 w 2777761"/>
              <a:gd name="connsiteY60" fmla="*/ 3580667 h 3827499"/>
              <a:gd name="connsiteX61" fmla="*/ 2159779 w 2777761"/>
              <a:gd name="connsiteY61" fmla="*/ 3653594 h 3827499"/>
              <a:gd name="connsiteX62" fmla="*/ 2114901 w 2777761"/>
              <a:gd name="connsiteY62" fmla="*/ 3754571 h 3827499"/>
              <a:gd name="connsiteX63" fmla="*/ 2210268 w 2777761"/>
              <a:gd name="connsiteY63" fmla="*/ 3821889 h 3827499"/>
              <a:gd name="connsiteX64" fmla="*/ 2283195 w 2777761"/>
              <a:gd name="connsiteY64" fmla="*/ 3771401 h 3827499"/>
              <a:gd name="connsiteX65" fmla="*/ 2271976 w 2777761"/>
              <a:gd name="connsiteY65" fmla="*/ 3676034 h 3827499"/>
              <a:gd name="connsiteX66" fmla="*/ 2451490 w 2777761"/>
              <a:gd name="connsiteY66" fmla="*/ 3597496 h 3827499"/>
              <a:gd name="connsiteX67" fmla="*/ 2434660 w 2777761"/>
              <a:gd name="connsiteY67" fmla="*/ 3423592 h 3827499"/>
              <a:gd name="connsiteX68" fmla="*/ 1929777 w 2777761"/>
              <a:gd name="connsiteY68" fmla="*/ 3395543 h 3827499"/>
              <a:gd name="connsiteX69" fmla="*/ 1918557 w 2777761"/>
              <a:gd name="connsiteY69" fmla="*/ 3070174 h 3827499"/>
              <a:gd name="connsiteX70" fmla="*/ 1884898 w 2777761"/>
              <a:gd name="connsiteY70" fmla="*/ 3053344 h 3827499"/>
              <a:gd name="connsiteX71" fmla="*/ 1907338 w 2777761"/>
              <a:gd name="connsiteY71" fmla="*/ 2873830 h 3827499"/>
              <a:gd name="connsiteX72" fmla="*/ 1862459 w 2777761"/>
              <a:gd name="connsiteY72" fmla="*/ 2812122 h 3827499"/>
              <a:gd name="connsiteX73" fmla="*/ 2109291 w 2777761"/>
              <a:gd name="connsiteY73" fmla="*/ 2756024 h 3827499"/>
              <a:gd name="connsiteX74" fmla="*/ 2131730 w 2777761"/>
              <a:gd name="connsiteY74" fmla="*/ 2626998 h 3827499"/>
              <a:gd name="connsiteX75" fmla="*/ 2372952 w 2777761"/>
              <a:gd name="connsiteY75" fmla="*/ 2660657 h 3827499"/>
              <a:gd name="connsiteX76" fmla="*/ 2597345 w 2777761"/>
              <a:gd name="connsiteY76" fmla="*/ 2071626 h 3827499"/>
              <a:gd name="connsiteX77" fmla="*/ 2552466 w 2777761"/>
              <a:gd name="connsiteY77" fmla="*/ 1987479 h 3827499"/>
              <a:gd name="connsiteX78" fmla="*/ 2698322 w 2777761"/>
              <a:gd name="connsiteY78" fmla="*/ 1499425 h 3827499"/>
              <a:gd name="connsiteX79" fmla="*/ 2642224 w 2777761"/>
              <a:gd name="connsiteY79" fmla="*/ 1392839 h 3827499"/>
              <a:gd name="connsiteX80" fmla="*/ 2485148 w 2777761"/>
              <a:gd name="connsiteY80" fmla="*/ 837467 h 3827499"/>
              <a:gd name="connsiteX81" fmla="*/ 2743201 w 2777761"/>
              <a:gd name="connsiteY81" fmla="*/ 714051 h 3827499"/>
              <a:gd name="connsiteX82" fmla="*/ 2715151 w 2777761"/>
              <a:gd name="connsiteY82" fmla="*/ 472829 h 3827499"/>
              <a:gd name="connsiteX83" fmla="*/ 2597345 w 2777761"/>
              <a:gd name="connsiteY83" fmla="*/ 91363 h 3827499"/>
              <a:gd name="connsiteX0" fmla="*/ 2597345 w 2777761"/>
              <a:gd name="connsiteY0" fmla="*/ 130631 h 3827499"/>
              <a:gd name="connsiteX1" fmla="*/ 2395391 w 2777761"/>
              <a:gd name="connsiteY1" fmla="*/ 1604 h 3827499"/>
              <a:gd name="connsiteX2" fmla="*/ 2193438 w 2777761"/>
              <a:gd name="connsiteY2" fmla="*/ 197948 h 3827499"/>
              <a:gd name="connsiteX3" fmla="*/ 2114901 w 2777761"/>
              <a:gd name="connsiteY3" fmla="*/ 214777 h 3827499"/>
              <a:gd name="connsiteX4" fmla="*/ 2142950 w 2777761"/>
              <a:gd name="connsiteY4" fmla="*/ 326974 h 3827499"/>
              <a:gd name="connsiteX5" fmla="*/ 2047583 w 2777761"/>
              <a:gd name="connsiteY5" fmla="*/ 495268 h 3827499"/>
              <a:gd name="connsiteX6" fmla="*/ 2159779 w 2777761"/>
              <a:gd name="connsiteY6" fmla="*/ 747710 h 3827499"/>
              <a:gd name="connsiteX7" fmla="*/ 2030754 w 2777761"/>
              <a:gd name="connsiteY7" fmla="*/ 792588 h 3827499"/>
              <a:gd name="connsiteX8" fmla="*/ 1997095 w 2777761"/>
              <a:gd name="connsiteY8" fmla="*/ 859906 h 3827499"/>
              <a:gd name="connsiteX9" fmla="*/ 1997095 w 2777761"/>
              <a:gd name="connsiteY9" fmla="*/ 747710 h 3827499"/>
              <a:gd name="connsiteX10" fmla="*/ 1946606 w 2777761"/>
              <a:gd name="connsiteY10" fmla="*/ 708441 h 3827499"/>
              <a:gd name="connsiteX11" fmla="*/ 1772702 w 2777761"/>
              <a:gd name="connsiteY11" fmla="*/ 758929 h 3827499"/>
              <a:gd name="connsiteX12" fmla="*/ 1402454 w 2777761"/>
              <a:gd name="connsiteY12" fmla="*/ 618684 h 3827499"/>
              <a:gd name="connsiteX13" fmla="*/ 1705384 w 2777761"/>
              <a:gd name="connsiteY13" fmla="*/ 1190885 h 3827499"/>
              <a:gd name="connsiteX14" fmla="*/ 1800751 w 2777761"/>
              <a:gd name="connsiteY14" fmla="*/ 1263813 h 3827499"/>
              <a:gd name="connsiteX15" fmla="*/ 1649286 w 2777761"/>
              <a:gd name="connsiteY15" fmla="*/ 1488205 h 3827499"/>
              <a:gd name="connsiteX16" fmla="*/ 1727824 w 2777761"/>
              <a:gd name="connsiteY16" fmla="*/ 1706988 h 3827499"/>
              <a:gd name="connsiteX17" fmla="*/ 1817581 w 2777761"/>
              <a:gd name="connsiteY17" fmla="*/ 1701379 h 3827499"/>
              <a:gd name="connsiteX18" fmla="*/ 1671725 w 2777761"/>
              <a:gd name="connsiteY18" fmla="*/ 1869673 h 3827499"/>
              <a:gd name="connsiteX19" fmla="*/ 914400 w 2777761"/>
              <a:gd name="connsiteY19" fmla="*/ 1617231 h 3827499"/>
              <a:gd name="connsiteX20" fmla="*/ 460005 w 2777761"/>
              <a:gd name="connsiteY20" fmla="*/ 2643828 h 3827499"/>
              <a:gd name="connsiteX21" fmla="*/ 263662 w 2777761"/>
              <a:gd name="connsiteY21" fmla="*/ 2851391 h 3827499"/>
              <a:gd name="connsiteX22" fmla="*/ 44879 w 2777761"/>
              <a:gd name="connsiteY22" fmla="*/ 2896269 h 3827499"/>
              <a:gd name="connsiteX23" fmla="*/ 0 w 2777761"/>
              <a:gd name="connsiteY23" fmla="*/ 3002856 h 3827499"/>
              <a:gd name="connsiteX24" fmla="*/ 274881 w 2777761"/>
              <a:gd name="connsiteY24" fmla="*/ 3126272 h 3827499"/>
              <a:gd name="connsiteX25" fmla="*/ 504884 w 2777761"/>
              <a:gd name="connsiteY25" fmla="*/ 3025295 h 3827499"/>
              <a:gd name="connsiteX26" fmla="*/ 471225 w 2777761"/>
              <a:gd name="connsiteY26" fmla="*/ 3154321 h 3827499"/>
              <a:gd name="connsiteX27" fmla="*/ 572201 w 2777761"/>
              <a:gd name="connsiteY27" fmla="*/ 3199199 h 3827499"/>
              <a:gd name="connsiteX28" fmla="*/ 381468 w 2777761"/>
              <a:gd name="connsiteY28" fmla="*/ 3659204 h 3827499"/>
              <a:gd name="connsiteX29" fmla="*/ 196344 w 2777761"/>
              <a:gd name="connsiteY29" fmla="*/ 3704083 h 3827499"/>
              <a:gd name="connsiteX30" fmla="*/ 263662 w 2777761"/>
              <a:gd name="connsiteY30" fmla="*/ 3805059 h 3827499"/>
              <a:gd name="connsiteX31" fmla="*/ 555372 w 2777761"/>
              <a:gd name="connsiteY31" fmla="*/ 3827499 h 3827499"/>
              <a:gd name="connsiteX32" fmla="*/ 589031 w 2777761"/>
              <a:gd name="connsiteY32" fmla="*/ 3619936 h 3827499"/>
              <a:gd name="connsiteX33" fmla="*/ 645129 w 2777761"/>
              <a:gd name="connsiteY33" fmla="*/ 3614326 h 3827499"/>
              <a:gd name="connsiteX34" fmla="*/ 690008 w 2777761"/>
              <a:gd name="connsiteY34" fmla="*/ 3737742 h 3827499"/>
              <a:gd name="connsiteX35" fmla="*/ 774155 w 2777761"/>
              <a:gd name="connsiteY35" fmla="*/ 3743352 h 3827499"/>
              <a:gd name="connsiteX36" fmla="*/ 779765 w 2777761"/>
              <a:gd name="connsiteY36" fmla="*/ 3513349 h 3827499"/>
              <a:gd name="connsiteX37" fmla="*/ 746106 w 2777761"/>
              <a:gd name="connsiteY37" fmla="*/ 3244078 h 3827499"/>
              <a:gd name="connsiteX38" fmla="*/ 903181 w 2777761"/>
              <a:gd name="connsiteY38" fmla="*/ 2666267 h 3827499"/>
              <a:gd name="connsiteX39" fmla="*/ 1166842 w 2777761"/>
              <a:gd name="connsiteY39" fmla="*/ 2559680 h 3827499"/>
              <a:gd name="connsiteX40" fmla="*/ 1531480 w 2777761"/>
              <a:gd name="connsiteY40" fmla="*/ 2666267 h 3827499"/>
              <a:gd name="connsiteX41" fmla="*/ 1593188 w 2777761"/>
              <a:gd name="connsiteY41" fmla="*/ 2666267 h 3827499"/>
              <a:gd name="connsiteX42" fmla="*/ 1649286 w 2777761"/>
              <a:gd name="connsiteY42" fmla="*/ 2767244 h 3827499"/>
              <a:gd name="connsiteX43" fmla="*/ 1800751 w 2777761"/>
              <a:gd name="connsiteY43" fmla="*/ 2800902 h 3827499"/>
              <a:gd name="connsiteX44" fmla="*/ 1811971 w 2777761"/>
              <a:gd name="connsiteY44" fmla="*/ 2834561 h 3827499"/>
              <a:gd name="connsiteX45" fmla="*/ 1772702 w 2777761"/>
              <a:gd name="connsiteY45" fmla="*/ 3036515 h 3827499"/>
              <a:gd name="connsiteX46" fmla="*/ 1750263 w 2777761"/>
              <a:gd name="connsiteY46" fmla="*/ 3361884 h 3827499"/>
              <a:gd name="connsiteX47" fmla="*/ 1542700 w 2777761"/>
              <a:gd name="connsiteY47" fmla="*/ 3384323 h 3827499"/>
              <a:gd name="connsiteX48" fmla="*/ 1206111 w 2777761"/>
              <a:gd name="connsiteY48" fmla="*/ 3434812 h 3827499"/>
              <a:gd name="connsiteX49" fmla="*/ 1178062 w 2777761"/>
              <a:gd name="connsiteY49" fmla="*/ 3507739 h 3827499"/>
              <a:gd name="connsiteX50" fmla="*/ 1116354 w 2777761"/>
              <a:gd name="connsiteY50" fmla="*/ 3535788 h 3827499"/>
              <a:gd name="connsiteX51" fmla="*/ 1144403 w 2777761"/>
              <a:gd name="connsiteY51" fmla="*/ 3670424 h 3827499"/>
              <a:gd name="connsiteX52" fmla="*/ 1284648 w 2777761"/>
              <a:gd name="connsiteY52" fmla="*/ 3676034 h 3827499"/>
              <a:gd name="connsiteX53" fmla="*/ 1279038 w 2777761"/>
              <a:gd name="connsiteY53" fmla="*/ 3524569 h 3827499"/>
              <a:gd name="connsiteX54" fmla="*/ 1458552 w 2777761"/>
              <a:gd name="connsiteY54" fmla="*/ 3535788 h 3827499"/>
              <a:gd name="connsiteX55" fmla="*/ 1430503 w 2777761"/>
              <a:gd name="connsiteY55" fmla="*/ 3614326 h 3827499"/>
              <a:gd name="connsiteX56" fmla="*/ 1402454 w 2777761"/>
              <a:gd name="connsiteY56" fmla="*/ 3676034 h 3827499"/>
              <a:gd name="connsiteX57" fmla="*/ 1318307 w 2777761"/>
              <a:gd name="connsiteY57" fmla="*/ 3692863 h 3827499"/>
              <a:gd name="connsiteX58" fmla="*/ 1452943 w 2777761"/>
              <a:gd name="connsiteY58" fmla="*/ 3816279 h 3827499"/>
              <a:gd name="connsiteX59" fmla="*/ 1520260 w 2777761"/>
              <a:gd name="connsiteY59" fmla="*/ 3681644 h 3827499"/>
              <a:gd name="connsiteX60" fmla="*/ 1823190 w 2777761"/>
              <a:gd name="connsiteY60" fmla="*/ 3580667 h 3827499"/>
              <a:gd name="connsiteX61" fmla="*/ 2159779 w 2777761"/>
              <a:gd name="connsiteY61" fmla="*/ 3653594 h 3827499"/>
              <a:gd name="connsiteX62" fmla="*/ 2114901 w 2777761"/>
              <a:gd name="connsiteY62" fmla="*/ 3754571 h 3827499"/>
              <a:gd name="connsiteX63" fmla="*/ 2210268 w 2777761"/>
              <a:gd name="connsiteY63" fmla="*/ 3821889 h 3827499"/>
              <a:gd name="connsiteX64" fmla="*/ 2283195 w 2777761"/>
              <a:gd name="connsiteY64" fmla="*/ 3771401 h 3827499"/>
              <a:gd name="connsiteX65" fmla="*/ 2271976 w 2777761"/>
              <a:gd name="connsiteY65" fmla="*/ 3676034 h 3827499"/>
              <a:gd name="connsiteX66" fmla="*/ 2451490 w 2777761"/>
              <a:gd name="connsiteY66" fmla="*/ 3597496 h 3827499"/>
              <a:gd name="connsiteX67" fmla="*/ 2434660 w 2777761"/>
              <a:gd name="connsiteY67" fmla="*/ 3423592 h 3827499"/>
              <a:gd name="connsiteX68" fmla="*/ 1929777 w 2777761"/>
              <a:gd name="connsiteY68" fmla="*/ 3395543 h 3827499"/>
              <a:gd name="connsiteX69" fmla="*/ 1918557 w 2777761"/>
              <a:gd name="connsiteY69" fmla="*/ 3070174 h 3827499"/>
              <a:gd name="connsiteX70" fmla="*/ 1884898 w 2777761"/>
              <a:gd name="connsiteY70" fmla="*/ 3053344 h 3827499"/>
              <a:gd name="connsiteX71" fmla="*/ 1907338 w 2777761"/>
              <a:gd name="connsiteY71" fmla="*/ 2873830 h 3827499"/>
              <a:gd name="connsiteX72" fmla="*/ 1862459 w 2777761"/>
              <a:gd name="connsiteY72" fmla="*/ 2812122 h 3827499"/>
              <a:gd name="connsiteX73" fmla="*/ 2109291 w 2777761"/>
              <a:gd name="connsiteY73" fmla="*/ 2756024 h 3827499"/>
              <a:gd name="connsiteX74" fmla="*/ 2131730 w 2777761"/>
              <a:gd name="connsiteY74" fmla="*/ 2626998 h 3827499"/>
              <a:gd name="connsiteX75" fmla="*/ 2372952 w 2777761"/>
              <a:gd name="connsiteY75" fmla="*/ 2660657 h 3827499"/>
              <a:gd name="connsiteX76" fmla="*/ 2597345 w 2777761"/>
              <a:gd name="connsiteY76" fmla="*/ 2071626 h 3827499"/>
              <a:gd name="connsiteX77" fmla="*/ 2552466 w 2777761"/>
              <a:gd name="connsiteY77" fmla="*/ 1987479 h 3827499"/>
              <a:gd name="connsiteX78" fmla="*/ 2698322 w 2777761"/>
              <a:gd name="connsiteY78" fmla="*/ 1499425 h 3827499"/>
              <a:gd name="connsiteX79" fmla="*/ 2642224 w 2777761"/>
              <a:gd name="connsiteY79" fmla="*/ 1392839 h 3827499"/>
              <a:gd name="connsiteX80" fmla="*/ 2485148 w 2777761"/>
              <a:gd name="connsiteY80" fmla="*/ 837467 h 3827499"/>
              <a:gd name="connsiteX81" fmla="*/ 2743201 w 2777761"/>
              <a:gd name="connsiteY81" fmla="*/ 714051 h 3827499"/>
              <a:gd name="connsiteX82" fmla="*/ 2715151 w 2777761"/>
              <a:gd name="connsiteY82" fmla="*/ 472829 h 3827499"/>
              <a:gd name="connsiteX83" fmla="*/ 2597345 w 2777761"/>
              <a:gd name="connsiteY83" fmla="*/ 130631 h 3827499"/>
              <a:gd name="connsiteX0" fmla="*/ 2597345 w 2777761"/>
              <a:gd name="connsiteY0" fmla="*/ 91863 h 3788731"/>
              <a:gd name="connsiteX1" fmla="*/ 2434660 w 2777761"/>
              <a:gd name="connsiteY1" fmla="*/ 2105 h 3788731"/>
              <a:gd name="connsiteX2" fmla="*/ 2193438 w 2777761"/>
              <a:gd name="connsiteY2" fmla="*/ 159180 h 3788731"/>
              <a:gd name="connsiteX3" fmla="*/ 2114901 w 2777761"/>
              <a:gd name="connsiteY3" fmla="*/ 176009 h 3788731"/>
              <a:gd name="connsiteX4" fmla="*/ 2142950 w 2777761"/>
              <a:gd name="connsiteY4" fmla="*/ 288206 h 3788731"/>
              <a:gd name="connsiteX5" fmla="*/ 2047583 w 2777761"/>
              <a:gd name="connsiteY5" fmla="*/ 456500 h 3788731"/>
              <a:gd name="connsiteX6" fmla="*/ 2159779 w 2777761"/>
              <a:gd name="connsiteY6" fmla="*/ 708942 h 3788731"/>
              <a:gd name="connsiteX7" fmla="*/ 2030754 w 2777761"/>
              <a:gd name="connsiteY7" fmla="*/ 753820 h 3788731"/>
              <a:gd name="connsiteX8" fmla="*/ 1997095 w 2777761"/>
              <a:gd name="connsiteY8" fmla="*/ 821138 h 3788731"/>
              <a:gd name="connsiteX9" fmla="*/ 1997095 w 2777761"/>
              <a:gd name="connsiteY9" fmla="*/ 708942 h 3788731"/>
              <a:gd name="connsiteX10" fmla="*/ 1946606 w 2777761"/>
              <a:gd name="connsiteY10" fmla="*/ 669673 h 3788731"/>
              <a:gd name="connsiteX11" fmla="*/ 1772702 w 2777761"/>
              <a:gd name="connsiteY11" fmla="*/ 720161 h 3788731"/>
              <a:gd name="connsiteX12" fmla="*/ 1402454 w 2777761"/>
              <a:gd name="connsiteY12" fmla="*/ 579916 h 3788731"/>
              <a:gd name="connsiteX13" fmla="*/ 1705384 w 2777761"/>
              <a:gd name="connsiteY13" fmla="*/ 1152117 h 3788731"/>
              <a:gd name="connsiteX14" fmla="*/ 1800751 w 2777761"/>
              <a:gd name="connsiteY14" fmla="*/ 1225045 h 3788731"/>
              <a:gd name="connsiteX15" fmla="*/ 1649286 w 2777761"/>
              <a:gd name="connsiteY15" fmla="*/ 1449437 h 3788731"/>
              <a:gd name="connsiteX16" fmla="*/ 1727824 w 2777761"/>
              <a:gd name="connsiteY16" fmla="*/ 1668220 h 3788731"/>
              <a:gd name="connsiteX17" fmla="*/ 1817581 w 2777761"/>
              <a:gd name="connsiteY17" fmla="*/ 1662611 h 3788731"/>
              <a:gd name="connsiteX18" fmla="*/ 1671725 w 2777761"/>
              <a:gd name="connsiteY18" fmla="*/ 1830905 h 3788731"/>
              <a:gd name="connsiteX19" fmla="*/ 914400 w 2777761"/>
              <a:gd name="connsiteY19" fmla="*/ 1578463 h 3788731"/>
              <a:gd name="connsiteX20" fmla="*/ 460005 w 2777761"/>
              <a:gd name="connsiteY20" fmla="*/ 2605060 h 3788731"/>
              <a:gd name="connsiteX21" fmla="*/ 263662 w 2777761"/>
              <a:gd name="connsiteY21" fmla="*/ 2812623 h 3788731"/>
              <a:gd name="connsiteX22" fmla="*/ 44879 w 2777761"/>
              <a:gd name="connsiteY22" fmla="*/ 2857501 h 3788731"/>
              <a:gd name="connsiteX23" fmla="*/ 0 w 2777761"/>
              <a:gd name="connsiteY23" fmla="*/ 2964088 h 3788731"/>
              <a:gd name="connsiteX24" fmla="*/ 274881 w 2777761"/>
              <a:gd name="connsiteY24" fmla="*/ 3087504 h 3788731"/>
              <a:gd name="connsiteX25" fmla="*/ 504884 w 2777761"/>
              <a:gd name="connsiteY25" fmla="*/ 2986527 h 3788731"/>
              <a:gd name="connsiteX26" fmla="*/ 471225 w 2777761"/>
              <a:gd name="connsiteY26" fmla="*/ 3115553 h 3788731"/>
              <a:gd name="connsiteX27" fmla="*/ 572201 w 2777761"/>
              <a:gd name="connsiteY27" fmla="*/ 3160431 h 3788731"/>
              <a:gd name="connsiteX28" fmla="*/ 381468 w 2777761"/>
              <a:gd name="connsiteY28" fmla="*/ 3620436 h 3788731"/>
              <a:gd name="connsiteX29" fmla="*/ 196344 w 2777761"/>
              <a:gd name="connsiteY29" fmla="*/ 3665315 h 3788731"/>
              <a:gd name="connsiteX30" fmla="*/ 263662 w 2777761"/>
              <a:gd name="connsiteY30" fmla="*/ 3766291 h 3788731"/>
              <a:gd name="connsiteX31" fmla="*/ 555372 w 2777761"/>
              <a:gd name="connsiteY31" fmla="*/ 3788731 h 3788731"/>
              <a:gd name="connsiteX32" fmla="*/ 589031 w 2777761"/>
              <a:gd name="connsiteY32" fmla="*/ 3581168 h 3788731"/>
              <a:gd name="connsiteX33" fmla="*/ 645129 w 2777761"/>
              <a:gd name="connsiteY33" fmla="*/ 3575558 h 3788731"/>
              <a:gd name="connsiteX34" fmla="*/ 690008 w 2777761"/>
              <a:gd name="connsiteY34" fmla="*/ 3698974 h 3788731"/>
              <a:gd name="connsiteX35" fmla="*/ 774155 w 2777761"/>
              <a:gd name="connsiteY35" fmla="*/ 3704584 h 3788731"/>
              <a:gd name="connsiteX36" fmla="*/ 779765 w 2777761"/>
              <a:gd name="connsiteY36" fmla="*/ 3474581 h 3788731"/>
              <a:gd name="connsiteX37" fmla="*/ 746106 w 2777761"/>
              <a:gd name="connsiteY37" fmla="*/ 3205310 h 3788731"/>
              <a:gd name="connsiteX38" fmla="*/ 903181 w 2777761"/>
              <a:gd name="connsiteY38" fmla="*/ 2627499 h 3788731"/>
              <a:gd name="connsiteX39" fmla="*/ 1166842 w 2777761"/>
              <a:gd name="connsiteY39" fmla="*/ 2520912 h 3788731"/>
              <a:gd name="connsiteX40" fmla="*/ 1531480 w 2777761"/>
              <a:gd name="connsiteY40" fmla="*/ 2627499 h 3788731"/>
              <a:gd name="connsiteX41" fmla="*/ 1593188 w 2777761"/>
              <a:gd name="connsiteY41" fmla="*/ 2627499 h 3788731"/>
              <a:gd name="connsiteX42" fmla="*/ 1649286 w 2777761"/>
              <a:gd name="connsiteY42" fmla="*/ 2728476 h 3788731"/>
              <a:gd name="connsiteX43" fmla="*/ 1800751 w 2777761"/>
              <a:gd name="connsiteY43" fmla="*/ 2762134 h 3788731"/>
              <a:gd name="connsiteX44" fmla="*/ 1811971 w 2777761"/>
              <a:gd name="connsiteY44" fmla="*/ 2795793 h 3788731"/>
              <a:gd name="connsiteX45" fmla="*/ 1772702 w 2777761"/>
              <a:gd name="connsiteY45" fmla="*/ 2997747 h 3788731"/>
              <a:gd name="connsiteX46" fmla="*/ 1750263 w 2777761"/>
              <a:gd name="connsiteY46" fmla="*/ 3323116 h 3788731"/>
              <a:gd name="connsiteX47" fmla="*/ 1542700 w 2777761"/>
              <a:gd name="connsiteY47" fmla="*/ 3345555 h 3788731"/>
              <a:gd name="connsiteX48" fmla="*/ 1206111 w 2777761"/>
              <a:gd name="connsiteY48" fmla="*/ 3396044 h 3788731"/>
              <a:gd name="connsiteX49" fmla="*/ 1178062 w 2777761"/>
              <a:gd name="connsiteY49" fmla="*/ 3468971 h 3788731"/>
              <a:gd name="connsiteX50" fmla="*/ 1116354 w 2777761"/>
              <a:gd name="connsiteY50" fmla="*/ 3497020 h 3788731"/>
              <a:gd name="connsiteX51" fmla="*/ 1144403 w 2777761"/>
              <a:gd name="connsiteY51" fmla="*/ 3631656 h 3788731"/>
              <a:gd name="connsiteX52" fmla="*/ 1284648 w 2777761"/>
              <a:gd name="connsiteY52" fmla="*/ 3637266 h 3788731"/>
              <a:gd name="connsiteX53" fmla="*/ 1279038 w 2777761"/>
              <a:gd name="connsiteY53" fmla="*/ 3485801 h 3788731"/>
              <a:gd name="connsiteX54" fmla="*/ 1458552 w 2777761"/>
              <a:gd name="connsiteY54" fmla="*/ 3497020 h 3788731"/>
              <a:gd name="connsiteX55" fmla="*/ 1430503 w 2777761"/>
              <a:gd name="connsiteY55" fmla="*/ 3575558 h 3788731"/>
              <a:gd name="connsiteX56" fmla="*/ 1402454 w 2777761"/>
              <a:gd name="connsiteY56" fmla="*/ 3637266 h 3788731"/>
              <a:gd name="connsiteX57" fmla="*/ 1318307 w 2777761"/>
              <a:gd name="connsiteY57" fmla="*/ 3654095 h 3788731"/>
              <a:gd name="connsiteX58" fmla="*/ 1452943 w 2777761"/>
              <a:gd name="connsiteY58" fmla="*/ 3777511 h 3788731"/>
              <a:gd name="connsiteX59" fmla="*/ 1520260 w 2777761"/>
              <a:gd name="connsiteY59" fmla="*/ 3642876 h 3788731"/>
              <a:gd name="connsiteX60" fmla="*/ 1823190 w 2777761"/>
              <a:gd name="connsiteY60" fmla="*/ 3541899 h 3788731"/>
              <a:gd name="connsiteX61" fmla="*/ 2159779 w 2777761"/>
              <a:gd name="connsiteY61" fmla="*/ 3614826 h 3788731"/>
              <a:gd name="connsiteX62" fmla="*/ 2114901 w 2777761"/>
              <a:gd name="connsiteY62" fmla="*/ 3715803 h 3788731"/>
              <a:gd name="connsiteX63" fmla="*/ 2210268 w 2777761"/>
              <a:gd name="connsiteY63" fmla="*/ 3783121 h 3788731"/>
              <a:gd name="connsiteX64" fmla="*/ 2283195 w 2777761"/>
              <a:gd name="connsiteY64" fmla="*/ 3732633 h 3788731"/>
              <a:gd name="connsiteX65" fmla="*/ 2271976 w 2777761"/>
              <a:gd name="connsiteY65" fmla="*/ 3637266 h 3788731"/>
              <a:gd name="connsiteX66" fmla="*/ 2451490 w 2777761"/>
              <a:gd name="connsiteY66" fmla="*/ 3558728 h 3788731"/>
              <a:gd name="connsiteX67" fmla="*/ 2434660 w 2777761"/>
              <a:gd name="connsiteY67" fmla="*/ 3384824 h 3788731"/>
              <a:gd name="connsiteX68" fmla="*/ 1929777 w 2777761"/>
              <a:gd name="connsiteY68" fmla="*/ 3356775 h 3788731"/>
              <a:gd name="connsiteX69" fmla="*/ 1918557 w 2777761"/>
              <a:gd name="connsiteY69" fmla="*/ 3031406 h 3788731"/>
              <a:gd name="connsiteX70" fmla="*/ 1884898 w 2777761"/>
              <a:gd name="connsiteY70" fmla="*/ 3014576 h 3788731"/>
              <a:gd name="connsiteX71" fmla="*/ 1907338 w 2777761"/>
              <a:gd name="connsiteY71" fmla="*/ 2835062 h 3788731"/>
              <a:gd name="connsiteX72" fmla="*/ 1862459 w 2777761"/>
              <a:gd name="connsiteY72" fmla="*/ 2773354 h 3788731"/>
              <a:gd name="connsiteX73" fmla="*/ 2109291 w 2777761"/>
              <a:gd name="connsiteY73" fmla="*/ 2717256 h 3788731"/>
              <a:gd name="connsiteX74" fmla="*/ 2131730 w 2777761"/>
              <a:gd name="connsiteY74" fmla="*/ 2588230 h 3788731"/>
              <a:gd name="connsiteX75" fmla="*/ 2372952 w 2777761"/>
              <a:gd name="connsiteY75" fmla="*/ 2621889 h 3788731"/>
              <a:gd name="connsiteX76" fmla="*/ 2597345 w 2777761"/>
              <a:gd name="connsiteY76" fmla="*/ 2032858 h 3788731"/>
              <a:gd name="connsiteX77" fmla="*/ 2552466 w 2777761"/>
              <a:gd name="connsiteY77" fmla="*/ 1948711 h 3788731"/>
              <a:gd name="connsiteX78" fmla="*/ 2698322 w 2777761"/>
              <a:gd name="connsiteY78" fmla="*/ 1460657 h 3788731"/>
              <a:gd name="connsiteX79" fmla="*/ 2642224 w 2777761"/>
              <a:gd name="connsiteY79" fmla="*/ 1354071 h 3788731"/>
              <a:gd name="connsiteX80" fmla="*/ 2485148 w 2777761"/>
              <a:gd name="connsiteY80" fmla="*/ 798699 h 3788731"/>
              <a:gd name="connsiteX81" fmla="*/ 2743201 w 2777761"/>
              <a:gd name="connsiteY81" fmla="*/ 675283 h 3788731"/>
              <a:gd name="connsiteX82" fmla="*/ 2715151 w 2777761"/>
              <a:gd name="connsiteY82" fmla="*/ 434061 h 3788731"/>
              <a:gd name="connsiteX83" fmla="*/ 2597345 w 2777761"/>
              <a:gd name="connsiteY83" fmla="*/ 91863 h 3788731"/>
              <a:gd name="connsiteX0" fmla="*/ 2631004 w 2777761"/>
              <a:gd name="connsiteY0" fmla="*/ 86253 h 3788731"/>
              <a:gd name="connsiteX1" fmla="*/ 2434660 w 2777761"/>
              <a:gd name="connsiteY1" fmla="*/ 2105 h 3788731"/>
              <a:gd name="connsiteX2" fmla="*/ 2193438 w 2777761"/>
              <a:gd name="connsiteY2" fmla="*/ 159180 h 3788731"/>
              <a:gd name="connsiteX3" fmla="*/ 2114901 w 2777761"/>
              <a:gd name="connsiteY3" fmla="*/ 176009 h 3788731"/>
              <a:gd name="connsiteX4" fmla="*/ 2142950 w 2777761"/>
              <a:gd name="connsiteY4" fmla="*/ 288206 h 3788731"/>
              <a:gd name="connsiteX5" fmla="*/ 2047583 w 2777761"/>
              <a:gd name="connsiteY5" fmla="*/ 456500 h 3788731"/>
              <a:gd name="connsiteX6" fmla="*/ 2159779 w 2777761"/>
              <a:gd name="connsiteY6" fmla="*/ 708942 h 3788731"/>
              <a:gd name="connsiteX7" fmla="*/ 2030754 w 2777761"/>
              <a:gd name="connsiteY7" fmla="*/ 753820 h 3788731"/>
              <a:gd name="connsiteX8" fmla="*/ 1997095 w 2777761"/>
              <a:gd name="connsiteY8" fmla="*/ 821138 h 3788731"/>
              <a:gd name="connsiteX9" fmla="*/ 1997095 w 2777761"/>
              <a:gd name="connsiteY9" fmla="*/ 708942 h 3788731"/>
              <a:gd name="connsiteX10" fmla="*/ 1946606 w 2777761"/>
              <a:gd name="connsiteY10" fmla="*/ 669673 h 3788731"/>
              <a:gd name="connsiteX11" fmla="*/ 1772702 w 2777761"/>
              <a:gd name="connsiteY11" fmla="*/ 720161 h 3788731"/>
              <a:gd name="connsiteX12" fmla="*/ 1402454 w 2777761"/>
              <a:gd name="connsiteY12" fmla="*/ 579916 h 3788731"/>
              <a:gd name="connsiteX13" fmla="*/ 1705384 w 2777761"/>
              <a:gd name="connsiteY13" fmla="*/ 1152117 h 3788731"/>
              <a:gd name="connsiteX14" fmla="*/ 1800751 w 2777761"/>
              <a:gd name="connsiteY14" fmla="*/ 1225045 h 3788731"/>
              <a:gd name="connsiteX15" fmla="*/ 1649286 w 2777761"/>
              <a:gd name="connsiteY15" fmla="*/ 1449437 h 3788731"/>
              <a:gd name="connsiteX16" fmla="*/ 1727824 w 2777761"/>
              <a:gd name="connsiteY16" fmla="*/ 1668220 h 3788731"/>
              <a:gd name="connsiteX17" fmla="*/ 1817581 w 2777761"/>
              <a:gd name="connsiteY17" fmla="*/ 1662611 h 3788731"/>
              <a:gd name="connsiteX18" fmla="*/ 1671725 w 2777761"/>
              <a:gd name="connsiteY18" fmla="*/ 1830905 h 3788731"/>
              <a:gd name="connsiteX19" fmla="*/ 914400 w 2777761"/>
              <a:gd name="connsiteY19" fmla="*/ 1578463 h 3788731"/>
              <a:gd name="connsiteX20" fmla="*/ 460005 w 2777761"/>
              <a:gd name="connsiteY20" fmla="*/ 2605060 h 3788731"/>
              <a:gd name="connsiteX21" fmla="*/ 263662 w 2777761"/>
              <a:gd name="connsiteY21" fmla="*/ 2812623 h 3788731"/>
              <a:gd name="connsiteX22" fmla="*/ 44879 w 2777761"/>
              <a:gd name="connsiteY22" fmla="*/ 2857501 h 3788731"/>
              <a:gd name="connsiteX23" fmla="*/ 0 w 2777761"/>
              <a:gd name="connsiteY23" fmla="*/ 2964088 h 3788731"/>
              <a:gd name="connsiteX24" fmla="*/ 274881 w 2777761"/>
              <a:gd name="connsiteY24" fmla="*/ 3087504 h 3788731"/>
              <a:gd name="connsiteX25" fmla="*/ 504884 w 2777761"/>
              <a:gd name="connsiteY25" fmla="*/ 2986527 h 3788731"/>
              <a:gd name="connsiteX26" fmla="*/ 471225 w 2777761"/>
              <a:gd name="connsiteY26" fmla="*/ 3115553 h 3788731"/>
              <a:gd name="connsiteX27" fmla="*/ 572201 w 2777761"/>
              <a:gd name="connsiteY27" fmla="*/ 3160431 h 3788731"/>
              <a:gd name="connsiteX28" fmla="*/ 381468 w 2777761"/>
              <a:gd name="connsiteY28" fmla="*/ 3620436 h 3788731"/>
              <a:gd name="connsiteX29" fmla="*/ 196344 w 2777761"/>
              <a:gd name="connsiteY29" fmla="*/ 3665315 h 3788731"/>
              <a:gd name="connsiteX30" fmla="*/ 263662 w 2777761"/>
              <a:gd name="connsiteY30" fmla="*/ 3766291 h 3788731"/>
              <a:gd name="connsiteX31" fmla="*/ 555372 w 2777761"/>
              <a:gd name="connsiteY31" fmla="*/ 3788731 h 3788731"/>
              <a:gd name="connsiteX32" fmla="*/ 589031 w 2777761"/>
              <a:gd name="connsiteY32" fmla="*/ 3581168 h 3788731"/>
              <a:gd name="connsiteX33" fmla="*/ 645129 w 2777761"/>
              <a:gd name="connsiteY33" fmla="*/ 3575558 h 3788731"/>
              <a:gd name="connsiteX34" fmla="*/ 690008 w 2777761"/>
              <a:gd name="connsiteY34" fmla="*/ 3698974 h 3788731"/>
              <a:gd name="connsiteX35" fmla="*/ 774155 w 2777761"/>
              <a:gd name="connsiteY35" fmla="*/ 3704584 h 3788731"/>
              <a:gd name="connsiteX36" fmla="*/ 779765 w 2777761"/>
              <a:gd name="connsiteY36" fmla="*/ 3474581 h 3788731"/>
              <a:gd name="connsiteX37" fmla="*/ 746106 w 2777761"/>
              <a:gd name="connsiteY37" fmla="*/ 3205310 h 3788731"/>
              <a:gd name="connsiteX38" fmla="*/ 903181 w 2777761"/>
              <a:gd name="connsiteY38" fmla="*/ 2627499 h 3788731"/>
              <a:gd name="connsiteX39" fmla="*/ 1166842 w 2777761"/>
              <a:gd name="connsiteY39" fmla="*/ 2520912 h 3788731"/>
              <a:gd name="connsiteX40" fmla="*/ 1531480 w 2777761"/>
              <a:gd name="connsiteY40" fmla="*/ 2627499 h 3788731"/>
              <a:gd name="connsiteX41" fmla="*/ 1593188 w 2777761"/>
              <a:gd name="connsiteY41" fmla="*/ 2627499 h 3788731"/>
              <a:gd name="connsiteX42" fmla="*/ 1649286 w 2777761"/>
              <a:gd name="connsiteY42" fmla="*/ 2728476 h 3788731"/>
              <a:gd name="connsiteX43" fmla="*/ 1800751 w 2777761"/>
              <a:gd name="connsiteY43" fmla="*/ 2762134 h 3788731"/>
              <a:gd name="connsiteX44" fmla="*/ 1811971 w 2777761"/>
              <a:gd name="connsiteY44" fmla="*/ 2795793 h 3788731"/>
              <a:gd name="connsiteX45" fmla="*/ 1772702 w 2777761"/>
              <a:gd name="connsiteY45" fmla="*/ 2997747 h 3788731"/>
              <a:gd name="connsiteX46" fmla="*/ 1750263 w 2777761"/>
              <a:gd name="connsiteY46" fmla="*/ 3323116 h 3788731"/>
              <a:gd name="connsiteX47" fmla="*/ 1542700 w 2777761"/>
              <a:gd name="connsiteY47" fmla="*/ 3345555 h 3788731"/>
              <a:gd name="connsiteX48" fmla="*/ 1206111 w 2777761"/>
              <a:gd name="connsiteY48" fmla="*/ 3396044 h 3788731"/>
              <a:gd name="connsiteX49" fmla="*/ 1178062 w 2777761"/>
              <a:gd name="connsiteY49" fmla="*/ 3468971 h 3788731"/>
              <a:gd name="connsiteX50" fmla="*/ 1116354 w 2777761"/>
              <a:gd name="connsiteY50" fmla="*/ 3497020 h 3788731"/>
              <a:gd name="connsiteX51" fmla="*/ 1144403 w 2777761"/>
              <a:gd name="connsiteY51" fmla="*/ 3631656 h 3788731"/>
              <a:gd name="connsiteX52" fmla="*/ 1284648 w 2777761"/>
              <a:gd name="connsiteY52" fmla="*/ 3637266 h 3788731"/>
              <a:gd name="connsiteX53" fmla="*/ 1279038 w 2777761"/>
              <a:gd name="connsiteY53" fmla="*/ 3485801 h 3788731"/>
              <a:gd name="connsiteX54" fmla="*/ 1458552 w 2777761"/>
              <a:gd name="connsiteY54" fmla="*/ 3497020 h 3788731"/>
              <a:gd name="connsiteX55" fmla="*/ 1430503 w 2777761"/>
              <a:gd name="connsiteY55" fmla="*/ 3575558 h 3788731"/>
              <a:gd name="connsiteX56" fmla="*/ 1402454 w 2777761"/>
              <a:gd name="connsiteY56" fmla="*/ 3637266 h 3788731"/>
              <a:gd name="connsiteX57" fmla="*/ 1318307 w 2777761"/>
              <a:gd name="connsiteY57" fmla="*/ 3654095 h 3788731"/>
              <a:gd name="connsiteX58" fmla="*/ 1452943 w 2777761"/>
              <a:gd name="connsiteY58" fmla="*/ 3777511 h 3788731"/>
              <a:gd name="connsiteX59" fmla="*/ 1520260 w 2777761"/>
              <a:gd name="connsiteY59" fmla="*/ 3642876 h 3788731"/>
              <a:gd name="connsiteX60" fmla="*/ 1823190 w 2777761"/>
              <a:gd name="connsiteY60" fmla="*/ 3541899 h 3788731"/>
              <a:gd name="connsiteX61" fmla="*/ 2159779 w 2777761"/>
              <a:gd name="connsiteY61" fmla="*/ 3614826 h 3788731"/>
              <a:gd name="connsiteX62" fmla="*/ 2114901 w 2777761"/>
              <a:gd name="connsiteY62" fmla="*/ 3715803 h 3788731"/>
              <a:gd name="connsiteX63" fmla="*/ 2210268 w 2777761"/>
              <a:gd name="connsiteY63" fmla="*/ 3783121 h 3788731"/>
              <a:gd name="connsiteX64" fmla="*/ 2283195 w 2777761"/>
              <a:gd name="connsiteY64" fmla="*/ 3732633 h 3788731"/>
              <a:gd name="connsiteX65" fmla="*/ 2271976 w 2777761"/>
              <a:gd name="connsiteY65" fmla="*/ 3637266 h 3788731"/>
              <a:gd name="connsiteX66" fmla="*/ 2451490 w 2777761"/>
              <a:gd name="connsiteY66" fmla="*/ 3558728 h 3788731"/>
              <a:gd name="connsiteX67" fmla="*/ 2434660 w 2777761"/>
              <a:gd name="connsiteY67" fmla="*/ 3384824 h 3788731"/>
              <a:gd name="connsiteX68" fmla="*/ 1929777 w 2777761"/>
              <a:gd name="connsiteY68" fmla="*/ 3356775 h 3788731"/>
              <a:gd name="connsiteX69" fmla="*/ 1918557 w 2777761"/>
              <a:gd name="connsiteY69" fmla="*/ 3031406 h 3788731"/>
              <a:gd name="connsiteX70" fmla="*/ 1884898 w 2777761"/>
              <a:gd name="connsiteY70" fmla="*/ 3014576 h 3788731"/>
              <a:gd name="connsiteX71" fmla="*/ 1907338 w 2777761"/>
              <a:gd name="connsiteY71" fmla="*/ 2835062 h 3788731"/>
              <a:gd name="connsiteX72" fmla="*/ 1862459 w 2777761"/>
              <a:gd name="connsiteY72" fmla="*/ 2773354 h 3788731"/>
              <a:gd name="connsiteX73" fmla="*/ 2109291 w 2777761"/>
              <a:gd name="connsiteY73" fmla="*/ 2717256 h 3788731"/>
              <a:gd name="connsiteX74" fmla="*/ 2131730 w 2777761"/>
              <a:gd name="connsiteY74" fmla="*/ 2588230 h 3788731"/>
              <a:gd name="connsiteX75" fmla="*/ 2372952 w 2777761"/>
              <a:gd name="connsiteY75" fmla="*/ 2621889 h 3788731"/>
              <a:gd name="connsiteX76" fmla="*/ 2597345 w 2777761"/>
              <a:gd name="connsiteY76" fmla="*/ 2032858 h 3788731"/>
              <a:gd name="connsiteX77" fmla="*/ 2552466 w 2777761"/>
              <a:gd name="connsiteY77" fmla="*/ 1948711 h 3788731"/>
              <a:gd name="connsiteX78" fmla="*/ 2698322 w 2777761"/>
              <a:gd name="connsiteY78" fmla="*/ 1460657 h 3788731"/>
              <a:gd name="connsiteX79" fmla="*/ 2642224 w 2777761"/>
              <a:gd name="connsiteY79" fmla="*/ 1354071 h 3788731"/>
              <a:gd name="connsiteX80" fmla="*/ 2485148 w 2777761"/>
              <a:gd name="connsiteY80" fmla="*/ 798699 h 3788731"/>
              <a:gd name="connsiteX81" fmla="*/ 2743201 w 2777761"/>
              <a:gd name="connsiteY81" fmla="*/ 675283 h 3788731"/>
              <a:gd name="connsiteX82" fmla="*/ 2715151 w 2777761"/>
              <a:gd name="connsiteY82" fmla="*/ 434061 h 3788731"/>
              <a:gd name="connsiteX83" fmla="*/ 2631004 w 2777761"/>
              <a:gd name="connsiteY83" fmla="*/ 86253 h 3788731"/>
              <a:gd name="connsiteX0" fmla="*/ 2631004 w 2777761"/>
              <a:gd name="connsiteY0" fmla="*/ 86253 h 3788731"/>
              <a:gd name="connsiteX1" fmla="*/ 2434660 w 2777761"/>
              <a:gd name="connsiteY1" fmla="*/ 2105 h 3788731"/>
              <a:gd name="connsiteX2" fmla="*/ 2193438 w 2777761"/>
              <a:gd name="connsiteY2" fmla="*/ 159180 h 3788731"/>
              <a:gd name="connsiteX3" fmla="*/ 2092462 w 2777761"/>
              <a:gd name="connsiteY3" fmla="*/ 198449 h 3788731"/>
              <a:gd name="connsiteX4" fmla="*/ 2142950 w 2777761"/>
              <a:gd name="connsiteY4" fmla="*/ 288206 h 3788731"/>
              <a:gd name="connsiteX5" fmla="*/ 2047583 w 2777761"/>
              <a:gd name="connsiteY5" fmla="*/ 456500 h 3788731"/>
              <a:gd name="connsiteX6" fmla="*/ 2159779 w 2777761"/>
              <a:gd name="connsiteY6" fmla="*/ 708942 h 3788731"/>
              <a:gd name="connsiteX7" fmla="*/ 2030754 w 2777761"/>
              <a:gd name="connsiteY7" fmla="*/ 753820 h 3788731"/>
              <a:gd name="connsiteX8" fmla="*/ 1997095 w 2777761"/>
              <a:gd name="connsiteY8" fmla="*/ 821138 h 3788731"/>
              <a:gd name="connsiteX9" fmla="*/ 1997095 w 2777761"/>
              <a:gd name="connsiteY9" fmla="*/ 708942 h 3788731"/>
              <a:gd name="connsiteX10" fmla="*/ 1946606 w 2777761"/>
              <a:gd name="connsiteY10" fmla="*/ 669673 h 3788731"/>
              <a:gd name="connsiteX11" fmla="*/ 1772702 w 2777761"/>
              <a:gd name="connsiteY11" fmla="*/ 720161 h 3788731"/>
              <a:gd name="connsiteX12" fmla="*/ 1402454 w 2777761"/>
              <a:gd name="connsiteY12" fmla="*/ 579916 h 3788731"/>
              <a:gd name="connsiteX13" fmla="*/ 1705384 w 2777761"/>
              <a:gd name="connsiteY13" fmla="*/ 1152117 h 3788731"/>
              <a:gd name="connsiteX14" fmla="*/ 1800751 w 2777761"/>
              <a:gd name="connsiteY14" fmla="*/ 1225045 h 3788731"/>
              <a:gd name="connsiteX15" fmla="*/ 1649286 w 2777761"/>
              <a:gd name="connsiteY15" fmla="*/ 1449437 h 3788731"/>
              <a:gd name="connsiteX16" fmla="*/ 1727824 w 2777761"/>
              <a:gd name="connsiteY16" fmla="*/ 1668220 h 3788731"/>
              <a:gd name="connsiteX17" fmla="*/ 1817581 w 2777761"/>
              <a:gd name="connsiteY17" fmla="*/ 1662611 h 3788731"/>
              <a:gd name="connsiteX18" fmla="*/ 1671725 w 2777761"/>
              <a:gd name="connsiteY18" fmla="*/ 1830905 h 3788731"/>
              <a:gd name="connsiteX19" fmla="*/ 914400 w 2777761"/>
              <a:gd name="connsiteY19" fmla="*/ 1578463 h 3788731"/>
              <a:gd name="connsiteX20" fmla="*/ 460005 w 2777761"/>
              <a:gd name="connsiteY20" fmla="*/ 2605060 h 3788731"/>
              <a:gd name="connsiteX21" fmla="*/ 263662 w 2777761"/>
              <a:gd name="connsiteY21" fmla="*/ 2812623 h 3788731"/>
              <a:gd name="connsiteX22" fmla="*/ 44879 w 2777761"/>
              <a:gd name="connsiteY22" fmla="*/ 2857501 h 3788731"/>
              <a:gd name="connsiteX23" fmla="*/ 0 w 2777761"/>
              <a:gd name="connsiteY23" fmla="*/ 2964088 h 3788731"/>
              <a:gd name="connsiteX24" fmla="*/ 274881 w 2777761"/>
              <a:gd name="connsiteY24" fmla="*/ 3087504 h 3788731"/>
              <a:gd name="connsiteX25" fmla="*/ 504884 w 2777761"/>
              <a:gd name="connsiteY25" fmla="*/ 2986527 h 3788731"/>
              <a:gd name="connsiteX26" fmla="*/ 471225 w 2777761"/>
              <a:gd name="connsiteY26" fmla="*/ 3115553 h 3788731"/>
              <a:gd name="connsiteX27" fmla="*/ 572201 w 2777761"/>
              <a:gd name="connsiteY27" fmla="*/ 3160431 h 3788731"/>
              <a:gd name="connsiteX28" fmla="*/ 381468 w 2777761"/>
              <a:gd name="connsiteY28" fmla="*/ 3620436 h 3788731"/>
              <a:gd name="connsiteX29" fmla="*/ 196344 w 2777761"/>
              <a:gd name="connsiteY29" fmla="*/ 3665315 h 3788731"/>
              <a:gd name="connsiteX30" fmla="*/ 263662 w 2777761"/>
              <a:gd name="connsiteY30" fmla="*/ 3766291 h 3788731"/>
              <a:gd name="connsiteX31" fmla="*/ 555372 w 2777761"/>
              <a:gd name="connsiteY31" fmla="*/ 3788731 h 3788731"/>
              <a:gd name="connsiteX32" fmla="*/ 589031 w 2777761"/>
              <a:gd name="connsiteY32" fmla="*/ 3581168 h 3788731"/>
              <a:gd name="connsiteX33" fmla="*/ 645129 w 2777761"/>
              <a:gd name="connsiteY33" fmla="*/ 3575558 h 3788731"/>
              <a:gd name="connsiteX34" fmla="*/ 690008 w 2777761"/>
              <a:gd name="connsiteY34" fmla="*/ 3698974 h 3788731"/>
              <a:gd name="connsiteX35" fmla="*/ 774155 w 2777761"/>
              <a:gd name="connsiteY35" fmla="*/ 3704584 h 3788731"/>
              <a:gd name="connsiteX36" fmla="*/ 779765 w 2777761"/>
              <a:gd name="connsiteY36" fmla="*/ 3474581 h 3788731"/>
              <a:gd name="connsiteX37" fmla="*/ 746106 w 2777761"/>
              <a:gd name="connsiteY37" fmla="*/ 3205310 h 3788731"/>
              <a:gd name="connsiteX38" fmla="*/ 903181 w 2777761"/>
              <a:gd name="connsiteY38" fmla="*/ 2627499 h 3788731"/>
              <a:gd name="connsiteX39" fmla="*/ 1166842 w 2777761"/>
              <a:gd name="connsiteY39" fmla="*/ 2520912 h 3788731"/>
              <a:gd name="connsiteX40" fmla="*/ 1531480 w 2777761"/>
              <a:gd name="connsiteY40" fmla="*/ 2627499 h 3788731"/>
              <a:gd name="connsiteX41" fmla="*/ 1593188 w 2777761"/>
              <a:gd name="connsiteY41" fmla="*/ 2627499 h 3788731"/>
              <a:gd name="connsiteX42" fmla="*/ 1649286 w 2777761"/>
              <a:gd name="connsiteY42" fmla="*/ 2728476 h 3788731"/>
              <a:gd name="connsiteX43" fmla="*/ 1800751 w 2777761"/>
              <a:gd name="connsiteY43" fmla="*/ 2762134 h 3788731"/>
              <a:gd name="connsiteX44" fmla="*/ 1811971 w 2777761"/>
              <a:gd name="connsiteY44" fmla="*/ 2795793 h 3788731"/>
              <a:gd name="connsiteX45" fmla="*/ 1772702 w 2777761"/>
              <a:gd name="connsiteY45" fmla="*/ 2997747 h 3788731"/>
              <a:gd name="connsiteX46" fmla="*/ 1750263 w 2777761"/>
              <a:gd name="connsiteY46" fmla="*/ 3323116 h 3788731"/>
              <a:gd name="connsiteX47" fmla="*/ 1542700 w 2777761"/>
              <a:gd name="connsiteY47" fmla="*/ 3345555 h 3788731"/>
              <a:gd name="connsiteX48" fmla="*/ 1206111 w 2777761"/>
              <a:gd name="connsiteY48" fmla="*/ 3396044 h 3788731"/>
              <a:gd name="connsiteX49" fmla="*/ 1178062 w 2777761"/>
              <a:gd name="connsiteY49" fmla="*/ 3468971 h 3788731"/>
              <a:gd name="connsiteX50" fmla="*/ 1116354 w 2777761"/>
              <a:gd name="connsiteY50" fmla="*/ 3497020 h 3788731"/>
              <a:gd name="connsiteX51" fmla="*/ 1144403 w 2777761"/>
              <a:gd name="connsiteY51" fmla="*/ 3631656 h 3788731"/>
              <a:gd name="connsiteX52" fmla="*/ 1284648 w 2777761"/>
              <a:gd name="connsiteY52" fmla="*/ 3637266 h 3788731"/>
              <a:gd name="connsiteX53" fmla="*/ 1279038 w 2777761"/>
              <a:gd name="connsiteY53" fmla="*/ 3485801 h 3788731"/>
              <a:gd name="connsiteX54" fmla="*/ 1458552 w 2777761"/>
              <a:gd name="connsiteY54" fmla="*/ 3497020 h 3788731"/>
              <a:gd name="connsiteX55" fmla="*/ 1430503 w 2777761"/>
              <a:gd name="connsiteY55" fmla="*/ 3575558 h 3788731"/>
              <a:gd name="connsiteX56" fmla="*/ 1402454 w 2777761"/>
              <a:gd name="connsiteY56" fmla="*/ 3637266 h 3788731"/>
              <a:gd name="connsiteX57" fmla="*/ 1318307 w 2777761"/>
              <a:gd name="connsiteY57" fmla="*/ 3654095 h 3788731"/>
              <a:gd name="connsiteX58" fmla="*/ 1452943 w 2777761"/>
              <a:gd name="connsiteY58" fmla="*/ 3777511 h 3788731"/>
              <a:gd name="connsiteX59" fmla="*/ 1520260 w 2777761"/>
              <a:gd name="connsiteY59" fmla="*/ 3642876 h 3788731"/>
              <a:gd name="connsiteX60" fmla="*/ 1823190 w 2777761"/>
              <a:gd name="connsiteY60" fmla="*/ 3541899 h 3788731"/>
              <a:gd name="connsiteX61" fmla="*/ 2159779 w 2777761"/>
              <a:gd name="connsiteY61" fmla="*/ 3614826 h 3788731"/>
              <a:gd name="connsiteX62" fmla="*/ 2114901 w 2777761"/>
              <a:gd name="connsiteY62" fmla="*/ 3715803 h 3788731"/>
              <a:gd name="connsiteX63" fmla="*/ 2210268 w 2777761"/>
              <a:gd name="connsiteY63" fmla="*/ 3783121 h 3788731"/>
              <a:gd name="connsiteX64" fmla="*/ 2283195 w 2777761"/>
              <a:gd name="connsiteY64" fmla="*/ 3732633 h 3788731"/>
              <a:gd name="connsiteX65" fmla="*/ 2271976 w 2777761"/>
              <a:gd name="connsiteY65" fmla="*/ 3637266 h 3788731"/>
              <a:gd name="connsiteX66" fmla="*/ 2451490 w 2777761"/>
              <a:gd name="connsiteY66" fmla="*/ 3558728 h 3788731"/>
              <a:gd name="connsiteX67" fmla="*/ 2434660 w 2777761"/>
              <a:gd name="connsiteY67" fmla="*/ 3384824 h 3788731"/>
              <a:gd name="connsiteX68" fmla="*/ 1929777 w 2777761"/>
              <a:gd name="connsiteY68" fmla="*/ 3356775 h 3788731"/>
              <a:gd name="connsiteX69" fmla="*/ 1918557 w 2777761"/>
              <a:gd name="connsiteY69" fmla="*/ 3031406 h 3788731"/>
              <a:gd name="connsiteX70" fmla="*/ 1884898 w 2777761"/>
              <a:gd name="connsiteY70" fmla="*/ 3014576 h 3788731"/>
              <a:gd name="connsiteX71" fmla="*/ 1907338 w 2777761"/>
              <a:gd name="connsiteY71" fmla="*/ 2835062 h 3788731"/>
              <a:gd name="connsiteX72" fmla="*/ 1862459 w 2777761"/>
              <a:gd name="connsiteY72" fmla="*/ 2773354 h 3788731"/>
              <a:gd name="connsiteX73" fmla="*/ 2109291 w 2777761"/>
              <a:gd name="connsiteY73" fmla="*/ 2717256 h 3788731"/>
              <a:gd name="connsiteX74" fmla="*/ 2131730 w 2777761"/>
              <a:gd name="connsiteY74" fmla="*/ 2588230 h 3788731"/>
              <a:gd name="connsiteX75" fmla="*/ 2372952 w 2777761"/>
              <a:gd name="connsiteY75" fmla="*/ 2621889 h 3788731"/>
              <a:gd name="connsiteX76" fmla="*/ 2597345 w 2777761"/>
              <a:gd name="connsiteY76" fmla="*/ 2032858 h 3788731"/>
              <a:gd name="connsiteX77" fmla="*/ 2552466 w 2777761"/>
              <a:gd name="connsiteY77" fmla="*/ 1948711 h 3788731"/>
              <a:gd name="connsiteX78" fmla="*/ 2698322 w 2777761"/>
              <a:gd name="connsiteY78" fmla="*/ 1460657 h 3788731"/>
              <a:gd name="connsiteX79" fmla="*/ 2642224 w 2777761"/>
              <a:gd name="connsiteY79" fmla="*/ 1354071 h 3788731"/>
              <a:gd name="connsiteX80" fmla="*/ 2485148 w 2777761"/>
              <a:gd name="connsiteY80" fmla="*/ 798699 h 3788731"/>
              <a:gd name="connsiteX81" fmla="*/ 2743201 w 2777761"/>
              <a:gd name="connsiteY81" fmla="*/ 675283 h 3788731"/>
              <a:gd name="connsiteX82" fmla="*/ 2715151 w 2777761"/>
              <a:gd name="connsiteY82" fmla="*/ 434061 h 3788731"/>
              <a:gd name="connsiteX83" fmla="*/ 2631004 w 2777761"/>
              <a:gd name="connsiteY83" fmla="*/ 86253 h 3788731"/>
              <a:gd name="connsiteX0" fmla="*/ 2631004 w 2777761"/>
              <a:gd name="connsiteY0" fmla="*/ 86253 h 3788731"/>
              <a:gd name="connsiteX1" fmla="*/ 2434660 w 2777761"/>
              <a:gd name="connsiteY1" fmla="*/ 2105 h 3788731"/>
              <a:gd name="connsiteX2" fmla="*/ 2193438 w 2777761"/>
              <a:gd name="connsiteY2" fmla="*/ 159180 h 3788731"/>
              <a:gd name="connsiteX3" fmla="*/ 2092462 w 2777761"/>
              <a:gd name="connsiteY3" fmla="*/ 198449 h 3788731"/>
              <a:gd name="connsiteX4" fmla="*/ 2142950 w 2777761"/>
              <a:gd name="connsiteY4" fmla="*/ 288206 h 3788731"/>
              <a:gd name="connsiteX5" fmla="*/ 2030754 w 2777761"/>
              <a:gd name="connsiteY5" fmla="*/ 450890 h 3788731"/>
              <a:gd name="connsiteX6" fmla="*/ 2159779 w 2777761"/>
              <a:gd name="connsiteY6" fmla="*/ 708942 h 3788731"/>
              <a:gd name="connsiteX7" fmla="*/ 2030754 w 2777761"/>
              <a:gd name="connsiteY7" fmla="*/ 753820 h 3788731"/>
              <a:gd name="connsiteX8" fmla="*/ 1997095 w 2777761"/>
              <a:gd name="connsiteY8" fmla="*/ 821138 h 3788731"/>
              <a:gd name="connsiteX9" fmla="*/ 1997095 w 2777761"/>
              <a:gd name="connsiteY9" fmla="*/ 708942 h 3788731"/>
              <a:gd name="connsiteX10" fmla="*/ 1946606 w 2777761"/>
              <a:gd name="connsiteY10" fmla="*/ 669673 h 3788731"/>
              <a:gd name="connsiteX11" fmla="*/ 1772702 w 2777761"/>
              <a:gd name="connsiteY11" fmla="*/ 720161 h 3788731"/>
              <a:gd name="connsiteX12" fmla="*/ 1402454 w 2777761"/>
              <a:gd name="connsiteY12" fmla="*/ 579916 h 3788731"/>
              <a:gd name="connsiteX13" fmla="*/ 1705384 w 2777761"/>
              <a:gd name="connsiteY13" fmla="*/ 1152117 h 3788731"/>
              <a:gd name="connsiteX14" fmla="*/ 1800751 w 2777761"/>
              <a:gd name="connsiteY14" fmla="*/ 1225045 h 3788731"/>
              <a:gd name="connsiteX15" fmla="*/ 1649286 w 2777761"/>
              <a:gd name="connsiteY15" fmla="*/ 1449437 h 3788731"/>
              <a:gd name="connsiteX16" fmla="*/ 1727824 w 2777761"/>
              <a:gd name="connsiteY16" fmla="*/ 1668220 h 3788731"/>
              <a:gd name="connsiteX17" fmla="*/ 1817581 w 2777761"/>
              <a:gd name="connsiteY17" fmla="*/ 1662611 h 3788731"/>
              <a:gd name="connsiteX18" fmla="*/ 1671725 w 2777761"/>
              <a:gd name="connsiteY18" fmla="*/ 1830905 h 3788731"/>
              <a:gd name="connsiteX19" fmla="*/ 914400 w 2777761"/>
              <a:gd name="connsiteY19" fmla="*/ 1578463 h 3788731"/>
              <a:gd name="connsiteX20" fmla="*/ 460005 w 2777761"/>
              <a:gd name="connsiteY20" fmla="*/ 2605060 h 3788731"/>
              <a:gd name="connsiteX21" fmla="*/ 263662 w 2777761"/>
              <a:gd name="connsiteY21" fmla="*/ 2812623 h 3788731"/>
              <a:gd name="connsiteX22" fmla="*/ 44879 w 2777761"/>
              <a:gd name="connsiteY22" fmla="*/ 2857501 h 3788731"/>
              <a:gd name="connsiteX23" fmla="*/ 0 w 2777761"/>
              <a:gd name="connsiteY23" fmla="*/ 2964088 h 3788731"/>
              <a:gd name="connsiteX24" fmla="*/ 274881 w 2777761"/>
              <a:gd name="connsiteY24" fmla="*/ 3087504 h 3788731"/>
              <a:gd name="connsiteX25" fmla="*/ 504884 w 2777761"/>
              <a:gd name="connsiteY25" fmla="*/ 2986527 h 3788731"/>
              <a:gd name="connsiteX26" fmla="*/ 471225 w 2777761"/>
              <a:gd name="connsiteY26" fmla="*/ 3115553 h 3788731"/>
              <a:gd name="connsiteX27" fmla="*/ 572201 w 2777761"/>
              <a:gd name="connsiteY27" fmla="*/ 3160431 h 3788731"/>
              <a:gd name="connsiteX28" fmla="*/ 381468 w 2777761"/>
              <a:gd name="connsiteY28" fmla="*/ 3620436 h 3788731"/>
              <a:gd name="connsiteX29" fmla="*/ 196344 w 2777761"/>
              <a:gd name="connsiteY29" fmla="*/ 3665315 h 3788731"/>
              <a:gd name="connsiteX30" fmla="*/ 263662 w 2777761"/>
              <a:gd name="connsiteY30" fmla="*/ 3766291 h 3788731"/>
              <a:gd name="connsiteX31" fmla="*/ 555372 w 2777761"/>
              <a:gd name="connsiteY31" fmla="*/ 3788731 h 3788731"/>
              <a:gd name="connsiteX32" fmla="*/ 589031 w 2777761"/>
              <a:gd name="connsiteY32" fmla="*/ 3581168 h 3788731"/>
              <a:gd name="connsiteX33" fmla="*/ 645129 w 2777761"/>
              <a:gd name="connsiteY33" fmla="*/ 3575558 h 3788731"/>
              <a:gd name="connsiteX34" fmla="*/ 690008 w 2777761"/>
              <a:gd name="connsiteY34" fmla="*/ 3698974 h 3788731"/>
              <a:gd name="connsiteX35" fmla="*/ 774155 w 2777761"/>
              <a:gd name="connsiteY35" fmla="*/ 3704584 h 3788731"/>
              <a:gd name="connsiteX36" fmla="*/ 779765 w 2777761"/>
              <a:gd name="connsiteY36" fmla="*/ 3474581 h 3788731"/>
              <a:gd name="connsiteX37" fmla="*/ 746106 w 2777761"/>
              <a:gd name="connsiteY37" fmla="*/ 3205310 h 3788731"/>
              <a:gd name="connsiteX38" fmla="*/ 903181 w 2777761"/>
              <a:gd name="connsiteY38" fmla="*/ 2627499 h 3788731"/>
              <a:gd name="connsiteX39" fmla="*/ 1166842 w 2777761"/>
              <a:gd name="connsiteY39" fmla="*/ 2520912 h 3788731"/>
              <a:gd name="connsiteX40" fmla="*/ 1531480 w 2777761"/>
              <a:gd name="connsiteY40" fmla="*/ 2627499 h 3788731"/>
              <a:gd name="connsiteX41" fmla="*/ 1593188 w 2777761"/>
              <a:gd name="connsiteY41" fmla="*/ 2627499 h 3788731"/>
              <a:gd name="connsiteX42" fmla="*/ 1649286 w 2777761"/>
              <a:gd name="connsiteY42" fmla="*/ 2728476 h 3788731"/>
              <a:gd name="connsiteX43" fmla="*/ 1800751 w 2777761"/>
              <a:gd name="connsiteY43" fmla="*/ 2762134 h 3788731"/>
              <a:gd name="connsiteX44" fmla="*/ 1811971 w 2777761"/>
              <a:gd name="connsiteY44" fmla="*/ 2795793 h 3788731"/>
              <a:gd name="connsiteX45" fmla="*/ 1772702 w 2777761"/>
              <a:gd name="connsiteY45" fmla="*/ 2997747 h 3788731"/>
              <a:gd name="connsiteX46" fmla="*/ 1750263 w 2777761"/>
              <a:gd name="connsiteY46" fmla="*/ 3323116 h 3788731"/>
              <a:gd name="connsiteX47" fmla="*/ 1542700 w 2777761"/>
              <a:gd name="connsiteY47" fmla="*/ 3345555 h 3788731"/>
              <a:gd name="connsiteX48" fmla="*/ 1206111 w 2777761"/>
              <a:gd name="connsiteY48" fmla="*/ 3396044 h 3788731"/>
              <a:gd name="connsiteX49" fmla="*/ 1178062 w 2777761"/>
              <a:gd name="connsiteY49" fmla="*/ 3468971 h 3788731"/>
              <a:gd name="connsiteX50" fmla="*/ 1116354 w 2777761"/>
              <a:gd name="connsiteY50" fmla="*/ 3497020 h 3788731"/>
              <a:gd name="connsiteX51" fmla="*/ 1144403 w 2777761"/>
              <a:gd name="connsiteY51" fmla="*/ 3631656 h 3788731"/>
              <a:gd name="connsiteX52" fmla="*/ 1284648 w 2777761"/>
              <a:gd name="connsiteY52" fmla="*/ 3637266 h 3788731"/>
              <a:gd name="connsiteX53" fmla="*/ 1279038 w 2777761"/>
              <a:gd name="connsiteY53" fmla="*/ 3485801 h 3788731"/>
              <a:gd name="connsiteX54" fmla="*/ 1458552 w 2777761"/>
              <a:gd name="connsiteY54" fmla="*/ 3497020 h 3788731"/>
              <a:gd name="connsiteX55" fmla="*/ 1430503 w 2777761"/>
              <a:gd name="connsiteY55" fmla="*/ 3575558 h 3788731"/>
              <a:gd name="connsiteX56" fmla="*/ 1402454 w 2777761"/>
              <a:gd name="connsiteY56" fmla="*/ 3637266 h 3788731"/>
              <a:gd name="connsiteX57" fmla="*/ 1318307 w 2777761"/>
              <a:gd name="connsiteY57" fmla="*/ 3654095 h 3788731"/>
              <a:gd name="connsiteX58" fmla="*/ 1452943 w 2777761"/>
              <a:gd name="connsiteY58" fmla="*/ 3777511 h 3788731"/>
              <a:gd name="connsiteX59" fmla="*/ 1520260 w 2777761"/>
              <a:gd name="connsiteY59" fmla="*/ 3642876 h 3788731"/>
              <a:gd name="connsiteX60" fmla="*/ 1823190 w 2777761"/>
              <a:gd name="connsiteY60" fmla="*/ 3541899 h 3788731"/>
              <a:gd name="connsiteX61" fmla="*/ 2159779 w 2777761"/>
              <a:gd name="connsiteY61" fmla="*/ 3614826 h 3788731"/>
              <a:gd name="connsiteX62" fmla="*/ 2114901 w 2777761"/>
              <a:gd name="connsiteY62" fmla="*/ 3715803 h 3788731"/>
              <a:gd name="connsiteX63" fmla="*/ 2210268 w 2777761"/>
              <a:gd name="connsiteY63" fmla="*/ 3783121 h 3788731"/>
              <a:gd name="connsiteX64" fmla="*/ 2283195 w 2777761"/>
              <a:gd name="connsiteY64" fmla="*/ 3732633 h 3788731"/>
              <a:gd name="connsiteX65" fmla="*/ 2271976 w 2777761"/>
              <a:gd name="connsiteY65" fmla="*/ 3637266 h 3788731"/>
              <a:gd name="connsiteX66" fmla="*/ 2451490 w 2777761"/>
              <a:gd name="connsiteY66" fmla="*/ 3558728 h 3788731"/>
              <a:gd name="connsiteX67" fmla="*/ 2434660 w 2777761"/>
              <a:gd name="connsiteY67" fmla="*/ 3384824 h 3788731"/>
              <a:gd name="connsiteX68" fmla="*/ 1929777 w 2777761"/>
              <a:gd name="connsiteY68" fmla="*/ 3356775 h 3788731"/>
              <a:gd name="connsiteX69" fmla="*/ 1918557 w 2777761"/>
              <a:gd name="connsiteY69" fmla="*/ 3031406 h 3788731"/>
              <a:gd name="connsiteX70" fmla="*/ 1884898 w 2777761"/>
              <a:gd name="connsiteY70" fmla="*/ 3014576 h 3788731"/>
              <a:gd name="connsiteX71" fmla="*/ 1907338 w 2777761"/>
              <a:gd name="connsiteY71" fmla="*/ 2835062 h 3788731"/>
              <a:gd name="connsiteX72" fmla="*/ 1862459 w 2777761"/>
              <a:gd name="connsiteY72" fmla="*/ 2773354 h 3788731"/>
              <a:gd name="connsiteX73" fmla="*/ 2109291 w 2777761"/>
              <a:gd name="connsiteY73" fmla="*/ 2717256 h 3788731"/>
              <a:gd name="connsiteX74" fmla="*/ 2131730 w 2777761"/>
              <a:gd name="connsiteY74" fmla="*/ 2588230 h 3788731"/>
              <a:gd name="connsiteX75" fmla="*/ 2372952 w 2777761"/>
              <a:gd name="connsiteY75" fmla="*/ 2621889 h 3788731"/>
              <a:gd name="connsiteX76" fmla="*/ 2597345 w 2777761"/>
              <a:gd name="connsiteY76" fmla="*/ 2032858 h 3788731"/>
              <a:gd name="connsiteX77" fmla="*/ 2552466 w 2777761"/>
              <a:gd name="connsiteY77" fmla="*/ 1948711 h 3788731"/>
              <a:gd name="connsiteX78" fmla="*/ 2698322 w 2777761"/>
              <a:gd name="connsiteY78" fmla="*/ 1460657 h 3788731"/>
              <a:gd name="connsiteX79" fmla="*/ 2642224 w 2777761"/>
              <a:gd name="connsiteY79" fmla="*/ 1354071 h 3788731"/>
              <a:gd name="connsiteX80" fmla="*/ 2485148 w 2777761"/>
              <a:gd name="connsiteY80" fmla="*/ 798699 h 3788731"/>
              <a:gd name="connsiteX81" fmla="*/ 2743201 w 2777761"/>
              <a:gd name="connsiteY81" fmla="*/ 675283 h 3788731"/>
              <a:gd name="connsiteX82" fmla="*/ 2715151 w 2777761"/>
              <a:gd name="connsiteY82" fmla="*/ 434061 h 3788731"/>
              <a:gd name="connsiteX83" fmla="*/ 2631004 w 2777761"/>
              <a:gd name="connsiteY83" fmla="*/ 86253 h 3788731"/>
              <a:gd name="connsiteX0" fmla="*/ 2631004 w 2777761"/>
              <a:gd name="connsiteY0" fmla="*/ 86253 h 3788731"/>
              <a:gd name="connsiteX1" fmla="*/ 2434660 w 2777761"/>
              <a:gd name="connsiteY1" fmla="*/ 2105 h 3788731"/>
              <a:gd name="connsiteX2" fmla="*/ 2193438 w 2777761"/>
              <a:gd name="connsiteY2" fmla="*/ 159180 h 3788731"/>
              <a:gd name="connsiteX3" fmla="*/ 2092462 w 2777761"/>
              <a:gd name="connsiteY3" fmla="*/ 198449 h 3788731"/>
              <a:gd name="connsiteX4" fmla="*/ 2142950 w 2777761"/>
              <a:gd name="connsiteY4" fmla="*/ 288206 h 3788731"/>
              <a:gd name="connsiteX5" fmla="*/ 2030754 w 2777761"/>
              <a:gd name="connsiteY5" fmla="*/ 450890 h 3788731"/>
              <a:gd name="connsiteX6" fmla="*/ 2137342 w 2777761"/>
              <a:gd name="connsiteY6" fmla="*/ 585526 h 3788731"/>
              <a:gd name="connsiteX7" fmla="*/ 2159779 w 2777761"/>
              <a:gd name="connsiteY7" fmla="*/ 708942 h 3788731"/>
              <a:gd name="connsiteX8" fmla="*/ 2030754 w 2777761"/>
              <a:gd name="connsiteY8" fmla="*/ 753820 h 3788731"/>
              <a:gd name="connsiteX9" fmla="*/ 1997095 w 2777761"/>
              <a:gd name="connsiteY9" fmla="*/ 821138 h 3788731"/>
              <a:gd name="connsiteX10" fmla="*/ 1997095 w 2777761"/>
              <a:gd name="connsiteY10" fmla="*/ 708942 h 3788731"/>
              <a:gd name="connsiteX11" fmla="*/ 1946606 w 2777761"/>
              <a:gd name="connsiteY11" fmla="*/ 669673 h 3788731"/>
              <a:gd name="connsiteX12" fmla="*/ 1772702 w 2777761"/>
              <a:gd name="connsiteY12" fmla="*/ 720161 h 3788731"/>
              <a:gd name="connsiteX13" fmla="*/ 1402454 w 2777761"/>
              <a:gd name="connsiteY13" fmla="*/ 579916 h 3788731"/>
              <a:gd name="connsiteX14" fmla="*/ 1705384 w 2777761"/>
              <a:gd name="connsiteY14" fmla="*/ 1152117 h 3788731"/>
              <a:gd name="connsiteX15" fmla="*/ 1800751 w 2777761"/>
              <a:gd name="connsiteY15" fmla="*/ 1225045 h 3788731"/>
              <a:gd name="connsiteX16" fmla="*/ 1649286 w 2777761"/>
              <a:gd name="connsiteY16" fmla="*/ 1449437 h 3788731"/>
              <a:gd name="connsiteX17" fmla="*/ 1727824 w 2777761"/>
              <a:gd name="connsiteY17" fmla="*/ 1668220 h 3788731"/>
              <a:gd name="connsiteX18" fmla="*/ 1817581 w 2777761"/>
              <a:gd name="connsiteY18" fmla="*/ 1662611 h 3788731"/>
              <a:gd name="connsiteX19" fmla="*/ 1671725 w 2777761"/>
              <a:gd name="connsiteY19" fmla="*/ 1830905 h 3788731"/>
              <a:gd name="connsiteX20" fmla="*/ 914400 w 2777761"/>
              <a:gd name="connsiteY20" fmla="*/ 1578463 h 3788731"/>
              <a:gd name="connsiteX21" fmla="*/ 460005 w 2777761"/>
              <a:gd name="connsiteY21" fmla="*/ 2605060 h 3788731"/>
              <a:gd name="connsiteX22" fmla="*/ 263662 w 2777761"/>
              <a:gd name="connsiteY22" fmla="*/ 2812623 h 3788731"/>
              <a:gd name="connsiteX23" fmla="*/ 44879 w 2777761"/>
              <a:gd name="connsiteY23" fmla="*/ 2857501 h 3788731"/>
              <a:gd name="connsiteX24" fmla="*/ 0 w 2777761"/>
              <a:gd name="connsiteY24" fmla="*/ 2964088 h 3788731"/>
              <a:gd name="connsiteX25" fmla="*/ 274881 w 2777761"/>
              <a:gd name="connsiteY25" fmla="*/ 3087504 h 3788731"/>
              <a:gd name="connsiteX26" fmla="*/ 504884 w 2777761"/>
              <a:gd name="connsiteY26" fmla="*/ 2986527 h 3788731"/>
              <a:gd name="connsiteX27" fmla="*/ 471225 w 2777761"/>
              <a:gd name="connsiteY27" fmla="*/ 3115553 h 3788731"/>
              <a:gd name="connsiteX28" fmla="*/ 572201 w 2777761"/>
              <a:gd name="connsiteY28" fmla="*/ 3160431 h 3788731"/>
              <a:gd name="connsiteX29" fmla="*/ 381468 w 2777761"/>
              <a:gd name="connsiteY29" fmla="*/ 3620436 h 3788731"/>
              <a:gd name="connsiteX30" fmla="*/ 196344 w 2777761"/>
              <a:gd name="connsiteY30" fmla="*/ 3665315 h 3788731"/>
              <a:gd name="connsiteX31" fmla="*/ 263662 w 2777761"/>
              <a:gd name="connsiteY31" fmla="*/ 3766291 h 3788731"/>
              <a:gd name="connsiteX32" fmla="*/ 555372 w 2777761"/>
              <a:gd name="connsiteY32" fmla="*/ 3788731 h 3788731"/>
              <a:gd name="connsiteX33" fmla="*/ 589031 w 2777761"/>
              <a:gd name="connsiteY33" fmla="*/ 3581168 h 3788731"/>
              <a:gd name="connsiteX34" fmla="*/ 645129 w 2777761"/>
              <a:gd name="connsiteY34" fmla="*/ 3575558 h 3788731"/>
              <a:gd name="connsiteX35" fmla="*/ 690008 w 2777761"/>
              <a:gd name="connsiteY35" fmla="*/ 3698974 h 3788731"/>
              <a:gd name="connsiteX36" fmla="*/ 774155 w 2777761"/>
              <a:gd name="connsiteY36" fmla="*/ 3704584 h 3788731"/>
              <a:gd name="connsiteX37" fmla="*/ 779765 w 2777761"/>
              <a:gd name="connsiteY37" fmla="*/ 3474581 h 3788731"/>
              <a:gd name="connsiteX38" fmla="*/ 746106 w 2777761"/>
              <a:gd name="connsiteY38" fmla="*/ 3205310 h 3788731"/>
              <a:gd name="connsiteX39" fmla="*/ 903181 w 2777761"/>
              <a:gd name="connsiteY39" fmla="*/ 2627499 h 3788731"/>
              <a:gd name="connsiteX40" fmla="*/ 1166842 w 2777761"/>
              <a:gd name="connsiteY40" fmla="*/ 2520912 h 3788731"/>
              <a:gd name="connsiteX41" fmla="*/ 1531480 w 2777761"/>
              <a:gd name="connsiteY41" fmla="*/ 2627499 h 3788731"/>
              <a:gd name="connsiteX42" fmla="*/ 1593188 w 2777761"/>
              <a:gd name="connsiteY42" fmla="*/ 2627499 h 3788731"/>
              <a:gd name="connsiteX43" fmla="*/ 1649286 w 2777761"/>
              <a:gd name="connsiteY43" fmla="*/ 2728476 h 3788731"/>
              <a:gd name="connsiteX44" fmla="*/ 1800751 w 2777761"/>
              <a:gd name="connsiteY44" fmla="*/ 2762134 h 3788731"/>
              <a:gd name="connsiteX45" fmla="*/ 1811971 w 2777761"/>
              <a:gd name="connsiteY45" fmla="*/ 2795793 h 3788731"/>
              <a:gd name="connsiteX46" fmla="*/ 1772702 w 2777761"/>
              <a:gd name="connsiteY46" fmla="*/ 2997747 h 3788731"/>
              <a:gd name="connsiteX47" fmla="*/ 1750263 w 2777761"/>
              <a:gd name="connsiteY47" fmla="*/ 3323116 h 3788731"/>
              <a:gd name="connsiteX48" fmla="*/ 1542700 w 2777761"/>
              <a:gd name="connsiteY48" fmla="*/ 3345555 h 3788731"/>
              <a:gd name="connsiteX49" fmla="*/ 1206111 w 2777761"/>
              <a:gd name="connsiteY49" fmla="*/ 3396044 h 3788731"/>
              <a:gd name="connsiteX50" fmla="*/ 1178062 w 2777761"/>
              <a:gd name="connsiteY50" fmla="*/ 3468971 h 3788731"/>
              <a:gd name="connsiteX51" fmla="*/ 1116354 w 2777761"/>
              <a:gd name="connsiteY51" fmla="*/ 3497020 h 3788731"/>
              <a:gd name="connsiteX52" fmla="*/ 1144403 w 2777761"/>
              <a:gd name="connsiteY52" fmla="*/ 3631656 h 3788731"/>
              <a:gd name="connsiteX53" fmla="*/ 1284648 w 2777761"/>
              <a:gd name="connsiteY53" fmla="*/ 3637266 h 3788731"/>
              <a:gd name="connsiteX54" fmla="*/ 1279038 w 2777761"/>
              <a:gd name="connsiteY54" fmla="*/ 3485801 h 3788731"/>
              <a:gd name="connsiteX55" fmla="*/ 1458552 w 2777761"/>
              <a:gd name="connsiteY55" fmla="*/ 3497020 h 3788731"/>
              <a:gd name="connsiteX56" fmla="*/ 1430503 w 2777761"/>
              <a:gd name="connsiteY56" fmla="*/ 3575558 h 3788731"/>
              <a:gd name="connsiteX57" fmla="*/ 1402454 w 2777761"/>
              <a:gd name="connsiteY57" fmla="*/ 3637266 h 3788731"/>
              <a:gd name="connsiteX58" fmla="*/ 1318307 w 2777761"/>
              <a:gd name="connsiteY58" fmla="*/ 3654095 h 3788731"/>
              <a:gd name="connsiteX59" fmla="*/ 1452943 w 2777761"/>
              <a:gd name="connsiteY59" fmla="*/ 3777511 h 3788731"/>
              <a:gd name="connsiteX60" fmla="*/ 1520260 w 2777761"/>
              <a:gd name="connsiteY60" fmla="*/ 3642876 h 3788731"/>
              <a:gd name="connsiteX61" fmla="*/ 1823190 w 2777761"/>
              <a:gd name="connsiteY61" fmla="*/ 3541899 h 3788731"/>
              <a:gd name="connsiteX62" fmla="*/ 2159779 w 2777761"/>
              <a:gd name="connsiteY62" fmla="*/ 3614826 h 3788731"/>
              <a:gd name="connsiteX63" fmla="*/ 2114901 w 2777761"/>
              <a:gd name="connsiteY63" fmla="*/ 3715803 h 3788731"/>
              <a:gd name="connsiteX64" fmla="*/ 2210268 w 2777761"/>
              <a:gd name="connsiteY64" fmla="*/ 3783121 h 3788731"/>
              <a:gd name="connsiteX65" fmla="*/ 2283195 w 2777761"/>
              <a:gd name="connsiteY65" fmla="*/ 3732633 h 3788731"/>
              <a:gd name="connsiteX66" fmla="*/ 2271976 w 2777761"/>
              <a:gd name="connsiteY66" fmla="*/ 3637266 h 3788731"/>
              <a:gd name="connsiteX67" fmla="*/ 2451490 w 2777761"/>
              <a:gd name="connsiteY67" fmla="*/ 3558728 h 3788731"/>
              <a:gd name="connsiteX68" fmla="*/ 2434660 w 2777761"/>
              <a:gd name="connsiteY68" fmla="*/ 3384824 h 3788731"/>
              <a:gd name="connsiteX69" fmla="*/ 1929777 w 2777761"/>
              <a:gd name="connsiteY69" fmla="*/ 3356775 h 3788731"/>
              <a:gd name="connsiteX70" fmla="*/ 1918557 w 2777761"/>
              <a:gd name="connsiteY70" fmla="*/ 3031406 h 3788731"/>
              <a:gd name="connsiteX71" fmla="*/ 1884898 w 2777761"/>
              <a:gd name="connsiteY71" fmla="*/ 3014576 h 3788731"/>
              <a:gd name="connsiteX72" fmla="*/ 1907338 w 2777761"/>
              <a:gd name="connsiteY72" fmla="*/ 2835062 h 3788731"/>
              <a:gd name="connsiteX73" fmla="*/ 1862459 w 2777761"/>
              <a:gd name="connsiteY73" fmla="*/ 2773354 h 3788731"/>
              <a:gd name="connsiteX74" fmla="*/ 2109291 w 2777761"/>
              <a:gd name="connsiteY74" fmla="*/ 2717256 h 3788731"/>
              <a:gd name="connsiteX75" fmla="*/ 2131730 w 2777761"/>
              <a:gd name="connsiteY75" fmla="*/ 2588230 h 3788731"/>
              <a:gd name="connsiteX76" fmla="*/ 2372952 w 2777761"/>
              <a:gd name="connsiteY76" fmla="*/ 2621889 h 3788731"/>
              <a:gd name="connsiteX77" fmla="*/ 2597345 w 2777761"/>
              <a:gd name="connsiteY77" fmla="*/ 2032858 h 3788731"/>
              <a:gd name="connsiteX78" fmla="*/ 2552466 w 2777761"/>
              <a:gd name="connsiteY78" fmla="*/ 1948711 h 3788731"/>
              <a:gd name="connsiteX79" fmla="*/ 2698322 w 2777761"/>
              <a:gd name="connsiteY79" fmla="*/ 1460657 h 3788731"/>
              <a:gd name="connsiteX80" fmla="*/ 2642224 w 2777761"/>
              <a:gd name="connsiteY80" fmla="*/ 1354071 h 3788731"/>
              <a:gd name="connsiteX81" fmla="*/ 2485148 w 2777761"/>
              <a:gd name="connsiteY81" fmla="*/ 798699 h 3788731"/>
              <a:gd name="connsiteX82" fmla="*/ 2743201 w 2777761"/>
              <a:gd name="connsiteY82" fmla="*/ 675283 h 3788731"/>
              <a:gd name="connsiteX83" fmla="*/ 2715151 w 2777761"/>
              <a:gd name="connsiteY83" fmla="*/ 434061 h 3788731"/>
              <a:gd name="connsiteX84" fmla="*/ 2631004 w 2777761"/>
              <a:gd name="connsiteY84" fmla="*/ 86253 h 3788731"/>
              <a:gd name="connsiteX0" fmla="*/ 2631004 w 2777761"/>
              <a:gd name="connsiteY0" fmla="*/ 86253 h 3788731"/>
              <a:gd name="connsiteX1" fmla="*/ 2434660 w 2777761"/>
              <a:gd name="connsiteY1" fmla="*/ 2105 h 3788731"/>
              <a:gd name="connsiteX2" fmla="*/ 2193438 w 2777761"/>
              <a:gd name="connsiteY2" fmla="*/ 159180 h 3788731"/>
              <a:gd name="connsiteX3" fmla="*/ 2092462 w 2777761"/>
              <a:gd name="connsiteY3" fmla="*/ 198449 h 3788731"/>
              <a:gd name="connsiteX4" fmla="*/ 2142950 w 2777761"/>
              <a:gd name="connsiteY4" fmla="*/ 288206 h 3788731"/>
              <a:gd name="connsiteX5" fmla="*/ 2030754 w 2777761"/>
              <a:gd name="connsiteY5" fmla="*/ 450890 h 3788731"/>
              <a:gd name="connsiteX6" fmla="*/ 2137342 w 2777761"/>
              <a:gd name="connsiteY6" fmla="*/ 585526 h 3788731"/>
              <a:gd name="connsiteX7" fmla="*/ 2159779 w 2777761"/>
              <a:gd name="connsiteY7" fmla="*/ 708942 h 3788731"/>
              <a:gd name="connsiteX8" fmla="*/ 2030754 w 2777761"/>
              <a:gd name="connsiteY8" fmla="*/ 753820 h 3788731"/>
              <a:gd name="connsiteX9" fmla="*/ 1997095 w 2777761"/>
              <a:gd name="connsiteY9" fmla="*/ 821138 h 3788731"/>
              <a:gd name="connsiteX10" fmla="*/ 1997095 w 2777761"/>
              <a:gd name="connsiteY10" fmla="*/ 708942 h 3788731"/>
              <a:gd name="connsiteX11" fmla="*/ 1946606 w 2777761"/>
              <a:gd name="connsiteY11" fmla="*/ 669673 h 3788731"/>
              <a:gd name="connsiteX12" fmla="*/ 1783922 w 2777761"/>
              <a:gd name="connsiteY12" fmla="*/ 770649 h 3788731"/>
              <a:gd name="connsiteX13" fmla="*/ 1402454 w 2777761"/>
              <a:gd name="connsiteY13" fmla="*/ 579916 h 3788731"/>
              <a:gd name="connsiteX14" fmla="*/ 1705384 w 2777761"/>
              <a:gd name="connsiteY14" fmla="*/ 1152117 h 3788731"/>
              <a:gd name="connsiteX15" fmla="*/ 1800751 w 2777761"/>
              <a:gd name="connsiteY15" fmla="*/ 1225045 h 3788731"/>
              <a:gd name="connsiteX16" fmla="*/ 1649286 w 2777761"/>
              <a:gd name="connsiteY16" fmla="*/ 1449437 h 3788731"/>
              <a:gd name="connsiteX17" fmla="*/ 1727824 w 2777761"/>
              <a:gd name="connsiteY17" fmla="*/ 1668220 h 3788731"/>
              <a:gd name="connsiteX18" fmla="*/ 1817581 w 2777761"/>
              <a:gd name="connsiteY18" fmla="*/ 1662611 h 3788731"/>
              <a:gd name="connsiteX19" fmla="*/ 1671725 w 2777761"/>
              <a:gd name="connsiteY19" fmla="*/ 1830905 h 3788731"/>
              <a:gd name="connsiteX20" fmla="*/ 914400 w 2777761"/>
              <a:gd name="connsiteY20" fmla="*/ 1578463 h 3788731"/>
              <a:gd name="connsiteX21" fmla="*/ 460005 w 2777761"/>
              <a:gd name="connsiteY21" fmla="*/ 2605060 h 3788731"/>
              <a:gd name="connsiteX22" fmla="*/ 263662 w 2777761"/>
              <a:gd name="connsiteY22" fmla="*/ 2812623 h 3788731"/>
              <a:gd name="connsiteX23" fmla="*/ 44879 w 2777761"/>
              <a:gd name="connsiteY23" fmla="*/ 2857501 h 3788731"/>
              <a:gd name="connsiteX24" fmla="*/ 0 w 2777761"/>
              <a:gd name="connsiteY24" fmla="*/ 2964088 h 3788731"/>
              <a:gd name="connsiteX25" fmla="*/ 274881 w 2777761"/>
              <a:gd name="connsiteY25" fmla="*/ 3087504 h 3788731"/>
              <a:gd name="connsiteX26" fmla="*/ 504884 w 2777761"/>
              <a:gd name="connsiteY26" fmla="*/ 2986527 h 3788731"/>
              <a:gd name="connsiteX27" fmla="*/ 471225 w 2777761"/>
              <a:gd name="connsiteY27" fmla="*/ 3115553 h 3788731"/>
              <a:gd name="connsiteX28" fmla="*/ 572201 w 2777761"/>
              <a:gd name="connsiteY28" fmla="*/ 3160431 h 3788731"/>
              <a:gd name="connsiteX29" fmla="*/ 381468 w 2777761"/>
              <a:gd name="connsiteY29" fmla="*/ 3620436 h 3788731"/>
              <a:gd name="connsiteX30" fmla="*/ 196344 w 2777761"/>
              <a:gd name="connsiteY30" fmla="*/ 3665315 h 3788731"/>
              <a:gd name="connsiteX31" fmla="*/ 263662 w 2777761"/>
              <a:gd name="connsiteY31" fmla="*/ 3766291 h 3788731"/>
              <a:gd name="connsiteX32" fmla="*/ 555372 w 2777761"/>
              <a:gd name="connsiteY32" fmla="*/ 3788731 h 3788731"/>
              <a:gd name="connsiteX33" fmla="*/ 589031 w 2777761"/>
              <a:gd name="connsiteY33" fmla="*/ 3581168 h 3788731"/>
              <a:gd name="connsiteX34" fmla="*/ 645129 w 2777761"/>
              <a:gd name="connsiteY34" fmla="*/ 3575558 h 3788731"/>
              <a:gd name="connsiteX35" fmla="*/ 690008 w 2777761"/>
              <a:gd name="connsiteY35" fmla="*/ 3698974 h 3788731"/>
              <a:gd name="connsiteX36" fmla="*/ 774155 w 2777761"/>
              <a:gd name="connsiteY36" fmla="*/ 3704584 h 3788731"/>
              <a:gd name="connsiteX37" fmla="*/ 779765 w 2777761"/>
              <a:gd name="connsiteY37" fmla="*/ 3474581 h 3788731"/>
              <a:gd name="connsiteX38" fmla="*/ 746106 w 2777761"/>
              <a:gd name="connsiteY38" fmla="*/ 3205310 h 3788731"/>
              <a:gd name="connsiteX39" fmla="*/ 903181 w 2777761"/>
              <a:gd name="connsiteY39" fmla="*/ 2627499 h 3788731"/>
              <a:gd name="connsiteX40" fmla="*/ 1166842 w 2777761"/>
              <a:gd name="connsiteY40" fmla="*/ 2520912 h 3788731"/>
              <a:gd name="connsiteX41" fmla="*/ 1531480 w 2777761"/>
              <a:gd name="connsiteY41" fmla="*/ 2627499 h 3788731"/>
              <a:gd name="connsiteX42" fmla="*/ 1593188 w 2777761"/>
              <a:gd name="connsiteY42" fmla="*/ 2627499 h 3788731"/>
              <a:gd name="connsiteX43" fmla="*/ 1649286 w 2777761"/>
              <a:gd name="connsiteY43" fmla="*/ 2728476 h 3788731"/>
              <a:gd name="connsiteX44" fmla="*/ 1800751 w 2777761"/>
              <a:gd name="connsiteY44" fmla="*/ 2762134 h 3788731"/>
              <a:gd name="connsiteX45" fmla="*/ 1811971 w 2777761"/>
              <a:gd name="connsiteY45" fmla="*/ 2795793 h 3788731"/>
              <a:gd name="connsiteX46" fmla="*/ 1772702 w 2777761"/>
              <a:gd name="connsiteY46" fmla="*/ 2997747 h 3788731"/>
              <a:gd name="connsiteX47" fmla="*/ 1750263 w 2777761"/>
              <a:gd name="connsiteY47" fmla="*/ 3323116 h 3788731"/>
              <a:gd name="connsiteX48" fmla="*/ 1542700 w 2777761"/>
              <a:gd name="connsiteY48" fmla="*/ 3345555 h 3788731"/>
              <a:gd name="connsiteX49" fmla="*/ 1206111 w 2777761"/>
              <a:gd name="connsiteY49" fmla="*/ 3396044 h 3788731"/>
              <a:gd name="connsiteX50" fmla="*/ 1178062 w 2777761"/>
              <a:gd name="connsiteY50" fmla="*/ 3468971 h 3788731"/>
              <a:gd name="connsiteX51" fmla="*/ 1116354 w 2777761"/>
              <a:gd name="connsiteY51" fmla="*/ 3497020 h 3788731"/>
              <a:gd name="connsiteX52" fmla="*/ 1144403 w 2777761"/>
              <a:gd name="connsiteY52" fmla="*/ 3631656 h 3788731"/>
              <a:gd name="connsiteX53" fmla="*/ 1284648 w 2777761"/>
              <a:gd name="connsiteY53" fmla="*/ 3637266 h 3788731"/>
              <a:gd name="connsiteX54" fmla="*/ 1279038 w 2777761"/>
              <a:gd name="connsiteY54" fmla="*/ 3485801 h 3788731"/>
              <a:gd name="connsiteX55" fmla="*/ 1458552 w 2777761"/>
              <a:gd name="connsiteY55" fmla="*/ 3497020 h 3788731"/>
              <a:gd name="connsiteX56" fmla="*/ 1430503 w 2777761"/>
              <a:gd name="connsiteY56" fmla="*/ 3575558 h 3788731"/>
              <a:gd name="connsiteX57" fmla="*/ 1402454 w 2777761"/>
              <a:gd name="connsiteY57" fmla="*/ 3637266 h 3788731"/>
              <a:gd name="connsiteX58" fmla="*/ 1318307 w 2777761"/>
              <a:gd name="connsiteY58" fmla="*/ 3654095 h 3788731"/>
              <a:gd name="connsiteX59" fmla="*/ 1452943 w 2777761"/>
              <a:gd name="connsiteY59" fmla="*/ 3777511 h 3788731"/>
              <a:gd name="connsiteX60" fmla="*/ 1520260 w 2777761"/>
              <a:gd name="connsiteY60" fmla="*/ 3642876 h 3788731"/>
              <a:gd name="connsiteX61" fmla="*/ 1823190 w 2777761"/>
              <a:gd name="connsiteY61" fmla="*/ 3541899 h 3788731"/>
              <a:gd name="connsiteX62" fmla="*/ 2159779 w 2777761"/>
              <a:gd name="connsiteY62" fmla="*/ 3614826 h 3788731"/>
              <a:gd name="connsiteX63" fmla="*/ 2114901 w 2777761"/>
              <a:gd name="connsiteY63" fmla="*/ 3715803 h 3788731"/>
              <a:gd name="connsiteX64" fmla="*/ 2210268 w 2777761"/>
              <a:gd name="connsiteY64" fmla="*/ 3783121 h 3788731"/>
              <a:gd name="connsiteX65" fmla="*/ 2283195 w 2777761"/>
              <a:gd name="connsiteY65" fmla="*/ 3732633 h 3788731"/>
              <a:gd name="connsiteX66" fmla="*/ 2271976 w 2777761"/>
              <a:gd name="connsiteY66" fmla="*/ 3637266 h 3788731"/>
              <a:gd name="connsiteX67" fmla="*/ 2451490 w 2777761"/>
              <a:gd name="connsiteY67" fmla="*/ 3558728 h 3788731"/>
              <a:gd name="connsiteX68" fmla="*/ 2434660 w 2777761"/>
              <a:gd name="connsiteY68" fmla="*/ 3384824 h 3788731"/>
              <a:gd name="connsiteX69" fmla="*/ 1929777 w 2777761"/>
              <a:gd name="connsiteY69" fmla="*/ 3356775 h 3788731"/>
              <a:gd name="connsiteX70" fmla="*/ 1918557 w 2777761"/>
              <a:gd name="connsiteY70" fmla="*/ 3031406 h 3788731"/>
              <a:gd name="connsiteX71" fmla="*/ 1884898 w 2777761"/>
              <a:gd name="connsiteY71" fmla="*/ 3014576 h 3788731"/>
              <a:gd name="connsiteX72" fmla="*/ 1907338 w 2777761"/>
              <a:gd name="connsiteY72" fmla="*/ 2835062 h 3788731"/>
              <a:gd name="connsiteX73" fmla="*/ 1862459 w 2777761"/>
              <a:gd name="connsiteY73" fmla="*/ 2773354 h 3788731"/>
              <a:gd name="connsiteX74" fmla="*/ 2109291 w 2777761"/>
              <a:gd name="connsiteY74" fmla="*/ 2717256 h 3788731"/>
              <a:gd name="connsiteX75" fmla="*/ 2131730 w 2777761"/>
              <a:gd name="connsiteY75" fmla="*/ 2588230 h 3788731"/>
              <a:gd name="connsiteX76" fmla="*/ 2372952 w 2777761"/>
              <a:gd name="connsiteY76" fmla="*/ 2621889 h 3788731"/>
              <a:gd name="connsiteX77" fmla="*/ 2597345 w 2777761"/>
              <a:gd name="connsiteY77" fmla="*/ 2032858 h 3788731"/>
              <a:gd name="connsiteX78" fmla="*/ 2552466 w 2777761"/>
              <a:gd name="connsiteY78" fmla="*/ 1948711 h 3788731"/>
              <a:gd name="connsiteX79" fmla="*/ 2698322 w 2777761"/>
              <a:gd name="connsiteY79" fmla="*/ 1460657 h 3788731"/>
              <a:gd name="connsiteX80" fmla="*/ 2642224 w 2777761"/>
              <a:gd name="connsiteY80" fmla="*/ 1354071 h 3788731"/>
              <a:gd name="connsiteX81" fmla="*/ 2485148 w 2777761"/>
              <a:gd name="connsiteY81" fmla="*/ 798699 h 3788731"/>
              <a:gd name="connsiteX82" fmla="*/ 2743201 w 2777761"/>
              <a:gd name="connsiteY82" fmla="*/ 675283 h 3788731"/>
              <a:gd name="connsiteX83" fmla="*/ 2715151 w 2777761"/>
              <a:gd name="connsiteY83" fmla="*/ 434061 h 3788731"/>
              <a:gd name="connsiteX84" fmla="*/ 2631004 w 2777761"/>
              <a:gd name="connsiteY84" fmla="*/ 86253 h 3788731"/>
              <a:gd name="connsiteX0" fmla="*/ 2631004 w 2777761"/>
              <a:gd name="connsiteY0" fmla="*/ 86253 h 3788731"/>
              <a:gd name="connsiteX1" fmla="*/ 2434660 w 2777761"/>
              <a:gd name="connsiteY1" fmla="*/ 2105 h 3788731"/>
              <a:gd name="connsiteX2" fmla="*/ 2193438 w 2777761"/>
              <a:gd name="connsiteY2" fmla="*/ 159180 h 3788731"/>
              <a:gd name="connsiteX3" fmla="*/ 2092462 w 2777761"/>
              <a:gd name="connsiteY3" fmla="*/ 198449 h 3788731"/>
              <a:gd name="connsiteX4" fmla="*/ 2142950 w 2777761"/>
              <a:gd name="connsiteY4" fmla="*/ 288206 h 3788731"/>
              <a:gd name="connsiteX5" fmla="*/ 2030754 w 2777761"/>
              <a:gd name="connsiteY5" fmla="*/ 450890 h 3788731"/>
              <a:gd name="connsiteX6" fmla="*/ 2137342 w 2777761"/>
              <a:gd name="connsiteY6" fmla="*/ 585526 h 3788731"/>
              <a:gd name="connsiteX7" fmla="*/ 2159779 w 2777761"/>
              <a:gd name="connsiteY7" fmla="*/ 708942 h 3788731"/>
              <a:gd name="connsiteX8" fmla="*/ 2030754 w 2777761"/>
              <a:gd name="connsiteY8" fmla="*/ 753820 h 3788731"/>
              <a:gd name="connsiteX9" fmla="*/ 1997095 w 2777761"/>
              <a:gd name="connsiteY9" fmla="*/ 821138 h 3788731"/>
              <a:gd name="connsiteX10" fmla="*/ 1997095 w 2777761"/>
              <a:gd name="connsiteY10" fmla="*/ 708942 h 3788731"/>
              <a:gd name="connsiteX11" fmla="*/ 1946606 w 2777761"/>
              <a:gd name="connsiteY11" fmla="*/ 669673 h 3788731"/>
              <a:gd name="connsiteX12" fmla="*/ 1783922 w 2777761"/>
              <a:gd name="connsiteY12" fmla="*/ 770649 h 3788731"/>
              <a:gd name="connsiteX13" fmla="*/ 1402454 w 2777761"/>
              <a:gd name="connsiteY13" fmla="*/ 579916 h 3788731"/>
              <a:gd name="connsiteX14" fmla="*/ 1666115 w 2777761"/>
              <a:gd name="connsiteY14" fmla="*/ 1129678 h 3788731"/>
              <a:gd name="connsiteX15" fmla="*/ 1800751 w 2777761"/>
              <a:gd name="connsiteY15" fmla="*/ 1225045 h 3788731"/>
              <a:gd name="connsiteX16" fmla="*/ 1649286 w 2777761"/>
              <a:gd name="connsiteY16" fmla="*/ 1449437 h 3788731"/>
              <a:gd name="connsiteX17" fmla="*/ 1727824 w 2777761"/>
              <a:gd name="connsiteY17" fmla="*/ 1668220 h 3788731"/>
              <a:gd name="connsiteX18" fmla="*/ 1817581 w 2777761"/>
              <a:gd name="connsiteY18" fmla="*/ 1662611 h 3788731"/>
              <a:gd name="connsiteX19" fmla="*/ 1671725 w 2777761"/>
              <a:gd name="connsiteY19" fmla="*/ 1830905 h 3788731"/>
              <a:gd name="connsiteX20" fmla="*/ 914400 w 2777761"/>
              <a:gd name="connsiteY20" fmla="*/ 1578463 h 3788731"/>
              <a:gd name="connsiteX21" fmla="*/ 460005 w 2777761"/>
              <a:gd name="connsiteY21" fmla="*/ 2605060 h 3788731"/>
              <a:gd name="connsiteX22" fmla="*/ 263662 w 2777761"/>
              <a:gd name="connsiteY22" fmla="*/ 2812623 h 3788731"/>
              <a:gd name="connsiteX23" fmla="*/ 44879 w 2777761"/>
              <a:gd name="connsiteY23" fmla="*/ 2857501 h 3788731"/>
              <a:gd name="connsiteX24" fmla="*/ 0 w 2777761"/>
              <a:gd name="connsiteY24" fmla="*/ 2964088 h 3788731"/>
              <a:gd name="connsiteX25" fmla="*/ 274881 w 2777761"/>
              <a:gd name="connsiteY25" fmla="*/ 3087504 h 3788731"/>
              <a:gd name="connsiteX26" fmla="*/ 504884 w 2777761"/>
              <a:gd name="connsiteY26" fmla="*/ 2986527 h 3788731"/>
              <a:gd name="connsiteX27" fmla="*/ 471225 w 2777761"/>
              <a:gd name="connsiteY27" fmla="*/ 3115553 h 3788731"/>
              <a:gd name="connsiteX28" fmla="*/ 572201 w 2777761"/>
              <a:gd name="connsiteY28" fmla="*/ 3160431 h 3788731"/>
              <a:gd name="connsiteX29" fmla="*/ 381468 w 2777761"/>
              <a:gd name="connsiteY29" fmla="*/ 3620436 h 3788731"/>
              <a:gd name="connsiteX30" fmla="*/ 196344 w 2777761"/>
              <a:gd name="connsiteY30" fmla="*/ 3665315 h 3788731"/>
              <a:gd name="connsiteX31" fmla="*/ 263662 w 2777761"/>
              <a:gd name="connsiteY31" fmla="*/ 3766291 h 3788731"/>
              <a:gd name="connsiteX32" fmla="*/ 555372 w 2777761"/>
              <a:gd name="connsiteY32" fmla="*/ 3788731 h 3788731"/>
              <a:gd name="connsiteX33" fmla="*/ 589031 w 2777761"/>
              <a:gd name="connsiteY33" fmla="*/ 3581168 h 3788731"/>
              <a:gd name="connsiteX34" fmla="*/ 645129 w 2777761"/>
              <a:gd name="connsiteY34" fmla="*/ 3575558 h 3788731"/>
              <a:gd name="connsiteX35" fmla="*/ 690008 w 2777761"/>
              <a:gd name="connsiteY35" fmla="*/ 3698974 h 3788731"/>
              <a:gd name="connsiteX36" fmla="*/ 774155 w 2777761"/>
              <a:gd name="connsiteY36" fmla="*/ 3704584 h 3788731"/>
              <a:gd name="connsiteX37" fmla="*/ 779765 w 2777761"/>
              <a:gd name="connsiteY37" fmla="*/ 3474581 h 3788731"/>
              <a:gd name="connsiteX38" fmla="*/ 746106 w 2777761"/>
              <a:gd name="connsiteY38" fmla="*/ 3205310 h 3788731"/>
              <a:gd name="connsiteX39" fmla="*/ 903181 w 2777761"/>
              <a:gd name="connsiteY39" fmla="*/ 2627499 h 3788731"/>
              <a:gd name="connsiteX40" fmla="*/ 1166842 w 2777761"/>
              <a:gd name="connsiteY40" fmla="*/ 2520912 h 3788731"/>
              <a:gd name="connsiteX41" fmla="*/ 1531480 w 2777761"/>
              <a:gd name="connsiteY41" fmla="*/ 2627499 h 3788731"/>
              <a:gd name="connsiteX42" fmla="*/ 1593188 w 2777761"/>
              <a:gd name="connsiteY42" fmla="*/ 2627499 h 3788731"/>
              <a:gd name="connsiteX43" fmla="*/ 1649286 w 2777761"/>
              <a:gd name="connsiteY43" fmla="*/ 2728476 h 3788731"/>
              <a:gd name="connsiteX44" fmla="*/ 1800751 w 2777761"/>
              <a:gd name="connsiteY44" fmla="*/ 2762134 h 3788731"/>
              <a:gd name="connsiteX45" fmla="*/ 1811971 w 2777761"/>
              <a:gd name="connsiteY45" fmla="*/ 2795793 h 3788731"/>
              <a:gd name="connsiteX46" fmla="*/ 1772702 w 2777761"/>
              <a:gd name="connsiteY46" fmla="*/ 2997747 h 3788731"/>
              <a:gd name="connsiteX47" fmla="*/ 1750263 w 2777761"/>
              <a:gd name="connsiteY47" fmla="*/ 3323116 h 3788731"/>
              <a:gd name="connsiteX48" fmla="*/ 1542700 w 2777761"/>
              <a:gd name="connsiteY48" fmla="*/ 3345555 h 3788731"/>
              <a:gd name="connsiteX49" fmla="*/ 1206111 w 2777761"/>
              <a:gd name="connsiteY49" fmla="*/ 3396044 h 3788731"/>
              <a:gd name="connsiteX50" fmla="*/ 1178062 w 2777761"/>
              <a:gd name="connsiteY50" fmla="*/ 3468971 h 3788731"/>
              <a:gd name="connsiteX51" fmla="*/ 1116354 w 2777761"/>
              <a:gd name="connsiteY51" fmla="*/ 3497020 h 3788731"/>
              <a:gd name="connsiteX52" fmla="*/ 1144403 w 2777761"/>
              <a:gd name="connsiteY52" fmla="*/ 3631656 h 3788731"/>
              <a:gd name="connsiteX53" fmla="*/ 1284648 w 2777761"/>
              <a:gd name="connsiteY53" fmla="*/ 3637266 h 3788731"/>
              <a:gd name="connsiteX54" fmla="*/ 1279038 w 2777761"/>
              <a:gd name="connsiteY54" fmla="*/ 3485801 h 3788731"/>
              <a:gd name="connsiteX55" fmla="*/ 1458552 w 2777761"/>
              <a:gd name="connsiteY55" fmla="*/ 3497020 h 3788731"/>
              <a:gd name="connsiteX56" fmla="*/ 1430503 w 2777761"/>
              <a:gd name="connsiteY56" fmla="*/ 3575558 h 3788731"/>
              <a:gd name="connsiteX57" fmla="*/ 1402454 w 2777761"/>
              <a:gd name="connsiteY57" fmla="*/ 3637266 h 3788731"/>
              <a:gd name="connsiteX58" fmla="*/ 1318307 w 2777761"/>
              <a:gd name="connsiteY58" fmla="*/ 3654095 h 3788731"/>
              <a:gd name="connsiteX59" fmla="*/ 1452943 w 2777761"/>
              <a:gd name="connsiteY59" fmla="*/ 3777511 h 3788731"/>
              <a:gd name="connsiteX60" fmla="*/ 1520260 w 2777761"/>
              <a:gd name="connsiteY60" fmla="*/ 3642876 h 3788731"/>
              <a:gd name="connsiteX61" fmla="*/ 1823190 w 2777761"/>
              <a:gd name="connsiteY61" fmla="*/ 3541899 h 3788731"/>
              <a:gd name="connsiteX62" fmla="*/ 2159779 w 2777761"/>
              <a:gd name="connsiteY62" fmla="*/ 3614826 h 3788731"/>
              <a:gd name="connsiteX63" fmla="*/ 2114901 w 2777761"/>
              <a:gd name="connsiteY63" fmla="*/ 3715803 h 3788731"/>
              <a:gd name="connsiteX64" fmla="*/ 2210268 w 2777761"/>
              <a:gd name="connsiteY64" fmla="*/ 3783121 h 3788731"/>
              <a:gd name="connsiteX65" fmla="*/ 2283195 w 2777761"/>
              <a:gd name="connsiteY65" fmla="*/ 3732633 h 3788731"/>
              <a:gd name="connsiteX66" fmla="*/ 2271976 w 2777761"/>
              <a:gd name="connsiteY66" fmla="*/ 3637266 h 3788731"/>
              <a:gd name="connsiteX67" fmla="*/ 2451490 w 2777761"/>
              <a:gd name="connsiteY67" fmla="*/ 3558728 h 3788731"/>
              <a:gd name="connsiteX68" fmla="*/ 2434660 w 2777761"/>
              <a:gd name="connsiteY68" fmla="*/ 3384824 h 3788731"/>
              <a:gd name="connsiteX69" fmla="*/ 1929777 w 2777761"/>
              <a:gd name="connsiteY69" fmla="*/ 3356775 h 3788731"/>
              <a:gd name="connsiteX70" fmla="*/ 1918557 w 2777761"/>
              <a:gd name="connsiteY70" fmla="*/ 3031406 h 3788731"/>
              <a:gd name="connsiteX71" fmla="*/ 1884898 w 2777761"/>
              <a:gd name="connsiteY71" fmla="*/ 3014576 h 3788731"/>
              <a:gd name="connsiteX72" fmla="*/ 1907338 w 2777761"/>
              <a:gd name="connsiteY72" fmla="*/ 2835062 h 3788731"/>
              <a:gd name="connsiteX73" fmla="*/ 1862459 w 2777761"/>
              <a:gd name="connsiteY73" fmla="*/ 2773354 h 3788731"/>
              <a:gd name="connsiteX74" fmla="*/ 2109291 w 2777761"/>
              <a:gd name="connsiteY74" fmla="*/ 2717256 h 3788731"/>
              <a:gd name="connsiteX75" fmla="*/ 2131730 w 2777761"/>
              <a:gd name="connsiteY75" fmla="*/ 2588230 h 3788731"/>
              <a:gd name="connsiteX76" fmla="*/ 2372952 w 2777761"/>
              <a:gd name="connsiteY76" fmla="*/ 2621889 h 3788731"/>
              <a:gd name="connsiteX77" fmla="*/ 2597345 w 2777761"/>
              <a:gd name="connsiteY77" fmla="*/ 2032858 h 3788731"/>
              <a:gd name="connsiteX78" fmla="*/ 2552466 w 2777761"/>
              <a:gd name="connsiteY78" fmla="*/ 1948711 h 3788731"/>
              <a:gd name="connsiteX79" fmla="*/ 2698322 w 2777761"/>
              <a:gd name="connsiteY79" fmla="*/ 1460657 h 3788731"/>
              <a:gd name="connsiteX80" fmla="*/ 2642224 w 2777761"/>
              <a:gd name="connsiteY80" fmla="*/ 1354071 h 3788731"/>
              <a:gd name="connsiteX81" fmla="*/ 2485148 w 2777761"/>
              <a:gd name="connsiteY81" fmla="*/ 798699 h 3788731"/>
              <a:gd name="connsiteX82" fmla="*/ 2743201 w 2777761"/>
              <a:gd name="connsiteY82" fmla="*/ 675283 h 3788731"/>
              <a:gd name="connsiteX83" fmla="*/ 2715151 w 2777761"/>
              <a:gd name="connsiteY83" fmla="*/ 434061 h 3788731"/>
              <a:gd name="connsiteX84" fmla="*/ 2631004 w 2777761"/>
              <a:gd name="connsiteY84" fmla="*/ 86253 h 3788731"/>
              <a:gd name="connsiteX0" fmla="*/ 2631004 w 2777761"/>
              <a:gd name="connsiteY0" fmla="*/ 86253 h 3788731"/>
              <a:gd name="connsiteX1" fmla="*/ 2434660 w 2777761"/>
              <a:gd name="connsiteY1" fmla="*/ 2105 h 3788731"/>
              <a:gd name="connsiteX2" fmla="*/ 2193438 w 2777761"/>
              <a:gd name="connsiteY2" fmla="*/ 159180 h 3788731"/>
              <a:gd name="connsiteX3" fmla="*/ 2092462 w 2777761"/>
              <a:gd name="connsiteY3" fmla="*/ 198449 h 3788731"/>
              <a:gd name="connsiteX4" fmla="*/ 2142950 w 2777761"/>
              <a:gd name="connsiteY4" fmla="*/ 288206 h 3788731"/>
              <a:gd name="connsiteX5" fmla="*/ 2030754 w 2777761"/>
              <a:gd name="connsiteY5" fmla="*/ 450890 h 3788731"/>
              <a:gd name="connsiteX6" fmla="*/ 2137342 w 2777761"/>
              <a:gd name="connsiteY6" fmla="*/ 585526 h 3788731"/>
              <a:gd name="connsiteX7" fmla="*/ 2159779 w 2777761"/>
              <a:gd name="connsiteY7" fmla="*/ 708942 h 3788731"/>
              <a:gd name="connsiteX8" fmla="*/ 2030754 w 2777761"/>
              <a:gd name="connsiteY8" fmla="*/ 753820 h 3788731"/>
              <a:gd name="connsiteX9" fmla="*/ 1997095 w 2777761"/>
              <a:gd name="connsiteY9" fmla="*/ 821138 h 3788731"/>
              <a:gd name="connsiteX10" fmla="*/ 1997095 w 2777761"/>
              <a:gd name="connsiteY10" fmla="*/ 708942 h 3788731"/>
              <a:gd name="connsiteX11" fmla="*/ 1946606 w 2777761"/>
              <a:gd name="connsiteY11" fmla="*/ 669673 h 3788731"/>
              <a:gd name="connsiteX12" fmla="*/ 1783922 w 2777761"/>
              <a:gd name="connsiteY12" fmla="*/ 770649 h 3788731"/>
              <a:gd name="connsiteX13" fmla="*/ 1402454 w 2777761"/>
              <a:gd name="connsiteY13" fmla="*/ 579916 h 3788731"/>
              <a:gd name="connsiteX14" fmla="*/ 1666115 w 2777761"/>
              <a:gd name="connsiteY14" fmla="*/ 1129678 h 3788731"/>
              <a:gd name="connsiteX15" fmla="*/ 1800751 w 2777761"/>
              <a:gd name="connsiteY15" fmla="*/ 1225045 h 3788731"/>
              <a:gd name="connsiteX16" fmla="*/ 1649286 w 2777761"/>
              <a:gd name="connsiteY16" fmla="*/ 1449437 h 3788731"/>
              <a:gd name="connsiteX17" fmla="*/ 1727824 w 2777761"/>
              <a:gd name="connsiteY17" fmla="*/ 1668220 h 3788731"/>
              <a:gd name="connsiteX18" fmla="*/ 1817581 w 2777761"/>
              <a:gd name="connsiteY18" fmla="*/ 1662611 h 3788731"/>
              <a:gd name="connsiteX19" fmla="*/ 1671725 w 2777761"/>
              <a:gd name="connsiteY19" fmla="*/ 1830905 h 3788731"/>
              <a:gd name="connsiteX20" fmla="*/ 914400 w 2777761"/>
              <a:gd name="connsiteY20" fmla="*/ 1578463 h 3788731"/>
              <a:gd name="connsiteX21" fmla="*/ 460005 w 2777761"/>
              <a:gd name="connsiteY21" fmla="*/ 2605060 h 3788731"/>
              <a:gd name="connsiteX22" fmla="*/ 263662 w 2777761"/>
              <a:gd name="connsiteY22" fmla="*/ 2812623 h 3788731"/>
              <a:gd name="connsiteX23" fmla="*/ 44879 w 2777761"/>
              <a:gd name="connsiteY23" fmla="*/ 2857501 h 3788731"/>
              <a:gd name="connsiteX24" fmla="*/ 0 w 2777761"/>
              <a:gd name="connsiteY24" fmla="*/ 2964088 h 3788731"/>
              <a:gd name="connsiteX25" fmla="*/ 274881 w 2777761"/>
              <a:gd name="connsiteY25" fmla="*/ 3087504 h 3788731"/>
              <a:gd name="connsiteX26" fmla="*/ 504884 w 2777761"/>
              <a:gd name="connsiteY26" fmla="*/ 2986527 h 3788731"/>
              <a:gd name="connsiteX27" fmla="*/ 471225 w 2777761"/>
              <a:gd name="connsiteY27" fmla="*/ 3115553 h 3788731"/>
              <a:gd name="connsiteX28" fmla="*/ 572201 w 2777761"/>
              <a:gd name="connsiteY28" fmla="*/ 3160431 h 3788731"/>
              <a:gd name="connsiteX29" fmla="*/ 381468 w 2777761"/>
              <a:gd name="connsiteY29" fmla="*/ 3620436 h 3788731"/>
              <a:gd name="connsiteX30" fmla="*/ 196344 w 2777761"/>
              <a:gd name="connsiteY30" fmla="*/ 3665315 h 3788731"/>
              <a:gd name="connsiteX31" fmla="*/ 263662 w 2777761"/>
              <a:gd name="connsiteY31" fmla="*/ 3766291 h 3788731"/>
              <a:gd name="connsiteX32" fmla="*/ 555372 w 2777761"/>
              <a:gd name="connsiteY32" fmla="*/ 3788731 h 3788731"/>
              <a:gd name="connsiteX33" fmla="*/ 589031 w 2777761"/>
              <a:gd name="connsiteY33" fmla="*/ 3581168 h 3788731"/>
              <a:gd name="connsiteX34" fmla="*/ 645129 w 2777761"/>
              <a:gd name="connsiteY34" fmla="*/ 3575558 h 3788731"/>
              <a:gd name="connsiteX35" fmla="*/ 690008 w 2777761"/>
              <a:gd name="connsiteY35" fmla="*/ 3698974 h 3788731"/>
              <a:gd name="connsiteX36" fmla="*/ 774155 w 2777761"/>
              <a:gd name="connsiteY36" fmla="*/ 3704584 h 3788731"/>
              <a:gd name="connsiteX37" fmla="*/ 779765 w 2777761"/>
              <a:gd name="connsiteY37" fmla="*/ 3474581 h 3788731"/>
              <a:gd name="connsiteX38" fmla="*/ 746106 w 2777761"/>
              <a:gd name="connsiteY38" fmla="*/ 3205310 h 3788731"/>
              <a:gd name="connsiteX39" fmla="*/ 903181 w 2777761"/>
              <a:gd name="connsiteY39" fmla="*/ 2627499 h 3788731"/>
              <a:gd name="connsiteX40" fmla="*/ 1166842 w 2777761"/>
              <a:gd name="connsiteY40" fmla="*/ 2520912 h 3788731"/>
              <a:gd name="connsiteX41" fmla="*/ 1531480 w 2777761"/>
              <a:gd name="connsiteY41" fmla="*/ 2627499 h 3788731"/>
              <a:gd name="connsiteX42" fmla="*/ 1593188 w 2777761"/>
              <a:gd name="connsiteY42" fmla="*/ 2627499 h 3788731"/>
              <a:gd name="connsiteX43" fmla="*/ 1649286 w 2777761"/>
              <a:gd name="connsiteY43" fmla="*/ 2728476 h 3788731"/>
              <a:gd name="connsiteX44" fmla="*/ 1800751 w 2777761"/>
              <a:gd name="connsiteY44" fmla="*/ 2762134 h 3788731"/>
              <a:gd name="connsiteX45" fmla="*/ 1811971 w 2777761"/>
              <a:gd name="connsiteY45" fmla="*/ 2795793 h 3788731"/>
              <a:gd name="connsiteX46" fmla="*/ 1772702 w 2777761"/>
              <a:gd name="connsiteY46" fmla="*/ 2997747 h 3788731"/>
              <a:gd name="connsiteX47" fmla="*/ 1750263 w 2777761"/>
              <a:gd name="connsiteY47" fmla="*/ 3323116 h 3788731"/>
              <a:gd name="connsiteX48" fmla="*/ 1542700 w 2777761"/>
              <a:gd name="connsiteY48" fmla="*/ 3345555 h 3788731"/>
              <a:gd name="connsiteX49" fmla="*/ 1206111 w 2777761"/>
              <a:gd name="connsiteY49" fmla="*/ 3396044 h 3788731"/>
              <a:gd name="connsiteX50" fmla="*/ 1178062 w 2777761"/>
              <a:gd name="connsiteY50" fmla="*/ 3468971 h 3788731"/>
              <a:gd name="connsiteX51" fmla="*/ 1116354 w 2777761"/>
              <a:gd name="connsiteY51" fmla="*/ 3497020 h 3788731"/>
              <a:gd name="connsiteX52" fmla="*/ 1144403 w 2777761"/>
              <a:gd name="connsiteY52" fmla="*/ 3631656 h 3788731"/>
              <a:gd name="connsiteX53" fmla="*/ 1284648 w 2777761"/>
              <a:gd name="connsiteY53" fmla="*/ 3637266 h 3788731"/>
              <a:gd name="connsiteX54" fmla="*/ 1279038 w 2777761"/>
              <a:gd name="connsiteY54" fmla="*/ 3485801 h 3788731"/>
              <a:gd name="connsiteX55" fmla="*/ 1458552 w 2777761"/>
              <a:gd name="connsiteY55" fmla="*/ 3497020 h 3788731"/>
              <a:gd name="connsiteX56" fmla="*/ 1430503 w 2777761"/>
              <a:gd name="connsiteY56" fmla="*/ 3575558 h 3788731"/>
              <a:gd name="connsiteX57" fmla="*/ 1402454 w 2777761"/>
              <a:gd name="connsiteY57" fmla="*/ 3637266 h 3788731"/>
              <a:gd name="connsiteX58" fmla="*/ 1318307 w 2777761"/>
              <a:gd name="connsiteY58" fmla="*/ 3654095 h 3788731"/>
              <a:gd name="connsiteX59" fmla="*/ 1452943 w 2777761"/>
              <a:gd name="connsiteY59" fmla="*/ 3777511 h 3788731"/>
              <a:gd name="connsiteX60" fmla="*/ 1520260 w 2777761"/>
              <a:gd name="connsiteY60" fmla="*/ 3642876 h 3788731"/>
              <a:gd name="connsiteX61" fmla="*/ 1823190 w 2777761"/>
              <a:gd name="connsiteY61" fmla="*/ 3541899 h 3788731"/>
              <a:gd name="connsiteX62" fmla="*/ 2159779 w 2777761"/>
              <a:gd name="connsiteY62" fmla="*/ 3614826 h 3788731"/>
              <a:gd name="connsiteX63" fmla="*/ 2114901 w 2777761"/>
              <a:gd name="connsiteY63" fmla="*/ 3715803 h 3788731"/>
              <a:gd name="connsiteX64" fmla="*/ 2210268 w 2777761"/>
              <a:gd name="connsiteY64" fmla="*/ 3783121 h 3788731"/>
              <a:gd name="connsiteX65" fmla="*/ 2283195 w 2777761"/>
              <a:gd name="connsiteY65" fmla="*/ 3732633 h 3788731"/>
              <a:gd name="connsiteX66" fmla="*/ 2271976 w 2777761"/>
              <a:gd name="connsiteY66" fmla="*/ 3637266 h 3788731"/>
              <a:gd name="connsiteX67" fmla="*/ 2451490 w 2777761"/>
              <a:gd name="connsiteY67" fmla="*/ 3558728 h 3788731"/>
              <a:gd name="connsiteX68" fmla="*/ 2434660 w 2777761"/>
              <a:gd name="connsiteY68" fmla="*/ 3384824 h 3788731"/>
              <a:gd name="connsiteX69" fmla="*/ 1929777 w 2777761"/>
              <a:gd name="connsiteY69" fmla="*/ 3356775 h 3788731"/>
              <a:gd name="connsiteX70" fmla="*/ 1918557 w 2777761"/>
              <a:gd name="connsiteY70" fmla="*/ 3031406 h 3788731"/>
              <a:gd name="connsiteX71" fmla="*/ 1884898 w 2777761"/>
              <a:gd name="connsiteY71" fmla="*/ 3014576 h 3788731"/>
              <a:gd name="connsiteX72" fmla="*/ 1907338 w 2777761"/>
              <a:gd name="connsiteY72" fmla="*/ 2835062 h 3788731"/>
              <a:gd name="connsiteX73" fmla="*/ 1862459 w 2777761"/>
              <a:gd name="connsiteY73" fmla="*/ 2773354 h 3788731"/>
              <a:gd name="connsiteX74" fmla="*/ 2109291 w 2777761"/>
              <a:gd name="connsiteY74" fmla="*/ 2717256 h 3788731"/>
              <a:gd name="connsiteX75" fmla="*/ 2131730 w 2777761"/>
              <a:gd name="connsiteY75" fmla="*/ 2588230 h 3788731"/>
              <a:gd name="connsiteX76" fmla="*/ 2372952 w 2777761"/>
              <a:gd name="connsiteY76" fmla="*/ 2621889 h 3788731"/>
              <a:gd name="connsiteX77" fmla="*/ 2597345 w 2777761"/>
              <a:gd name="connsiteY77" fmla="*/ 2032858 h 3788731"/>
              <a:gd name="connsiteX78" fmla="*/ 2552466 w 2777761"/>
              <a:gd name="connsiteY78" fmla="*/ 1948711 h 3788731"/>
              <a:gd name="connsiteX79" fmla="*/ 2698322 w 2777761"/>
              <a:gd name="connsiteY79" fmla="*/ 1460657 h 3788731"/>
              <a:gd name="connsiteX80" fmla="*/ 2642224 w 2777761"/>
              <a:gd name="connsiteY80" fmla="*/ 1354071 h 3788731"/>
              <a:gd name="connsiteX81" fmla="*/ 2485148 w 2777761"/>
              <a:gd name="connsiteY81" fmla="*/ 798699 h 3788731"/>
              <a:gd name="connsiteX82" fmla="*/ 2743201 w 2777761"/>
              <a:gd name="connsiteY82" fmla="*/ 675283 h 3788731"/>
              <a:gd name="connsiteX83" fmla="*/ 2715151 w 2777761"/>
              <a:gd name="connsiteY83" fmla="*/ 434061 h 3788731"/>
              <a:gd name="connsiteX84" fmla="*/ 2631004 w 2777761"/>
              <a:gd name="connsiteY84" fmla="*/ 86253 h 3788731"/>
              <a:gd name="connsiteX0" fmla="*/ 2631004 w 2777761"/>
              <a:gd name="connsiteY0" fmla="*/ 86253 h 3788731"/>
              <a:gd name="connsiteX1" fmla="*/ 2434660 w 2777761"/>
              <a:gd name="connsiteY1" fmla="*/ 2105 h 3788731"/>
              <a:gd name="connsiteX2" fmla="*/ 2193438 w 2777761"/>
              <a:gd name="connsiteY2" fmla="*/ 159180 h 3788731"/>
              <a:gd name="connsiteX3" fmla="*/ 2092462 w 2777761"/>
              <a:gd name="connsiteY3" fmla="*/ 198449 h 3788731"/>
              <a:gd name="connsiteX4" fmla="*/ 2142950 w 2777761"/>
              <a:gd name="connsiteY4" fmla="*/ 288206 h 3788731"/>
              <a:gd name="connsiteX5" fmla="*/ 2030754 w 2777761"/>
              <a:gd name="connsiteY5" fmla="*/ 450890 h 3788731"/>
              <a:gd name="connsiteX6" fmla="*/ 2137342 w 2777761"/>
              <a:gd name="connsiteY6" fmla="*/ 585526 h 3788731"/>
              <a:gd name="connsiteX7" fmla="*/ 2159779 w 2777761"/>
              <a:gd name="connsiteY7" fmla="*/ 708942 h 3788731"/>
              <a:gd name="connsiteX8" fmla="*/ 2030754 w 2777761"/>
              <a:gd name="connsiteY8" fmla="*/ 753820 h 3788731"/>
              <a:gd name="connsiteX9" fmla="*/ 1997095 w 2777761"/>
              <a:gd name="connsiteY9" fmla="*/ 821138 h 3788731"/>
              <a:gd name="connsiteX10" fmla="*/ 1997095 w 2777761"/>
              <a:gd name="connsiteY10" fmla="*/ 708942 h 3788731"/>
              <a:gd name="connsiteX11" fmla="*/ 1946606 w 2777761"/>
              <a:gd name="connsiteY11" fmla="*/ 669673 h 3788731"/>
              <a:gd name="connsiteX12" fmla="*/ 1783922 w 2777761"/>
              <a:gd name="connsiteY12" fmla="*/ 770649 h 3788731"/>
              <a:gd name="connsiteX13" fmla="*/ 1402454 w 2777761"/>
              <a:gd name="connsiteY13" fmla="*/ 579916 h 3788731"/>
              <a:gd name="connsiteX14" fmla="*/ 1666115 w 2777761"/>
              <a:gd name="connsiteY14" fmla="*/ 1129678 h 3788731"/>
              <a:gd name="connsiteX15" fmla="*/ 1800751 w 2777761"/>
              <a:gd name="connsiteY15" fmla="*/ 1225045 h 3788731"/>
              <a:gd name="connsiteX16" fmla="*/ 1649286 w 2777761"/>
              <a:gd name="connsiteY16" fmla="*/ 1449437 h 3788731"/>
              <a:gd name="connsiteX17" fmla="*/ 1727824 w 2777761"/>
              <a:gd name="connsiteY17" fmla="*/ 1668220 h 3788731"/>
              <a:gd name="connsiteX18" fmla="*/ 1817581 w 2777761"/>
              <a:gd name="connsiteY18" fmla="*/ 1662611 h 3788731"/>
              <a:gd name="connsiteX19" fmla="*/ 1671725 w 2777761"/>
              <a:gd name="connsiteY19" fmla="*/ 1830905 h 3788731"/>
              <a:gd name="connsiteX20" fmla="*/ 914400 w 2777761"/>
              <a:gd name="connsiteY20" fmla="*/ 1578463 h 3788731"/>
              <a:gd name="connsiteX21" fmla="*/ 460005 w 2777761"/>
              <a:gd name="connsiteY21" fmla="*/ 2605060 h 3788731"/>
              <a:gd name="connsiteX22" fmla="*/ 263662 w 2777761"/>
              <a:gd name="connsiteY22" fmla="*/ 2812623 h 3788731"/>
              <a:gd name="connsiteX23" fmla="*/ 44879 w 2777761"/>
              <a:gd name="connsiteY23" fmla="*/ 2857501 h 3788731"/>
              <a:gd name="connsiteX24" fmla="*/ 0 w 2777761"/>
              <a:gd name="connsiteY24" fmla="*/ 2964088 h 3788731"/>
              <a:gd name="connsiteX25" fmla="*/ 274881 w 2777761"/>
              <a:gd name="connsiteY25" fmla="*/ 3087504 h 3788731"/>
              <a:gd name="connsiteX26" fmla="*/ 504884 w 2777761"/>
              <a:gd name="connsiteY26" fmla="*/ 2986527 h 3788731"/>
              <a:gd name="connsiteX27" fmla="*/ 471225 w 2777761"/>
              <a:gd name="connsiteY27" fmla="*/ 3115553 h 3788731"/>
              <a:gd name="connsiteX28" fmla="*/ 572201 w 2777761"/>
              <a:gd name="connsiteY28" fmla="*/ 3160431 h 3788731"/>
              <a:gd name="connsiteX29" fmla="*/ 381468 w 2777761"/>
              <a:gd name="connsiteY29" fmla="*/ 3620436 h 3788731"/>
              <a:gd name="connsiteX30" fmla="*/ 196344 w 2777761"/>
              <a:gd name="connsiteY30" fmla="*/ 3665315 h 3788731"/>
              <a:gd name="connsiteX31" fmla="*/ 263662 w 2777761"/>
              <a:gd name="connsiteY31" fmla="*/ 3766291 h 3788731"/>
              <a:gd name="connsiteX32" fmla="*/ 555372 w 2777761"/>
              <a:gd name="connsiteY32" fmla="*/ 3788731 h 3788731"/>
              <a:gd name="connsiteX33" fmla="*/ 589031 w 2777761"/>
              <a:gd name="connsiteY33" fmla="*/ 3581168 h 3788731"/>
              <a:gd name="connsiteX34" fmla="*/ 645129 w 2777761"/>
              <a:gd name="connsiteY34" fmla="*/ 3575558 h 3788731"/>
              <a:gd name="connsiteX35" fmla="*/ 690008 w 2777761"/>
              <a:gd name="connsiteY35" fmla="*/ 3698974 h 3788731"/>
              <a:gd name="connsiteX36" fmla="*/ 774155 w 2777761"/>
              <a:gd name="connsiteY36" fmla="*/ 3704584 h 3788731"/>
              <a:gd name="connsiteX37" fmla="*/ 779765 w 2777761"/>
              <a:gd name="connsiteY37" fmla="*/ 3474581 h 3788731"/>
              <a:gd name="connsiteX38" fmla="*/ 746106 w 2777761"/>
              <a:gd name="connsiteY38" fmla="*/ 3205310 h 3788731"/>
              <a:gd name="connsiteX39" fmla="*/ 903181 w 2777761"/>
              <a:gd name="connsiteY39" fmla="*/ 2627499 h 3788731"/>
              <a:gd name="connsiteX40" fmla="*/ 1166842 w 2777761"/>
              <a:gd name="connsiteY40" fmla="*/ 2520912 h 3788731"/>
              <a:gd name="connsiteX41" fmla="*/ 1531480 w 2777761"/>
              <a:gd name="connsiteY41" fmla="*/ 2627499 h 3788731"/>
              <a:gd name="connsiteX42" fmla="*/ 1593188 w 2777761"/>
              <a:gd name="connsiteY42" fmla="*/ 2627499 h 3788731"/>
              <a:gd name="connsiteX43" fmla="*/ 1649286 w 2777761"/>
              <a:gd name="connsiteY43" fmla="*/ 2728476 h 3788731"/>
              <a:gd name="connsiteX44" fmla="*/ 1800751 w 2777761"/>
              <a:gd name="connsiteY44" fmla="*/ 2762134 h 3788731"/>
              <a:gd name="connsiteX45" fmla="*/ 1811971 w 2777761"/>
              <a:gd name="connsiteY45" fmla="*/ 2795793 h 3788731"/>
              <a:gd name="connsiteX46" fmla="*/ 1772702 w 2777761"/>
              <a:gd name="connsiteY46" fmla="*/ 2997747 h 3788731"/>
              <a:gd name="connsiteX47" fmla="*/ 1750263 w 2777761"/>
              <a:gd name="connsiteY47" fmla="*/ 3323116 h 3788731"/>
              <a:gd name="connsiteX48" fmla="*/ 1542700 w 2777761"/>
              <a:gd name="connsiteY48" fmla="*/ 3345555 h 3788731"/>
              <a:gd name="connsiteX49" fmla="*/ 1206111 w 2777761"/>
              <a:gd name="connsiteY49" fmla="*/ 3396044 h 3788731"/>
              <a:gd name="connsiteX50" fmla="*/ 1178062 w 2777761"/>
              <a:gd name="connsiteY50" fmla="*/ 3468971 h 3788731"/>
              <a:gd name="connsiteX51" fmla="*/ 1116354 w 2777761"/>
              <a:gd name="connsiteY51" fmla="*/ 3497020 h 3788731"/>
              <a:gd name="connsiteX52" fmla="*/ 1144403 w 2777761"/>
              <a:gd name="connsiteY52" fmla="*/ 3631656 h 3788731"/>
              <a:gd name="connsiteX53" fmla="*/ 1284648 w 2777761"/>
              <a:gd name="connsiteY53" fmla="*/ 3637266 h 3788731"/>
              <a:gd name="connsiteX54" fmla="*/ 1279038 w 2777761"/>
              <a:gd name="connsiteY54" fmla="*/ 3485801 h 3788731"/>
              <a:gd name="connsiteX55" fmla="*/ 1458552 w 2777761"/>
              <a:gd name="connsiteY55" fmla="*/ 3497020 h 3788731"/>
              <a:gd name="connsiteX56" fmla="*/ 1430503 w 2777761"/>
              <a:gd name="connsiteY56" fmla="*/ 3575558 h 3788731"/>
              <a:gd name="connsiteX57" fmla="*/ 1402454 w 2777761"/>
              <a:gd name="connsiteY57" fmla="*/ 3637266 h 3788731"/>
              <a:gd name="connsiteX58" fmla="*/ 1318307 w 2777761"/>
              <a:gd name="connsiteY58" fmla="*/ 3654095 h 3788731"/>
              <a:gd name="connsiteX59" fmla="*/ 1452943 w 2777761"/>
              <a:gd name="connsiteY59" fmla="*/ 3777511 h 3788731"/>
              <a:gd name="connsiteX60" fmla="*/ 1520260 w 2777761"/>
              <a:gd name="connsiteY60" fmla="*/ 3642876 h 3788731"/>
              <a:gd name="connsiteX61" fmla="*/ 1823190 w 2777761"/>
              <a:gd name="connsiteY61" fmla="*/ 3541899 h 3788731"/>
              <a:gd name="connsiteX62" fmla="*/ 2159779 w 2777761"/>
              <a:gd name="connsiteY62" fmla="*/ 3614826 h 3788731"/>
              <a:gd name="connsiteX63" fmla="*/ 2114901 w 2777761"/>
              <a:gd name="connsiteY63" fmla="*/ 3715803 h 3788731"/>
              <a:gd name="connsiteX64" fmla="*/ 2210268 w 2777761"/>
              <a:gd name="connsiteY64" fmla="*/ 3783121 h 3788731"/>
              <a:gd name="connsiteX65" fmla="*/ 2283195 w 2777761"/>
              <a:gd name="connsiteY65" fmla="*/ 3732633 h 3788731"/>
              <a:gd name="connsiteX66" fmla="*/ 2271976 w 2777761"/>
              <a:gd name="connsiteY66" fmla="*/ 3637266 h 3788731"/>
              <a:gd name="connsiteX67" fmla="*/ 2451490 w 2777761"/>
              <a:gd name="connsiteY67" fmla="*/ 3558728 h 3788731"/>
              <a:gd name="connsiteX68" fmla="*/ 2434660 w 2777761"/>
              <a:gd name="connsiteY68" fmla="*/ 3384824 h 3788731"/>
              <a:gd name="connsiteX69" fmla="*/ 1929777 w 2777761"/>
              <a:gd name="connsiteY69" fmla="*/ 3356775 h 3788731"/>
              <a:gd name="connsiteX70" fmla="*/ 1918557 w 2777761"/>
              <a:gd name="connsiteY70" fmla="*/ 3031406 h 3788731"/>
              <a:gd name="connsiteX71" fmla="*/ 1884898 w 2777761"/>
              <a:gd name="connsiteY71" fmla="*/ 3014576 h 3788731"/>
              <a:gd name="connsiteX72" fmla="*/ 1907338 w 2777761"/>
              <a:gd name="connsiteY72" fmla="*/ 2835062 h 3788731"/>
              <a:gd name="connsiteX73" fmla="*/ 1862459 w 2777761"/>
              <a:gd name="connsiteY73" fmla="*/ 2773354 h 3788731"/>
              <a:gd name="connsiteX74" fmla="*/ 2109291 w 2777761"/>
              <a:gd name="connsiteY74" fmla="*/ 2717256 h 3788731"/>
              <a:gd name="connsiteX75" fmla="*/ 2131730 w 2777761"/>
              <a:gd name="connsiteY75" fmla="*/ 2588230 h 3788731"/>
              <a:gd name="connsiteX76" fmla="*/ 2372952 w 2777761"/>
              <a:gd name="connsiteY76" fmla="*/ 2621889 h 3788731"/>
              <a:gd name="connsiteX77" fmla="*/ 2597345 w 2777761"/>
              <a:gd name="connsiteY77" fmla="*/ 2032858 h 3788731"/>
              <a:gd name="connsiteX78" fmla="*/ 2552466 w 2777761"/>
              <a:gd name="connsiteY78" fmla="*/ 1948711 h 3788731"/>
              <a:gd name="connsiteX79" fmla="*/ 2698322 w 2777761"/>
              <a:gd name="connsiteY79" fmla="*/ 1460657 h 3788731"/>
              <a:gd name="connsiteX80" fmla="*/ 2642224 w 2777761"/>
              <a:gd name="connsiteY80" fmla="*/ 1354071 h 3788731"/>
              <a:gd name="connsiteX81" fmla="*/ 2485148 w 2777761"/>
              <a:gd name="connsiteY81" fmla="*/ 798699 h 3788731"/>
              <a:gd name="connsiteX82" fmla="*/ 2743201 w 2777761"/>
              <a:gd name="connsiteY82" fmla="*/ 675283 h 3788731"/>
              <a:gd name="connsiteX83" fmla="*/ 2715151 w 2777761"/>
              <a:gd name="connsiteY83" fmla="*/ 434061 h 3788731"/>
              <a:gd name="connsiteX84" fmla="*/ 2631004 w 2777761"/>
              <a:gd name="connsiteY84" fmla="*/ 86253 h 3788731"/>
              <a:gd name="connsiteX0" fmla="*/ 2631004 w 2777761"/>
              <a:gd name="connsiteY0" fmla="*/ 86253 h 3788731"/>
              <a:gd name="connsiteX1" fmla="*/ 2434660 w 2777761"/>
              <a:gd name="connsiteY1" fmla="*/ 2105 h 3788731"/>
              <a:gd name="connsiteX2" fmla="*/ 2193438 w 2777761"/>
              <a:gd name="connsiteY2" fmla="*/ 159180 h 3788731"/>
              <a:gd name="connsiteX3" fmla="*/ 2092462 w 2777761"/>
              <a:gd name="connsiteY3" fmla="*/ 198449 h 3788731"/>
              <a:gd name="connsiteX4" fmla="*/ 2142950 w 2777761"/>
              <a:gd name="connsiteY4" fmla="*/ 288206 h 3788731"/>
              <a:gd name="connsiteX5" fmla="*/ 2030754 w 2777761"/>
              <a:gd name="connsiteY5" fmla="*/ 450890 h 3788731"/>
              <a:gd name="connsiteX6" fmla="*/ 2137342 w 2777761"/>
              <a:gd name="connsiteY6" fmla="*/ 585526 h 3788731"/>
              <a:gd name="connsiteX7" fmla="*/ 2159779 w 2777761"/>
              <a:gd name="connsiteY7" fmla="*/ 708942 h 3788731"/>
              <a:gd name="connsiteX8" fmla="*/ 2030754 w 2777761"/>
              <a:gd name="connsiteY8" fmla="*/ 753820 h 3788731"/>
              <a:gd name="connsiteX9" fmla="*/ 1997095 w 2777761"/>
              <a:gd name="connsiteY9" fmla="*/ 821138 h 3788731"/>
              <a:gd name="connsiteX10" fmla="*/ 1997095 w 2777761"/>
              <a:gd name="connsiteY10" fmla="*/ 708942 h 3788731"/>
              <a:gd name="connsiteX11" fmla="*/ 1946606 w 2777761"/>
              <a:gd name="connsiteY11" fmla="*/ 669673 h 3788731"/>
              <a:gd name="connsiteX12" fmla="*/ 1783922 w 2777761"/>
              <a:gd name="connsiteY12" fmla="*/ 770649 h 3788731"/>
              <a:gd name="connsiteX13" fmla="*/ 1402454 w 2777761"/>
              <a:gd name="connsiteY13" fmla="*/ 579916 h 3788731"/>
              <a:gd name="connsiteX14" fmla="*/ 1666115 w 2777761"/>
              <a:gd name="connsiteY14" fmla="*/ 1129678 h 3788731"/>
              <a:gd name="connsiteX15" fmla="*/ 1800751 w 2777761"/>
              <a:gd name="connsiteY15" fmla="*/ 1225045 h 3788731"/>
              <a:gd name="connsiteX16" fmla="*/ 1649286 w 2777761"/>
              <a:gd name="connsiteY16" fmla="*/ 1449437 h 3788731"/>
              <a:gd name="connsiteX17" fmla="*/ 1727824 w 2777761"/>
              <a:gd name="connsiteY17" fmla="*/ 1668220 h 3788731"/>
              <a:gd name="connsiteX18" fmla="*/ 1817581 w 2777761"/>
              <a:gd name="connsiteY18" fmla="*/ 1662611 h 3788731"/>
              <a:gd name="connsiteX19" fmla="*/ 1671725 w 2777761"/>
              <a:gd name="connsiteY19" fmla="*/ 1830905 h 3788731"/>
              <a:gd name="connsiteX20" fmla="*/ 914400 w 2777761"/>
              <a:gd name="connsiteY20" fmla="*/ 1578463 h 3788731"/>
              <a:gd name="connsiteX21" fmla="*/ 460005 w 2777761"/>
              <a:gd name="connsiteY21" fmla="*/ 2605060 h 3788731"/>
              <a:gd name="connsiteX22" fmla="*/ 263662 w 2777761"/>
              <a:gd name="connsiteY22" fmla="*/ 2812623 h 3788731"/>
              <a:gd name="connsiteX23" fmla="*/ 44879 w 2777761"/>
              <a:gd name="connsiteY23" fmla="*/ 2857501 h 3788731"/>
              <a:gd name="connsiteX24" fmla="*/ 0 w 2777761"/>
              <a:gd name="connsiteY24" fmla="*/ 2964088 h 3788731"/>
              <a:gd name="connsiteX25" fmla="*/ 274881 w 2777761"/>
              <a:gd name="connsiteY25" fmla="*/ 3087504 h 3788731"/>
              <a:gd name="connsiteX26" fmla="*/ 504884 w 2777761"/>
              <a:gd name="connsiteY26" fmla="*/ 2986527 h 3788731"/>
              <a:gd name="connsiteX27" fmla="*/ 471225 w 2777761"/>
              <a:gd name="connsiteY27" fmla="*/ 3115553 h 3788731"/>
              <a:gd name="connsiteX28" fmla="*/ 572201 w 2777761"/>
              <a:gd name="connsiteY28" fmla="*/ 3160431 h 3788731"/>
              <a:gd name="connsiteX29" fmla="*/ 381468 w 2777761"/>
              <a:gd name="connsiteY29" fmla="*/ 3620436 h 3788731"/>
              <a:gd name="connsiteX30" fmla="*/ 196344 w 2777761"/>
              <a:gd name="connsiteY30" fmla="*/ 3665315 h 3788731"/>
              <a:gd name="connsiteX31" fmla="*/ 263662 w 2777761"/>
              <a:gd name="connsiteY31" fmla="*/ 3766291 h 3788731"/>
              <a:gd name="connsiteX32" fmla="*/ 555372 w 2777761"/>
              <a:gd name="connsiteY32" fmla="*/ 3788731 h 3788731"/>
              <a:gd name="connsiteX33" fmla="*/ 589031 w 2777761"/>
              <a:gd name="connsiteY33" fmla="*/ 3581168 h 3788731"/>
              <a:gd name="connsiteX34" fmla="*/ 645129 w 2777761"/>
              <a:gd name="connsiteY34" fmla="*/ 3575558 h 3788731"/>
              <a:gd name="connsiteX35" fmla="*/ 690008 w 2777761"/>
              <a:gd name="connsiteY35" fmla="*/ 3698974 h 3788731"/>
              <a:gd name="connsiteX36" fmla="*/ 774155 w 2777761"/>
              <a:gd name="connsiteY36" fmla="*/ 3704584 h 3788731"/>
              <a:gd name="connsiteX37" fmla="*/ 779765 w 2777761"/>
              <a:gd name="connsiteY37" fmla="*/ 3474581 h 3788731"/>
              <a:gd name="connsiteX38" fmla="*/ 746106 w 2777761"/>
              <a:gd name="connsiteY38" fmla="*/ 3205310 h 3788731"/>
              <a:gd name="connsiteX39" fmla="*/ 903181 w 2777761"/>
              <a:gd name="connsiteY39" fmla="*/ 2627499 h 3788731"/>
              <a:gd name="connsiteX40" fmla="*/ 1166842 w 2777761"/>
              <a:gd name="connsiteY40" fmla="*/ 2520912 h 3788731"/>
              <a:gd name="connsiteX41" fmla="*/ 1531480 w 2777761"/>
              <a:gd name="connsiteY41" fmla="*/ 2627499 h 3788731"/>
              <a:gd name="connsiteX42" fmla="*/ 1593188 w 2777761"/>
              <a:gd name="connsiteY42" fmla="*/ 2627499 h 3788731"/>
              <a:gd name="connsiteX43" fmla="*/ 1649286 w 2777761"/>
              <a:gd name="connsiteY43" fmla="*/ 2728476 h 3788731"/>
              <a:gd name="connsiteX44" fmla="*/ 1800751 w 2777761"/>
              <a:gd name="connsiteY44" fmla="*/ 2762134 h 3788731"/>
              <a:gd name="connsiteX45" fmla="*/ 1811971 w 2777761"/>
              <a:gd name="connsiteY45" fmla="*/ 2795793 h 3788731"/>
              <a:gd name="connsiteX46" fmla="*/ 1772702 w 2777761"/>
              <a:gd name="connsiteY46" fmla="*/ 2997747 h 3788731"/>
              <a:gd name="connsiteX47" fmla="*/ 1750263 w 2777761"/>
              <a:gd name="connsiteY47" fmla="*/ 3323116 h 3788731"/>
              <a:gd name="connsiteX48" fmla="*/ 1542700 w 2777761"/>
              <a:gd name="connsiteY48" fmla="*/ 3345555 h 3788731"/>
              <a:gd name="connsiteX49" fmla="*/ 1206111 w 2777761"/>
              <a:gd name="connsiteY49" fmla="*/ 3396044 h 3788731"/>
              <a:gd name="connsiteX50" fmla="*/ 1178062 w 2777761"/>
              <a:gd name="connsiteY50" fmla="*/ 3468971 h 3788731"/>
              <a:gd name="connsiteX51" fmla="*/ 1116354 w 2777761"/>
              <a:gd name="connsiteY51" fmla="*/ 3497020 h 3788731"/>
              <a:gd name="connsiteX52" fmla="*/ 1144403 w 2777761"/>
              <a:gd name="connsiteY52" fmla="*/ 3631656 h 3788731"/>
              <a:gd name="connsiteX53" fmla="*/ 1284648 w 2777761"/>
              <a:gd name="connsiteY53" fmla="*/ 3637266 h 3788731"/>
              <a:gd name="connsiteX54" fmla="*/ 1279038 w 2777761"/>
              <a:gd name="connsiteY54" fmla="*/ 3485801 h 3788731"/>
              <a:gd name="connsiteX55" fmla="*/ 1458552 w 2777761"/>
              <a:gd name="connsiteY55" fmla="*/ 3497020 h 3788731"/>
              <a:gd name="connsiteX56" fmla="*/ 1430503 w 2777761"/>
              <a:gd name="connsiteY56" fmla="*/ 3575558 h 3788731"/>
              <a:gd name="connsiteX57" fmla="*/ 1402454 w 2777761"/>
              <a:gd name="connsiteY57" fmla="*/ 3637266 h 3788731"/>
              <a:gd name="connsiteX58" fmla="*/ 1318307 w 2777761"/>
              <a:gd name="connsiteY58" fmla="*/ 3654095 h 3788731"/>
              <a:gd name="connsiteX59" fmla="*/ 1452943 w 2777761"/>
              <a:gd name="connsiteY59" fmla="*/ 3777511 h 3788731"/>
              <a:gd name="connsiteX60" fmla="*/ 1520260 w 2777761"/>
              <a:gd name="connsiteY60" fmla="*/ 3642876 h 3788731"/>
              <a:gd name="connsiteX61" fmla="*/ 1823190 w 2777761"/>
              <a:gd name="connsiteY61" fmla="*/ 3541899 h 3788731"/>
              <a:gd name="connsiteX62" fmla="*/ 2159779 w 2777761"/>
              <a:gd name="connsiteY62" fmla="*/ 3614826 h 3788731"/>
              <a:gd name="connsiteX63" fmla="*/ 2114901 w 2777761"/>
              <a:gd name="connsiteY63" fmla="*/ 3715803 h 3788731"/>
              <a:gd name="connsiteX64" fmla="*/ 2210268 w 2777761"/>
              <a:gd name="connsiteY64" fmla="*/ 3783121 h 3788731"/>
              <a:gd name="connsiteX65" fmla="*/ 2283195 w 2777761"/>
              <a:gd name="connsiteY65" fmla="*/ 3732633 h 3788731"/>
              <a:gd name="connsiteX66" fmla="*/ 2271976 w 2777761"/>
              <a:gd name="connsiteY66" fmla="*/ 3637266 h 3788731"/>
              <a:gd name="connsiteX67" fmla="*/ 2451490 w 2777761"/>
              <a:gd name="connsiteY67" fmla="*/ 3558728 h 3788731"/>
              <a:gd name="connsiteX68" fmla="*/ 2434660 w 2777761"/>
              <a:gd name="connsiteY68" fmla="*/ 3384824 h 3788731"/>
              <a:gd name="connsiteX69" fmla="*/ 1929777 w 2777761"/>
              <a:gd name="connsiteY69" fmla="*/ 3356775 h 3788731"/>
              <a:gd name="connsiteX70" fmla="*/ 1918557 w 2777761"/>
              <a:gd name="connsiteY70" fmla="*/ 3031406 h 3788731"/>
              <a:gd name="connsiteX71" fmla="*/ 1884898 w 2777761"/>
              <a:gd name="connsiteY71" fmla="*/ 3014576 h 3788731"/>
              <a:gd name="connsiteX72" fmla="*/ 1907338 w 2777761"/>
              <a:gd name="connsiteY72" fmla="*/ 2835062 h 3788731"/>
              <a:gd name="connsiteX73" fmla="*/ 1862459 w 2777761"/>
              <a:gd name="connsiteY73" fmla="*/ 2773354 h 3788731"/>
              <a:gd name="connsiteX74" fmla="*/ 2109291 w 2777761"/>
              <a:gd name="connsiteY74" fmla="*/ 2717256 h 3788731"/>
              <a:gd name="connsiteX75" fmla="*/ 2131730 w 2777761"/>
              <a:gd name="connsiteY75" fmla="*/ 2588230 h 3788731"/>
              <a:gd name="connsiteX76" fmla="*/ 2372952 w 2777761"/>
              <a:gd name="connsiteY76" fmla="*/ 2621889 h 3788731"/>
              <a:gd name="connsiteX77" fmla="*/ 2597345 w 2777761"/>
              <a:gd name="connsiteY77" fmla="*/ 2032858 h 3788731"/>
              <a:gd name="connsiteX78" fmla="*/ 2552466 w 2777761"/>
              <a:gd name="connsiteY78" fmla="*/ 1948711 h 3788731"/>
              <a:gd name="connsiteX79" fmla="*/ 2698322 w 2777761"/>
              <a:gd name="connsiteY79" fmla="*/ 1460657 h 3788731"/>
              <a:gd name="connsiteX80" fmla="*/ 2642224 w 2777761"/>
              <a:gd name="connsiteY80" fmla="*/ 1354071 h 3788731"/>
              <a:gd name="connsiteX81" fmla="*/ 2485148 w 2777761"/>
              <a:gd name="connsiteY81" fmla="*/ 798699 h 3788731"/>
              <a:gd name="connsiteX82" fmla="*/ 2743201 w 2777761"/>
              <a:gd name="connsiteY82" fmla="*/ 675283 h 3788731"/>
              <a:gd name="connsiteX83" fmla="*/ 2715151 w 2777761"/>
              <a:gd name="connsiteY83" fmla="*/ 434061 h 3788731"/>
              <a:gd name="connsiteX84" fmla="*/ 2631004 w 2777761"/>
              <a:gd name="connsiteY84" fmla="*/ 86253 h 3788731"/>
              <a:gd name="connsiteX0" fmla="*/ 2631004 w 2777761"/>
              <a:gd name="connsiteY0" fmla="*/ 86253 h 3788731"/>
              <a:gd name="connsiteX1" fmla="*/ 2434660 w 2777761"/>
              <a:gd name="connsiteY1" fmla="*/ 2105 h 3788731"/>
              <a:gd name="connsiteX2" fmla="*/ 2193438 w 2777761"/>
              <a:gd name="connsiteY2" fmla="*/ 159180 h 3788731"/>
              <a:gd name="connsiteX3" fmla="*/ 2092462 w 2777761"/>
              <a:gd name="connsiteY3" fmla="*/ 198449 h 3788731"/>
              <a:gd name="connsiteX4" fmla="*/ 2142950 w 2777761"/>
              <a:gd name="connsiteY4" fmla="*/ 288206 h 3788731"/>
              <a:gd name="connsiteX5" fmla="*/ 2030754 w 2777761"/>
              <a:gd name="connsiteY5" fmla="*/ 450890 h 3788731"/>
              <a:gd name="connsiteX6" fmla="*/ 2137342 w 2777761"/>
              <a:gd name="connsiteY6" fmla="*/ 585526 h 3788731"/>
              <a:gd name="connsiteX7" fmla="*/ 2159779 w 2777761"/>
              <a:gd name="connsiteY7" fmla="*/ 708942 h 3788731"/>
              <a:gd name="connsiteX8" fmla="*/ 2030754 w 2777761"/>
              <a:gd name="connsiteY8" fmla="*/ 753820 h 3788731"/>
              <a:gd name="connsiteX9" fmla="*/ 1997095 w 2777761"/>
              <a:gd name="connsiteY9" fmla="*/ 821138 h 3788731"/>
              <a:gd name="connsiteX10" fmla="*/ 1997095 w 2777761"/>
              <a:gd name="connsiteY10" fmla="*/ 708942 h 3788731"/>
              <a:gd name="connsiteX11" fmla="*/ 1946606 w 2777761"/>
              <a:gd name="connsiteY11" fmla="*/ 669673 h 3788731"/>
              <a:gd name="connsiteX12" fmla="*/ 1783922 w 2777761"/>
              <a:gd name="connsiteY12" fmla="*/ 770649 h 3788731"/>
              <a:gd name="connsiteX13" fmla="*/ 1402454 w 2777761"/>
              <a:gd name="connsiteY13" fmla="*/ 579916 h 3788731"/>
              <a:gd name="connsiteX14" fmla="*/ 1666115 w 2777761"/>
              <a:gd name="connsiteY14" fmla="*/ 1129678 h 3788731"/>
              <a:gd name="connsiteX15" fmla="*/ 1800751 w 2777761"/>
              <a:gd name="connsiteY15" fmla="*/ 1225045 h 3788731"/>
              <a:gd name="connsiteX16" fmla="*/ 1649286 w 2777761"/>
              <a:gd name="connsiteY16" fmla="*/ 1449437 h 3788731"/>
              <a:gd name="connsiteX17" fmla="*/ 1727824 w 2777761"/>
              <a:gd name="connsiteY17" fmla="*/ 1668220 h 3788731"/>
              <a:gd name="connsiteX18" fmla="*/ 1817581 w 2777761"/>
              <a:gd name="connsiteY18" fmla="*/ 1662611 h 3788731"/>
              <a:gd name="connsiteX19" fmla="*/ 1671725 w 2777761"/>
              <a:gd name="connsiteY19" fmla="*/ 1830905 h 3788731"/>
              <a:gd name="connsiteX20" fmla="*/ 914400 w 2777761"/>
              <a:gd name="connsiteY20" fmla="*/ 1578463 h 3788731"/>
              <a:gd name="connsiteX21" fmla="*/ 460005 w 2777761"/>
              <a:gd name="connsiteY21" fmla="*/ 2605060 h 3788731"/>
              <a:gd name="connsiteX22" fmla="*/ 263662 w 2777761"/>
              <a:gd name="connsiteY22" fmla="*/ 2812623 h 3788731"/>
              <a:gd name="connsiteX23" fmla="*/ 44879 w 2777761"/>
              <a:gd name="connsiteY23" fmla="*/ 2857501 h 3788731"/>
              <a:gd name="connsiteX24" fmla="*/ 0 w 2777761"/>
              <a:gd name="connsiteY24" fmla="*/ 2964088 h 3788731"/>
              <a:gd name="connsiteX25" fmla="*/ 274881 w 2777761"/>
              <a:gd name="connsiteY25" fmla="*/ 3087504 h 3788731"/>
              <a:gd name="connsiteX26" fmla="*/ 504884 w 2777761"/>
              <a:gd name="connsiteY26" fmla="*/ 2986527 h 3788731"/>
              <a:gd name="connsiteX27" fmla="*/ 471225 w 2777761"/>
              <a:gd name="connsiteY27" fmla="*/ 3115553 h 3788731"/>
              <a:gd name="connsiteX28" fmla="*/ 572201 w 2777761"/>
              <a:gd name="connsiteY28" fmla="*/ 3160431 h 3788731"/>
              <a:gd name="connsiteX29" fmla="*/ 381468 w 2777761"/>
              <a:gd name="connsiteY29" fmla="*/ 3620436 h 3788731"/>
              <a:gd name="connsiteX30" fmla="*/ 196344 w 2777761"/>
              <a:gd name="connsiteY30" fmla="*/ 3665315 h 3788731"/>
              <a:gd name="connsiteX31" fmla="*/ 263662 w 2777761"/>
              <a:gd name="connsiteY31" fmla="*/ 3766291 h 3788731"/>
              <a:gd name="connsiteX32" fmla="*/ 555372 w 2777761"/>
              <a:gd name="connsiteY32" fmla="*/ 3788731 h 3788731"/>
              <a:gd name="connsiteX33" fmla="*/ 589031 w 2777761"/>
              <a:gd name="connsiteY33" fmla="*/ 3581168 h 3788731"/>
              <a:gd name="connsiteX34" fmla="*/ 645129 w 2777761"/>
              <a:gd name="connsiteY34" fmla="*/ 3575558 h 3788731"/>
              <a:gd name="connsiteX35" fmla="*/ 690008 w 2777761"/>
              <a:gd name="connsiteY35" fmla="*/ 3698974 h 3788731"/>
              <a:gd name="connsiteX36" fmla="*/ 774155 w 2777761"/>
              <a:gd name="connsiteY36" fmla="*/ 3704584 h 3788731"/>
              <a:gd name="connsiteX37" fmla="*/ 779765 w 2777761"/>
              <a:gd name="connsiteY37" fmla="*/ 3474581 h 3788731"/>
              <a:gd name="connsiteX38" fmla="*/ 746106 w 2777761"/>
              <a:gd name="connsiteY38" fmla="*/ 3205310 h 3788731"/>
              <a:gd name="connsiteX39" fmla="*/ 903181 w 2777761"/>
              <a:gd name="connsiteY39" fmla="*/ 2627499 h 3788731"/>
              <a:gd name="connsiteX40" fmla="*/ 1166842 w 2777761"/>
              <a:gd name="connsiteY40" fmla="*/ 2520912 h 3788731"/>
              <a:gd name="connsiteX41" fmla="*/ 1531480 w 2777761"/>
              <a:gd name="connsiteY41" fmla="*/ 2627499 h 3788731"/>
              <a:gd name="connsiteX42" fmla="*/ 1593188 w 2777761"/>
              <a:gd name="connsiteY42" fmla="*/ 2627499 h 3788731"/>
              <a:gd name="connsiteX43" fmla="*/ 1649286 w 2777761"/>
              <a:gd name="connsiteY43" fmla="*/ 2728476 h 3788731"/>
              <a:gd name="connsiteX44" fmla="*/ 1800751 w 2777761"/>
              <a:gd name="connsiteY44" fmla="*/ 2762134 h 3788731"/>
              <a:gd name="connsiteX45" fmla="*/ 1811971 w 2777761"/>
              <a:gd name="connsiteY45" fmla="*/ 2795793 h 3788731"/>
              <a:gd name="connsiteX46" fmla="*/ 1772702 w 2777761"/>
              <a:gd name="connsiteY46" fmla="*/ 2997747 h 3788731"/>
              <a:gd name="connsiteX47" fmla="*/ 1750263 w 2777761"/>
              <a:gd name="connsiteY47" fmla="*/ 3323116 h 3788731"/>
              <a:gd name="connsiteX48" fmla="*/ 1542700 w 2777761"/>
              <a:gd name="connsiteY48" fmla="*/ 3345555 h 3788731"/>
              <a:gd name="connsiteX49" fmla="*/ 1206111 w 2777761"/>
              <a:gd name="connsiteY49" fmla="*/ 3396044 h 3788731"/>
              <a:gd name="connsiteX50" fmla="*/ 1178062 w 2777761"/>
              <a:gd name="connsiteY50" fmla="*/ 3468971 h 3788731"/>
              <a:gd name="connsiteX51" fmla="*/ 1116354 w 2777761"/>
              <a:gd name="connsiteY51" fmla="*/ 3497020 h 3788731"/>
              <a:gd name="connsiteX52" fmla="*/ 1144403 w 2777761"/>
              <a:gd name="connsiteY52" fmla="*/ 3631656 h 3788731"/>
              <a:gd name="connsiteX53" fmla="*/ 1284648 w 2777761"/>
              <a:gd name="connsiteY53" fmla="*/ 3637266 h 3788731"/>
              <a:gd name="connsiteX54" fmla="*/ 1279038 w 2777761"/>
              <a:gd name="connsiteY54" fmla="*/ 3485801 h 3788731"/>
              <a:gd name="connsiteX55" fmla="*/ 1458552 w 2777761"/>
              <a:gd name="connsiteY55" fmla="*/ 3497020 h 3788731"/>
              <a:gd name="connsiteX56" fmla="*/ 1430503 w 2777761"/>
              <a:gd name="connsiteY56" fmla="*/ 3575558 h 3788731"/>
              <a:gd name="connsiteX57" fmla="*/ 1402454 w 2777761"/>
              <a:gd name="connsiteY57" fmla="*/ 3637266 h 3788731"/>
              <a:gd name="connsiteX58" fmla="*/ 1318307 w 2777761"/>
              <a:gd name="connsiteY58" fmla="*/ 3654095 h 3788731"/>
              <a:gd name="connsiteX59" fmla="*/ 1452943 w 2777761"/>
              <a:gd name="connsiteY59" fmla="*/ 3777511 h 3788731"/>
              <a:gd name="connsiteX60" fmla="*/ 1520260 w 2777761"/>
              <a:gd name="connsiteY60" fmla="*/ 3642876 h 3788731"/>
              <a:gd name="connsiteX61" fmla="*/ 1823190 w 2777761"/>
              <a:gd name="connsiteY61" fmla="*/ 3541899 h 3788731"/>
              <a:gd name="connsiteX62" fmla="*/ 2159779 w 2777761"/>
              <a:gd name="connsiteY62" fmla="*/ 3614826 h 3788731"/>
              <a:gd name="connsiteX63" fmla="*/ 2114901 w 2777761"/>
              <a:gd name="connsiteY63" fmla="*/ 3715803 h 3788731"/>
              <a:gd name="connsiteX64" fmla="*/ 2210268 w 2777761"/>
              <a:gd name="connsiteY64" fmla="*/ 3783121 h 3788731"/>
              <a:gd name="connsiteX65" fmla="*/ 2283195 w 2777761"/>
              <a:gd name="connsiteY65" fmla="*/ 3732633 h 3788731"/>
              <a:gd name="connsiteX66" fmla="*/ 2271976 w 2777761"/>
              <a:gd name="connsiteY66" fmla="*/ 3637266 h 3788731"/>
              <a:gd name="connsiteX67" fmla="*/ 2451490 w 2777761"/>
              <a:gd name="connsiteY67" fmla="*/ 3558728 h 3788731"/>
              <a:gd name="connsiteX68" fmla="*/ 2434660 w 2777761"/>
              <a:gd name="connsiteY68" fmla="*/ 3384824 h 3788731"/>
              <a:gd name="connsiteX69" fmla="*/ 1929777 w 2777761"/>
              <a:gd name="connsiteY69" fmla="*/ 3356775 h 3788731"/>
              <a:gd name="connsiteX70" fmla="*/ 1918557 w 2777761"/>
              <a:gd name="connsiteY70" fmla="*/ 3031406 h 3788731"/>
              <a:gd name="connsiteX71" fmla="*/ 1884898 w 2777761"/>
              <a:gd name="connsiteY71" fmla="*/ 3014576 h 3788731"/>
              <a:gd name="connsiteX72" fmla="*/ 1907338 w 2777761"/>
              <a:gd name="connsiteY72" fmla="*/ 2835062 h 3788731"/>
              <a:gd name="connsiteX73" fmla="*/ 1862459 w 2777761"/>
              <a:gd name="connsiteY73" fmla="*/ 2773354 h 3788731"/>
              <a:gd name="connsiteX74" fmla="*/ 2109291 w 2777761"/>
              <a:gd name="connsiteY74" fmla="*/ 2717256 h 3788731"/>
              <a:gd name="connsiteX75" fmla="*/ 2131730 w 2777761"/>
              <a:gd name="connsiteY75" fmla="*/ 2588230 h 3788731"/>
              <a:gd name="connsiteX76" fmla="*/ 2372952 w 2777761"/>
              <a:gd name="connsiteY76" fmla="*/ 2621889 h 3788731"/>
              <a:gd name="connsiteX77" fmla="*/ 2597345 w 2777761"/>
              <a:gd name="connsiteY77" fmla="*/ 2032858 h 3788731"/>
              <a:gd name="connsiteX78" fmla="*/ 2552466 w 2777761"/>
              <a:gd name="connsiteY78" fmla="*/ 1948711 h 3788731"/>
              <a:gd name="connsiteX79" fmla="*/ 2698322 w 2777761"/>
              <a:gd name="connsiteY79" fmla="*/ 1460657 h 3788731"/>
              <a:gd name="connsiteX80" fmla="*/ 2642224 w 2777761"/>
              <a:gd name="connsiteY80" fmla="*/ 1354071 h 3788731"/>
              <a:gd name="connsiteX81" fmla="*/ 2485148 w 2777761"/>
              <a:gd name="connsiteY81" fmla="*/ 798699 h 3788731"/>
              <a:gd name="connsiteX82" fmla="*/ 2743201 w 2777761"/>
              <a:gd name="connsiteY82" fmla="*/ 675283 h 3788731"/>
              <a:gd name="connsiteX83" fmla="*/ 2715151 w 2777761"/>
              <a:gd name="connsiteY83" fmla="*/ 434061 h 3788731"/>
              <a:gd name="connsiteX84" fmla="*/ 2631004 w 2777761"/>
              <a:gd name="connsiteY84" fmla="*/ 86253 h 3788731"/>
              <a:gd name="connsiteX0" fmla="*/ 2631004 w 2777761"/>
              <a:gd name="connsiteY0" fmla="*/ 86253 h 3788731"/>
              <a:gd name="connsiteX1" fmla="*/ 2434660 w 2777761"/>
              <a:gd name="connsiteY1" fmla="*/ 2105 h 3788731"/>
              <a:gd name="connsiteX2" fmla="*/ 2193438 w 2777761"/>
              <a:gd name="connsiteY2" fmla="*/ 159180 h 3788731"/>
              <a:gd name="connsiteX3" fmla="*/ 2092462 w 2777761"/>
              <a:gd name="connsiteY3" fmla="*/ 198449 h 3788731"/>
              <a:gd name="connsiteX4" fmla="*/ 2142950 w 2777761"/>
              <a:gd name="connsiteY4" fmla="*/ 288206 h 3788731"/>
              <a:gd name="connsiteX5" fmla="*/ 2030754 w 2777761"/>
              <a:gd name="connsiteY5" fmla="*/ 450890 h 3788731"/>
              <a:gd name="connsiteX6" fmla="*/ 2137342 w 2777761"/>
              <a:gd name="connsiteY6" fmla="*/ 585526 h 3788731"/>
              <a:gd name="connsiteX7" fmla="*/ 2159779 w 2777761"/>
              <a:gd name="connsiteY7" fmla="*/ 708942 h 3788731"/>
              <a:gd name="connsiteX8" fmla="*/ 2030754 w 2777761"/>
              <a:gd name="connsiteY8" fmla="*/ 753820 h 3788731"/>
              <a:gd name="connsiteX9" fmla="*/ 1997095 w 2777761"/>
              <a:gd name="connsiteY9" fmla="*/ 821138 h 3788731"/>
              <a:gd name="connsiteX10" fmla="*/ 1997095 w 2777761"/>
              <a:gd name="connsiteY10" fmla="*/ 708942 h 3788731"/>
              <a:gd name="connsiteX11" fmla="*/ 1946606 w 2777761"/>
              <a:gd name="connsiteY11" fmla="*/ 669673 h 3788731"/>
              <a:gd name="connsiteX12" fmla="*/ 1783922 w 2777761"/>
              <a:gd name="connsiteY12" fmla="*/ 770649 h 3788731"/>
              <a:gd name="connsiteX13" fmla="*/ 1402454 w 2777761"/>
              <a:gd name="connsiteY13" fmla="*/ 579916 h 3788731"/>
              <a:gd name="connsiteX14" fmla="*/ 1666115 w 2777761"/>
              <a:gd name="connsiteY14" fmla="*/ 1129678 h 3788731"/>
              <a:gd name="connsiteX15" fmla="*/ 1800751 w 2777761"/>
              <a:gd name="connsiteY15" fmla="*/ 1225045 h 3788731"/>
              <a:gd name="connsiteX16" fmla="*/ 1649286 w 2777761"/>
              <a:gd name="connsiteY16" fmla="*/ 1449437 h 3788731"/>
              <a:gd name="connsiteX17" fmla="*/ 1727824 w 2777761"/>
              <a:gd name="connsiteY17" fmla="*/ 1668220 h 3788731"/>
              <a:gd name="connsiteX18" fmla="*/ 1817581 w 2777761"/>
              <a:gd name="connsiteY18" fmla="*/ 1662611 h 3788731"/>
              <a:gd name="connsiteX19" fmla="*/ 1626846 w 2777761"/>
              <a:gd name="connsiteY19" fmla="*/ 1858954 h 3788731"/>
              <a:gd name="connsiteX20" fmla="*/ 914400 w 2777761"/>
              <a:gd name="connsiteY20" fmla="*/ 1578463 h 3788731"/>
              <a:gd name="connsiteX21" fmla="*/ 460005 w 2777761"/>
              <a:gd name="connsiteY21" fmla="*/ 2605060 h 3788731"/>
              <a:gd name="connsiteX22" fmla="*/ 263662 w 2777761"/>
              <a:gd name="connsiteY22" fmla="*/ 2812623 h 3788731"/>
              <a:gd name="connsiteX23" fmla="*/ 44879 w 2777761"/>
              <a:gd name="connsiteY23" fmla="*/ 2857501 h 3788731"/>
              <a:gd name="connsiteX24" fmla="*/ 0 w 2777761"/>
              <a:gd name="connsiteY24" fmla="*/ 2964088 h 3788731"/>
              <a:gd name="connsiteX25" fmla="*/ 274881 w 2777761"/>
              <a:gd name="connsiteY25" fmla="*/ 3087504 h 3788731"/>
              <a:gd name="connsiteX26" fmla="*/ 504884 w 2777761"/>
              <a:gd name="connsiteY26" fmla="*/ 2986527 h 3788731"/>
              <a:gd name="connsiteX27" fmla="*/ 471225 w 2777761"/>
              <a:gd name="connsiteY27" fmla="*/ 3115553 h 3788731"/>
              <a:gd name="connsiteX28" fmla="*/ 572201 w 2777761"/>
              <a:gd name="connsiteY28" fmla="*/ 3160431 h 3788731"/>
              <a:gd name="connsiteX29" fmla="*/ 381468 w 2777761"/>
              <a:gd name="connsiteY29" fmla="*/ 3620436 h 3788731"/>
              <a:gd name="connsiteX30" fmla="*/ 196344 w 2777761"/>
              <a:gd name="connsiteY30" fmla="*/ 3665315 h 3788731"/>
              <a:gd name="connsiteX31" fmla="*/ 263662 w 2777761"/>
              <a:gd name="connsiteY31" fmla="*/ 3766291 h 3788731"/>
              <a:gd name="connsiteX32" fmla="*/ 555372 w 2777761"/>
              <a:gd name="connsiteY32" fmla="*/ 3788731 h 3788731"/>
              <a:gd name="connsiteX33" fmla="*/ 589031 w 2777761"/>
              <a:gd name="connsiteY33" fmla="*/ 3581168 h 3788731"/>
              <a:gd name="connsiteX34" fmla="*/ 645129 w 2777761"/>
              <a:gd name="connsiteY34" fmla="*/ 3575558 h 3788731"/>
              <a:gd name="connsiteX35" fmla="*/ 690008 w 2777761"/>
              <a:gd name="connsiteY35" fmla="*/ 3698974 h 3788731"/>
              <a:gd name="connsiteX36" fmla="*/ 774155 w 2777761"/>
              <a:gd name="connsiteY36" fmla="*/ 3704584 h 3788731"/>
              <a:gd name="connsiteX37" fmla="*/ 779765 w 2777761"/>
              <a:gd name="connsiteY37" fmla="*/ 3474581 h 3788731"/>
              <a:gd name="connsiteX38" fmla="*/ 746106 w 2777761"/>
              <a:gd name="connsiteY38" fmla="*/ 3205310 h 3788731"/>
              <a:gd name="connsiteX39" fmla="*/ 903181 w 2777761"/>
              <a:gd name="connsiteY39" fmla="*/ 2627499 h 3788731"/>
              <a:gd name="connsiteX40" fmla="*/ 1166842 w 2777761"/>
              <a:gd name="connsiteY40" fmla="*/ 2520912 h 3788731"/>
              <a:gd name="connsiteX41" fmla="*/ 1531480 w 2777761"/>
              <a:gd name="connsiteY41" fmla="*/ 2627499 h 3788731"/>
              <a:gd name="connsiteX42" fmla="*/ 1593188 w 2777761"/>
              <a:gd name="connsiteY42" fmla="*/ 2627499 h 3788731"/>
              <a:gd name="connsiteX43" fmla="*/ 1649286 w 2777761"/>
              <a:gd name="connsiteY43" fmla="*/ 2728476 h 3788731"/>
              <a:gd name="connsiteX44" fmla="*/ 1800751 w 2777761"/>
              <a:gd name="connsiteY44" fmla="*/ 2762134 h 3788731"/>
              <a:gd name="connsiteX45" fmla="*/ 1811971 w 2777761"/>
              <a:gd name="connsiteY45" fmla="*/ 2795793 h 3788731"/>
              <a:gd name="connsiteX46" fmla="*/ 1772702 w 2777761"/>
              <a:gd name="connsiteY46" fmla="*/ 2997747 h 3788731"/>
              <a:gd name="connsiteX47" fmla="*/ 1750263 w 2777761"/>
              <a:gd name="connsiteY47" fmla="*/ 3323116 h 3788731"/>
              <a:gd name="connsiteX48" fmla="*/ 1542700 w 2777761"/>
              <a:gd name="connsiteY48" fmla="*/ 3345555 h 3788731"/>
              <a:gd name="connsiteX49" fmla="*/ 1206111 w 2777761"/>
              <a:gd name="connsiteY49" fmla="*/ 3396044 h 3788731"/>
              <a:gd name="connsiteX50" fmla="*/ 1178062 w 2777761"/>
              <a:gd name="connsiteY50" fmla="*/ 3468971 h 3788731"/>
              <a:gd name="connsiteX51" fmla="*/ 1116354 w 2777761"/>
              <a:gd name="connsiteY51" fmla="*/ 3497020 h 3788731"/>
              <a:gd name="connsiteX52" fmla="*/ 1144403 w 2777761"/>
              <a:gd name="connsiteY52" fmla="*/ 3631656 h 3788731"/>
              <a:gd name="connsiteX53" fmla="*/ 1284648 w 2777761"/>
              <a:gd name="connsiteY53" fmla="*/ 3637266 h 3788731"/>
              <a:gd name="connsiteX54" fmla="*/ 1279038 w 2777761"/>
              <a:gd name="connsiteY54" fmla="*/ 3485801 h 3788731"/>
              <a:gd name="connsiteX55" fmla="*/ 1458552 w 2777761"/>
              <a:gd name="connsiteY55" fmla="*/ 3497020 h 3788731"/>
              <a:gd name="connsiteX56" fmla="*/ 1430503 w 2777761"/>
              <a:gd name="connsiteY56" fmla="*/ 3575558 h 3788731"/>
              <a:gd name="connsiteX57" fmla="*/ 1402454 w 2777761"/>
              <a:gd name="connsiteY57" fmla="*/ 3637266 h 3788731"/>
              <a:gd name="connsiteX58" fmla="*/ 1318307 w 2777761"/>
              <a:gd name="connsiteY58" fmla="*/ 3654095 h 3788731"/>
              <a:gd name="connsiteX59" fmla="*/ 1452943 w 2777761"/>
              <a:gd name="connsiteY59" fmla="*/ 3777511 h 3788731"/>
              <a:gd name="connsiteX60" fmla="*/ 1520260 w 2777761"/>
              <a:gd name="connsiteY60" fmla="*/ 3642876 h 3788731"/>
              <a:gd name="connsiteX61" fmla="*/ 1823190 w 2777761"/>
              <a:gd name="connsiteY61" fmla="*/ 3541899 h 3788731"/>
              <a:gd name="connsiteX62" fmla="*/ 2159779 w 2777761"/>
              <a:gd name="connsiteY62" fmla="*/ 3614826 h 3788731"/>
              <a:gd name="connsiteX63" fmla="*/ 2114901 w 2777761"/>
              <a:gd name="connsiteY63" fmla="*/ 3715803 h 3788731"/>
              <a:gd name="connsiteX64" fmla="*/ 2210268 w 2777761"/>
              <a:gd name="connsiteY64" fmla="*/ 3783121 h 3788731"/>
              <a:gd name="connsiteX65" fmla="*/ 2283195 w 2777761"/>
              <a:gd name="connsiteY65" fmla="*/ 3732633 h 3788731"/>
              <a:gd name="connsiteX66" fmla="*/ 2271976 w 2777761"/>
              <a:gd name="connsiteY66" fmla="*/ 3637266 h 3788731"/>
              <a:gd name="connsiteX67" fmla="*/ 2451490 w 2777761"/>
              <a:gd name="connsiteY67" fmla="*/ 3558728 h 3788731"/>
              <a:gd name="connsiteX68" fmla="*/ 2434660 w 2777761"/>
              <a:gd name="connsiteY68" fmla="*/ 3384824 h 3788731"/>
              <a:gd name="connsiteX69" fmla="*/ 1929777 w 2777761"/>
              <a:gd name="connsiteY69" fmla="*/ 3356775 h 3788731"/>
              <a:gd name="connsiteX70" fmla="*/ 1918557 w 2777761"/>
              <a:gd name="connsiteY70" fmla="*/ 3031406 h 3788731"/>
              <a:gd name="connsiteX71" fmla="*/ 1884898 w 2777761"/>
              <a:gd name="connsiteY71" fmla="*/ 3014576 h 3788731"/>
              <a:gd name="connsiteX72" fmla="*/ 1907338 w 2777761"/>
              <a:gd name="connsiteY72" fmla="*/ 2835062 h 3788731"/>
              <a:gd name="connsiteX73" fmla="*/ 1862459 w 2777761"/>
              <a:gd name="connsiteY73" fmla="*/ 2773354 h 3788731"/>
              <a:gd name="connsiteX74" fmla="*/ 2109291 w 2777761"/>
              <a:gd name="connsiteY74" fmla="*/ 2717256 h 3788731"/>
              <a:gd name="connsiteX75" fmla="*/ 2131730 w 2777761"/>
              <a:gd name="connsiteY75" fmla="*/ 2588230 h 3788731"/>
              <a:gd name="connsiteX76" fmla="*/ 2372952 w 2777761"/>
              <a:gd name="connsiteY76" fmla="*/ 2621889 h 3788731"/>
              <a:gd name="connsiteX77" fmla="*/ 2597345 w 2777761"/>
              <a:gd name="connsiteY77" fmla="*/ 2032858 h 3788731"/>
              <a:gd name="connsiteX78" fmla="*/ 2552466 w 2777761"/>
              <a:gd name="connsiteY78" fmla="*/ 1948711 h 3788731"/>
              <a:gd name="connsiteX79" fmla="*/ 2698322 w 2777761"/>
              <a:gd name="connsiteY79" fmla="*/ 1460657 h 3788731"/>
              <a:gd name="connsiteX80" fmla="*/ 2642224 w 2777761"/>
              <a:gd name="connsiteY80" fmla="*/ 1354071 h 3788731"/>
              <a:gd name="connsiteX81" fmla="*/ 2485148 w 2777761"/>
              <a:gd name="connsiteY81" fmla="*/ 798699 h 3788731"/>
              <a:gd name="connsiteX82" fmla="*/ 2743201 w 2777761"/>
              <a:gd name="connsiteY82" fmla="*/ 675283 h 3788731"/>
              <a:gd name="connsiteX83" fmla="*/ 2715151 w 2777761"/>
              <a:gd name="connsiteY83" fmla="*/ 434061 h 3788731"/>
              <a:gd name="connsiteX84" fmla="*/ 2631004 w 2777761"/>
              <a:gd name="connsiteY84" fmla="*/ 86253 h 3788731"/>
              <a:gd name="connsiteX0" fmla="*/ 2631004 w 2777761"/>
              <a:gd name="connsiteY0" fmla="*/ 86253 h 3788731"/>
              <a:gd name="connsiteX1" fmla="*/ 2434660 w 2777761"/>
              <a:gd name="connsiteY1" fmla="*/ 2105 h 3788731"/>
              <a:gd name="connsiteX2" fmla="*/ 2193438 w 2777761"/>
              <a:gd name="connsiteY2" fmla="*/ 159180 h 3788731"/>
              <a:gd name="connsiteX3" fmla="*/ 2092462 w 2777761"/>
              <a:gd name="connsiteY3" fmla="*/ 198449 h 3788731"/>
              <a:gd name="connsiteX4" fmla="*/ 2142950 w 2777761"/>
              <a:gd name="connsiteY4" fmla="*/ 288206 h 3788731"/>
              <a:gd name="connsiteX5" fmla="*/ 2030754 w 2777761"/>
              <a:gd name="connsiteY5" fmla="*/ 450890 h 3788731"/>
              <a:gd name="connsiteX6" fmla="*/ 2137342 w 2777761"/>
              <a:gd name="connsiteY6" fmla="*/ 585526 h 3788731"/>
              <a:gd name="connsiteX7" fmla="*/ 2159779 w 2777761"/>
              <a:gd name="connsiteY7" fmla="*/ 708942 h 3788731"/>
              <a:gd name="connsiteX8" fmla="*/ 2030754 w 2777761"/>
              <a:gd name="connsiteY8" fmla="*/ 753820 h 3788731"/>
              <a:gd name="connsiteX9" fmla="*/ 1997095 w 2777761"/>
              <a:gd name="connsiteY9" fmla="*/ 821138 h 3788731"/>
              <a:gd name="connsiteX10" fmla="*/ 1997095 w 2777761"/>
              <a:gd name="connsiteY10" fmla="*/ 708942 h 3788731"/>
              <a:gd name="connsiteX11" fmla="*/ 1946606 w 2777761"/>
              <a:gd name="connsiteY11" fmla="*/ 669673 h 3788731"/>
              <a:gd name="connsiteX12" fmla="*/ 1783922 w 2777761"/>
              <a:gd name="connsiteY12" fmla="*/ 770649 h 3788731"/>
              <a:gd name="connsiteX13" fmla="*/ 1402454 w 2777761"/>
              <a:gd name="connsiteY13" fmla="*/ 579916 h 3788731"/>
              <a:gd name="connsiteX14" fmla="*/ 1666115 w 2777761"/>
              <a:gd name="connsiteY14" fmla="*/ 1129678 h 3788731"/>
              <a:gd name="connsiteX15" fmla="*/ 1800751 w 2777761"/>
              <a:gd name="connsiteY15" fmla="*/ 1225045 h 3788731"/>
              <a:gd name="connsiteX16" fmla="*/ 1649286 w 2777761"/>
              <a:gd name="connsiteY16" fmla="*/ 1449437 h 3788731"/>
              <a:gd name="connsiteX17" fmla="*/ 1727824 w 2777761"/>
              <a:gd name="connsiteY17" fmla="*/ 1668220 h 3788731"/>
              <a:gd name="connsiteX18" fmla="*/ 1817581 w 2777761"/>
              <a:gd name="connsiteY18" fmla="*/ 1662611 h 3788731"/>
              <a:gd name="connsiteX19" fmla="*/ 1626846 w 2777761"/>
              <a:gd name="connsiteY19" fmla="*/ 1858954 h 3788731"/>
              <a:gd name="connsiteX20" fmla="*/ 914400 w 2777761"/>
              <a:gd name="connsiteY20" fmla="*/ 1578463 h 3788731"/>
              <a:gd name="connsiteX21" fmla="*/ 460005 w 2777761"/>
              <a:gd name="connsiteY21" fmla="*/ 2605060 h 3788731"/>
              <a:gd name="connsiteX22" fmla="*/ 263662 w 2777761"/>
              <a:gd name="connsiteY22" fmla="*/ 2812623 h 3788731"/>
              <a:gd name="connsiteX23" fmla="*/ 44879 w 2777761"/>
              <a:gd name="connsiteY23" fmla="*/ 2857501 h 3788731"/>
              <a:gd name="connsiteX24" fmla="*/ 0 w 2777761"/>
              <a:gd name="connsiteY24" fmla="*/ 2964088 h 3788731"/>
              <a:gd name="connsiteX25" fmla="*/ 274881 w 2777761"/>
              <a:gd name="connsiteY25" fmla="*/ 3087504 h 3788731"/>
              <a:gd name="connsiteX26" fmla="*/ 504884 w 2777761"/>
              <a:gd name="connsiteY26" fmla="*/ 2986527 h 3788731"/>
              <a:gd name="connsiteX27" fmla="*/ 471225 w 2777761"/>
              <a:gd name="connsiteY27" fmla="*/ 3115553 h 3788731"/>
              <a:gd name="connsiteX28" fmla="*/ 572201 w 2777761"/>
              <a:gd name="connsiteY28" fmla="*/ 3160431 h 3788731"/>
              <a:gd name="connsiteX29" fmla="*/ 381468 w 2777761"/>
              <a:gd name="connsiteY29" fmla="*/ 3620436 h 3788731"/>
              <a:gd name="connsiteX30" fmla="*/ 196344 w 2777761"/>
              <a:gd name="connsiteY30" fmla="*/ 3665315 h 3788731"/>
              <a:gd name="connsiteX31" fmla="*/ 263662 w 2777761"/>
              <a:gd name="connsiteY31" fmla="*/ 3766291 h 3788731"/>
              <a:gd name="connsiteX32" fmla="*/ 555372 w 2777761"/>
              <a:gd name="connsiteY32" fmla="*/ 3788731 h 3788731"/>
              <a:gd name="connsiteX33" fmla="*/ 589031 w 2777761"/>
              <a:gd name="connsiteY33" fmla="*/ 3581168 h 3788731"/>
              <a:gd name="connsiteX34" fmla="*/ 645129 w 2777761"/>
              <a:gd name="connsiteY34" fmla="*/ 3575558 h 3788731"/>
              <a:gd name="connsiteX35" fmla="*/ 690008 w 2777761"/>
              <a:gd name="connsiteY35" fmla="*/ 3698974 h 3788731"/>
              <a:gd name="connsiteX36" fmla="*/ 774155 w 2777761"/>
              <a:gd name="connsiteY36" fmla="*/ 3704584 h 3788731"/>
              <a:gd name="connsiteX37" fmla="*/ 779765 w 2777761"/>
              <a:gd name="connsiteY37" fmla="*/ 3474581 h 3788731"/>
              <a:gd name="connsiteX38" fmla="*/ 746106 w 2777761"/>
              <a:gd name="connsiteY38" fmla="*/ 3205310 h 3788731"/>
              <a:gd name="connsiteX39" fmla="*/ 903181 w 2777761"/>
              <a:gd name="connsiteY39" fmla="*/ 2627499 h 3788731"/>
              <a:gd name="connsiteX40" fmla="*/ 1166842 w 2777761"/>
              <a:gd name="connsiteY40" fmla="*/ 2520912 h 3788731"/>
              <a:gd name="connsiteX41" fmla="*/ 1531480 w 2777761"/>
              <a:gd name="connsiteY41" fmla="*/ 2627499 h 3788731"/>
              <a:gd name="connsiteX42" fmla="*/ 1593188 w 2777761"/>
              <a:gd name="connsiteY42" fmla="*/ 2627499 h 3788731"/>
              <a:gd name="connsiteX43" fmla="*/ 1649286 w 2777761"/>
              <a:gd name="connsiteY43" fmla="*/ 2728476 h 3788731"/>
              <a:gd name="connsiteX44" fmla="*/ 1800751 w 2777761"/>
              <a:gd name="connsiteY44" fmla="*/ 2762134 h 3788731"/>
              <a:gd name="connsiteX45" fmla="*/ 1811971 w 2777761"/>
              <a:gd name="connsiteY45" fmla="*/ 2795793 h 3788731"/>
              <a:gd name="connsiteX46" fmla="*/ 1772702 w 2777761"/>
              <a:gd name="connsiteY46" fmla="*/ 2997747 h 3788731"/>
              <a:gd name="connsiteX47" fmla="*/ 1750263 w 2777761"/>
              <a:gd name="connsiteY47" fmla="*/ 3323116 h 3788731"/>
              <a:gd name="connsiteX48" fmla="*/ 1542700 w 2777761"/>
              <a:gd name="connsiteY48" fmla="*/ 3345555 h 3788731"/>
              <a:gd name="connsiteX49" fmla="*/ 1206111 w 2777761"/>
              <a:gd name="connsiteY49" fmla="*/ 3396044 h 3788731"/>
              <a:gd name="connsiteX50" fmla="*/ 1178062 w 2777761"/>
              <a:gd name="connsiteY50" fmla="*/ 3468971 h 3788731"/>
              <a:gd name="connsiteX51" fmla="*/ 1116354 w 2777761"/>
              <a:gd name="connsiteY51" fmla="*/ 3497020 h 3788731"/>
              <a:gd name="connsiteX52" fmla="*/ 1144403 w 2777761"/>
              <a:gd name="connsiteY52" fmla="*/ 3631656 h 3788731"/>
              <a:gd name="connsiteX53" fmla="*/ 1284648 w 2777761"/>
              <a:gd name="connsiteY53" fmla="*/ 3637266 h 3788731"/>
              <a:gd name="connsiteX54" fmla="*/ 1279038 w 2777761"/>
              <a:gd name="connsiteY54" fmla="*/ 3485801 h 3788731"/>
              <a:gd name="connsiteX55" fmla="*/ 1458552 w 2777761"/>
              <a:gd name="connsiteY55" fmla="*/ 3497020 h 3788731"/>
              <a:gd name="connsiteX56" fmla="*/ 1430503 w 2777761"/>
              <a:gd name="connsiteY56" fmla="*/ 3575558 h 3788731"/>
              <a:gd name="connsiteX57" fmla="*/ 1402454 w 2777761"/>
              <a:gd name="connsiteY57" fmla="*/ 3637266 h 3788731"/>
              <a:gd name="connsiteX58" fmla="*/ 1318307 w 2777761"/>
              <a:gd name="connsiteY58" fmla="*/ 3654095 h 3788731"/>
              <a:gd name="connsiteX59" fmla="*/ 1452943 w 2777761"/>
              <a:gd name="connsiteY59" fmla="*/ 3777511 h 3788731"/>
              <a:gd name="connsiteX60" fmla="*/ 1520260 w 2777761"/>
              <a:gd name="connsiteY60" fmla="*/ 3642876 h 3788731"/>
              <a:gd name="connsiteX61" fmla="*/ 1823190 w 2777761"/>
              <a:gd name="connsiteY61" fmla="*/ 3541899 h 3788731"/>
              <a:gd name="connsiteX62" fmla="*/ 2159779 w 2777761"/>
              <a:gd name="connsiteY62" fmla="*/ 3614826 h 3788731"/>
              <a:gd name="connsiteX63" fmla="*/ 2114901 w 2777761"/>
              <a:gd name="connsiteY63" fmla="*/ 3715803 h 3788731"/>
              <a:gd name="connsiteX64" fmla="*/ 2210268 w 2777761"/>
              <a:gd name="connsiteY64" fmla="*/ 3783121 h 3788731"/>
              <a:gd name="connsiteX65" fmla="*/ 2283195 w 2777761"/>
              <a:gd name="connsiteY65" fmla="*/ 3732633 h 3788731"/>
              <a:gd name="connsiteX66" fmla="*/ 2271976 w 2777761"/>
              <a:gd name="connsiteY66" fmla="*/ 3637266 h 3788731"/>
              <a:gd name="connsiteX67" fmla="*/ 2451490 w 2777761"/>
              <a:gd name="connsiteY67" fmla="*/ 3558728 h 3788731"/>
              <a:gd name="connsiteX68" fmla="*/ 2434660 w 2777761"/>
              <a:gd name="connsiteY68" fmla="*/ 3384824 h 3788731"/>
              <a:gd name="connsiteX69" fmla="*/ 1929777 w 2777761"/>
              <a:gd name="connsiteY69" fmla="*/ 3356775 h 3788731"/>
              <a:gd name="connsiteX70" fmla="*/ 1918557 w 2777761"/>
              <a:gd name="connsiteY70" fmla="*/ 3031406 h 3788731"/>
              <a:gd name="connsiteX71" fmla="*/ 1884898 w 2777761"/>
              <a:gd name="connsiteY71" fmla="*/ 3014576 h 3788731"/>
              <a:gd name="connsiteX72" fmla="*/ 1907338 w 2777761"/>
              <a:gd name="connsiteY72" fmla="*/ 2835062 h 3788731"/>
              <a:gd name="connsiteX73" fmla="*/ 1862459 w 2777761"/>
              <a:gd name="connsiteY73" fmla="*/ 2773354 h 3788731"/>
              <a:gd name="connsiteX74" fmla="*/ 2109291 w 2777761"/>
              <a:gd name="connsiteY74" fmla="*/ 2717256 h 3788731"/>
              <a:gd name="connsiteX75" fmla="*/ 2131730 w 2777761"/>
              <a:gd name="connsiteY75" fmla="*/ 2588230 h 3788731"/>
              <a:gd name="connsiteX76" fmla="*/ 2372952 w 2777761"/>
              <a:gd name="connsiteY76" fmla="*/ 2621889 h 3788731"/>
              <a:gd name="connsiteX77" fmla="*/ 2597345 w 2777761"/>
              <a:gd name="connsiteY77" fmla="*/ 2032858 h 3788731"/>
              <a:gd name="connsiteX78" fmla="*/ 2552466 w 2777761"/>
              <a:gd name="connsiteY78" fmla="*/ 1948711 h 3788731"/>
              <a:gd name="connsiteX79" fmla="*/ 2698322 w 2777761"/>
              <a:gd name="connsiteY79" fmla="*/ 1460657 h 3788731"/>
              <a:gd name="connsiteX80" fmla="*/ 2642224 w 2777761"/>
              <a:gd name="connsiteY80" fmla="*/ 1354071 h 3788731"/>
              <a:gd name="connsiteX81" fmla="*/ 2485148 w 2777761"/>
              <a:gd name="connsiteY81" fmla="*/ 798699 h 3788731"/>
              <a:gd name="connsiteX82" fmla="*/ 2743201 w 2777761"/>
              <a:gd name="connsiteY82" fmla="*/ 675283 h 3788731"/>
              <a:gd name="connsiteX83" fmla="*/ 2715151 w 2777761"/>
              <a:gd name="connsiteY83" fmla="*/ 434061 h 3788731"/>
              <a:gd name="connsiteX84" fmla="*/ 2631004 w 2777761"/>
              <a:gd name="connsiteY84" fmla="*/ 86253 h 3788731"/>
              <a:gd name="connsiteX0" fmla="*/ 2631004 w 2777761"/>
              <a:gd name="connsiteY0" fmla="*/ 86253 h 3788731"/>
              <a:gd name="connsiteX1" fmla="*/ 2434660 w 2777761"/>
              <a:gd name="connsiteY1" fmla="*/ 2105 h 3788731"/>
              <a:gd name="connsiteX2" fmla="*/ 2193438 w 2777761"/>
              <a:gd name="connsiteY2" fmla="*/ 159180 h 3788731"/>
              <a:gd name="connsiteX3" fmla="*/ 2092462 w 2777761"/>
              <a:gd name="connsiteY3" fmla="*/ 198449 h 3788731"/>
              <a:gd name="connsiteX4" fmla="*/ 2142950 w 2777761"/>
              <a:gd name="connsiteY4" fmla="*/ 288206 h 3788731"/>
              <a:gd name="connsiteX5" fmla="*/ 2030754 w 2777761"/>
              <a:gd name="connsiteY5" fmla="*/ 450890 h 3788731"/>
              <a:gd name="connsiteX6" fmla="*/ 2137342 w 2777761"/>
              <a:gd name="connsiteY6" fmla="*/ 585526 h 3788731"/>
              <a:gd name="connsiteX7" fmla="*/ 2159779 w 2777761"/>
              <a:gd name="connsiteY7" fmla="*/ 708942 h 3788731"/>
              <a:gd name="connsiteX8" fmla="*/ 2030754 w 2777761"/>
              <a:gd name="connsiteY8" fmla="*/ 753820 h 3788731"/>
              <a:gd name="connsiteX9" fmla="*/ 1997095 w 2777761"/>
              <a:gd name="connsiteY9" fmla="*/ 821138 h 3788731"/>
              <a:gd name="connsiteX10" fmla="*/ 1997095 w 2777761"/>
              <a:gd name="connsiteY10" fmla="*/ 708942 h 3788731"/>
              <a:gd name="connsiteX11" fmla="*/ 1946606 w 2777761"/>
              <a:gd name="connsiteY11" fmla="*/ 669673 h 3788731"/>
              <a:gd name="connsiteX12" fmla="*/ 1783922 w 2777761"/>
              <a:gd name="connsiteY12" fmla="*/ 770649 h 3788731"/>
              <a:gd name="connsiteX13" fmla="*/ 1402454 w 2777761"/>
              <a:gd name="connsiteY13" fmla="*/ 579916 h 3788731"/>
              <a:gd name="connsiteX14" fmla="*/ 1666115 w 2777761"/>
              <a:gd name="connsiteY14" fmla="*/ 1129678 h 3788731"/>
              <a:gd name="connsiteX15" fmla="*/ 1800751 w 2777761"/>
              <a:gd name="connsiteY15" fmla="*/ 1225045 h 3788731"/>
              <a:gd name="connsiteX16" fmla="*/ 1649286 w 2777761"/>
              <a:gd name="connsiteY16" fmla="*/ 1449437 h 3788731"/>
              <a:gd name="connsiteX17" fmla="*/ 1727824 w 2777761"/>
              <a:gd name="connsiteY17" fmla="*/ 1668220 h 3788731"/>
              <a:gd name="connsiteX18" fmla="*/ 1817581 w 2777761"/>
              <a:gd name="connsiteY18" fmla="*/ 1662611 h 3788731"/>
              <a:gd name="connsiteX19" fmla="*/ 1626846 w 2777761"/>
              <a:gd name="connsiteY19" fmla="*/ 1858954 h 3788731"/>
              <a:gd name="connsiteX20" fmla="*/ 914400 w 2777761"/>
              <a:gd name="connsiteY20" fmla="*/ 1578463 h 3788731"/>
              <a:gd name="connsiteX21" fmla="*/ 460005 w 2777761"/>
              <a:gd name="connsiteY21" fmla="*/ 2605060 h 3788731"/>
              <a:gd name="connsiteX22" fmla="*/ 263662 w 2777761"/>
              <a:gd name="connsiteY22" fmla="*/ 2812623 h 3788731"/>
              <a:gd name="connsiteX23" fmla="*/ 44879 w 2777761"/>
              <a:gd name="connsiteY23" fmla="*/ 2857501 h 3788731"/>
              <a:gd name="connsiteX24" fmla="*/ 0 w 2777761"/>
              <a:gd name="connsiteY24" fmla="*/ 2964088 h 3788731"/>
              <a:gd name="connsiteX25" fmla="*/ 274881 w 2777761"/>
              <a:gd name="connsiteY25" fmla="*/ 3087504 h 3788731"/>
              <a:gd name="connsiteX26" fmla="*/ 504884 w 2777761"/>
              <a:gd name="connsiteY26" fmla="*/ 2986527 h 3788731"/>
              <a:gd name="connsiteX27" fmla="*/ 471225 w 2777761"/>
              <a:gd name="connsiteY27" fmla="*/ 3115553 h 3788731"/>
              <a:gd name="connsiteX28" fmla="*/ 572201 w 2777761"/>
              <a:gd name="connsiteY28" fmla="*/ 3160431 h 3788731"/>
              <a:gd name="connsiteX29" fmla="*/ 381468 w 2777761"/>
              <a:gd name="connsiteY29" fmla="*/ 3620436 h 3788731"/>
              <a:gd name="connsiteX30" fmla="*/ 196344 w 2777761"/>
              <a:gd name="connsiteY30" fmla="*/ 3665315 h 3788731"/>
              <a:gd name="connsiteX31" fmla="*/ 263662 w 2777761"/>
              <a:gd name="connsiteY31" fmla="*/ 3766291 h 3788731"/>
              <a:gd name="connsiteX32" fmla="*/ 555372 w 2777761"/>
              <a:gd name="connsiteY32" fmla="*/ 3788731 h 3788731"/>
              <a:gd name="connsiteX33" fmla="*/ 589031 w 2777761"/>
              <a:gd name="connsiteY33" fmla="*/ 3581168 h 3788731"/>
              <a:gd name="connsiteX34" fmla="*/ 645129 w 2777761"/>
              <a:gd name="connsiteY34" fmla="*/ 3575558 h 3788731"/>
              <a:gd name="connsiteX35" fmla="*/ 690008 w 2777761"/>
              <a:gd name="connsiteY35" fmla="*/ 3698974 h 3788731"/>
              <a:gd name="connsiteX36" fmla="*/ 774155 w 2777761"/>
              <a:gd name="connsiteY36" fmla="*/ 3704584 h 3788731"/>
              <a:gd name="connsiteX37" fmla="*/ 779765 w 2777761"/>
              <a:gd name="connsiteY37" fmla="*/ 3474581 h 3788731"/>
              <a:gd name="connsiteX38" fmla="*/ 746106 w 2777761"/>
              <a:gd name="connsiteY38" fmla="*/ 3205310 h 3788731"/>
              <a:gd name="connsiteX39" fmla="*/ 903181 w 2777761"/>
              <a:gd name="connsiteY39" fmla="*/ 2627499 h 3788731"/>
              <a:gd name="connsiteX40" fmla="*/ 1166842 w 2777761"/>
              <a:gd name="connsiteY40" fmla="*/ 2520912 h 3788731"/>
              <a:gd name="connsiteX41" fmla="*/ 1531480 w 2777761"/>
              <a:gd name="connsiteY41" fmla="*/ 2627499 h 3788731"/>
              <a:gd name="connsiteX42" fmla="*/ 1593188 w 2777761"/>
              <a:gd name="connsiteY42" fmla="*/ 2627499 h 3788731"/>
              <a:gd name="connsiteX43" fmla="*/ 1649286 w 2777761"/>
              <a:gd name="connsiteY43" fmla="*/ 2728476 h 3788731"/>
              <a:gd name="connsiteX44" fmla="*/ 1800751 w 2777761"/>
              <a:gd name="connsiteY44" fmla="*/ 2762134 h 3788731"/>
              <a:gd name="connsiteX45" fmla="*/ 1811971 w 2777761"/>
              <a:gd name="connsiteY45" fmla="*/ 2795793 h 3788731"/>
              <a:gd name="connsiteX46" fmla="*/ 1772702 w 2777761"/>
              <a:gd name="connsiteY46" fmla="*/ 2997747 h 3788731"/>
              <a:gd name="connsiteX47" fmla="*/ 1750263 w 2777761"/>
              <a:gd name="connsiteY47" fmla="*/ 3323116 h 3788731"/>
              <a:gd name="connsiteX48" fmla="*/ 1542700 w 2777761"/>
              <a:gd name="connsiteY48" fmla="*/ 3345555 h 3788731"/>
              <a:gd name="connsiteX49" fmla="*/ 1206111 w 2777761"/>
              <a:gd name="connsiteY49" fmla="*/ 3396044 h 3788731"/>
              <a:gd name="connsiteX50" fmla="*/ 1178062 w 2777761"/>
              <a:gd name="connsiteY50" fmla="*/ 3468971 h 3788731"/>
              <a:gd name="connsiteX51" fmla="*/ 1116354 w 2777761"/>
              <a:gd name="connsiteY51" fmla="*/ 3497020 h 3788731"/>
              <a:gd name="connsiteX52" fmla="*/ 1144403 w 2777761"/>
              <a:gd name="connsiteY52" fmla="*/ 3631656 h 3788731"/>
              <a:gd name="connsiteX53" fmla="*/ 1284648 w 2777761"/>
              <a:gd name="connsiteY53" fmla="*/ 3637266 h 3788731"/>
              <a:gd name="connsiteX54" fmla="*/ 1279038 w 2777761"/>
              <a:gd name="connsiteY54" fmla="*/ 3485801 h 3788731"/>
              <a:gd name="connsiteX55" fmla="*/ 1458552 w 2777761"/>
              <a:gd name="connsiteY55" fmla="*/ 3497020 h 3788731"/>
              <a:gd name="connsiteX56" fmla="*/ 1430503 w 2777761"/>
              <a:gd name="connsiteY56" fmla="*/ 3575558 h 3788731"/>
              <a:gd name="connsiteX57" fmla="*/ 1402454 w 2777761"/>
              <a:gd name="connsiteY57" fmla="*/ 3637266 h 3788731"/>
              <a:gd name="connsiteX58" fmla="*/ 1318307 w 2777761"/>
              <a:gd name="connsiteY58" fmla="*/ 3654095 h 3788731"/>
              <a:gd name="connsiteX59" fmla="*/ 1452943 w 2777761"/>
              <a:gd name="connsiteY59" fmla="*/ 3777511 h 3788731"/>
              <a:gd name="connsiteX60" fmla="*/ 1520260 w 2777761"/>
              <a:gd name="connsiteY60" fmla="*/ 3642876 h 3788731"/>
              <a:gd name="connsiteX61" fmla="*/ 1823190 w 2777761"/>
              <a:gd name="connsiteY61" fmla="*/ 3541899 h 3788731"/>
              <a:gd name="connsiteX62" fmla="*/ 2159779 w 2777761"/>
              <a:gd name="connsiteY62" fmla="*/ 3614826 h 3788731"/>
              <a:gd name="connsiteX63" fmla="*/ 2114901 w 2777761"/>
              <a:gd name="connsiteY63" fmla="*/ 3715803 h 3788731"/>
              <a:gd name="connsiteX64" fmla="*/ 2210268 w 2777761"/>
              <a:gd name="connsiteY64" fmla="*/ 3783121 h 3788731"/>
              <a:gd name="connsiteX65" fmla="*/ 2283195 w 2777761"/>
              <a:gd name="connsiteY65" fmla="*/ 3732633 h 3788731"/>
              <a:gd name="connsiteX66" fmla="*/ 2271976 w 2777761"/>
              <a:gd name="connsiteY66" fmla="*/ 3637266 h 3788731"/>
              <a:gd name="connsiteX67" fmla="*/ 2451490 w 2777761"/>
              <a:gd name="connsiteY67" fmla="*/ 3558728 h 3788731"/>
              <a:gd name="connsiteX68" fmla="*/ 2434660 w 2777761"/>
              <a:gd name="connsiteY68" fmla="*/ 3384824 h 3788731"/>
              <a:gd name="connsiteX69" fmla="*/ 1929777 w 2777761"/>
              <a:gd name="connsiteY69" fmla="*/ 3356775 h 3788731"/>
              <a:gd name="connsiteX70" fmla="*/ 1918557 w 2777761"/>
              <a:gd name="connsiteY70" fmla="*/ 3031406 h 3788731"/>
              <a:gd name="connsiteX71" fmla="*/ 1884898 w 2777761"/>
              <a:gd name="connsiteY71" fmla="*/ 3014576 h 3788731"/>
              <a:gd name="connsiteX72" fmla="*/ 1907338 w 2777761"/>
              <a:gd name="connsiteY72" fmla="*/ 2835062 h 3788731"/>
              <a:gd name="connsiteX73" fmla="*/ 1862459 w 2777761"/>
              <a:gd name="connsiteY73" fmla="*/ 2773354 h 3788731"/>
              <a:gd name="connsiteX74" fmla="*/ 2109291 w 2777761"/>
              <a:gd name="connsiteY74" fmla="*/ 2717256 h 3788731"/>
              <a:gd name="connsiteX75" fmla="*/ 2131730 w 2777761"/>
              <a:gd name="connsiteY75" fmla="*/ 2588230 h 3788731"/>
              <a:gd name="connsiteX76" fmla="*/ 2372952 w 2777761"/>
              <a:gd name="connsiteY76" fmla="*/ 2621889 h 3788731"/>
              <a:gd name="connsiteX77" fmla="*/ 2597345 w 2777761"/>
              <a:gd name="connsiteY77" fmla="*/ 2032858 h 3788731"/>
              <a:gd name="connsiteX78" fmla="*/ 2552466 w 2777761"/>
              <a:gd name="connsiteY78" fmla="*/ 1948711 h 3788731"/>
              <a:gd name="connsiteX79" fmla="*/ 2698322 w 2777761"/>
              <a:gd name="connsiteY79" fmla="*/ 1460657 h 3788731"/>
              <a:gd name="connsiteX80" fmla="*/ 2642224 w 2777761"/>
              <a:gd name="connsiteY80" fmla="*/ 1354071 h 3788731"/>
              <a:gd name="connsiteX81" fmla="*/ 2485148 w 2777761"/>
              <a:gd name="connsiteY81" fmla="*/ 798699 h 3788731"/>
              <a:gd name="connsiteX82" fmla="*/ 2743201 w 2777761"/>
              <a:gd name="connsiteY82" fmla="*/ 675283 h 3788731"/>
              <a:gd name="connsiteX83" fmla="*/ 2715151 w 2777761"/>
              <a:gd name="connsiteY83" fmla="*/ 434061 h 3788731"/>
              <a:gd name="connsiteX84" fmla="*/ 2631004 w 2777761"/>
              <a:gd name="connsiteY84" fmla="*/ 86253 h 3788731"/>
              <a:gd name="connsiteX0" fmla="*/ 2631004 w 2777761"/>
              <a:gd name="connsiteY0" fmla="*/ 86253 h 3788731"/>
              <a:gd name="connsiteX1" fmla="*/ 2434660 w 2777761"/>
              <a:gd name="connsiteY1" fmla="*/ 2105 h 3788731"/>
              <a:gd name="connsiteX2" fmla="*/ 2193438 w 2777761"/>
              <a:gd name="connsiteY2" fmla="*/ 159180 h 3788731"/>
              <a:gd name="connsiteX3" fmla="*/ 2092462 w 2777761"/>
              <a:gd name="connsiteY3" fmla="*/ 198449 h 3788731"/>
              <a:gd name="connsiteX4" fmla="*/ 2142950 w 2777761"/>
              <a:gd name="connsiteY4" fmla="*/ 288206 h 3788731"/>
              <a:gd name="connsiteX5" fmla="*/ 2030754 w 2777761"/>
              <a:gd name="connsiteY5" fmla="*/ 450890 h 3788731"/>
              <a:gd name="connsiteX6" fmla="*/ 2137342 w 2777761"/>
              <a:gd name="connsiteY6" fmla="*/ 585526 h 3788731"/>
              <a:gd name="connsiteX7" fmla="*/ 2159779 w 2777761"/>
              <a:gd name="connsiteY7" fmla="*/ 708942 h 3788731"/>
              <a:gd name="connsiteX8" fmla="*/ 2030754 w 2777761"/>
              <a:gd name="connsiteY8" fmla="*/ 753820 h 3788731"/>
              <a:gd name="connsiteX9" fmla="*/ 1997095 w 2777761"/>
              <a:gd name="connsiteY9" fmla="*/ 821138 h 3788731"/>
              <a:gd name="connsiteX10" fmla="*/ 1997095 w 2777761"/>
              <a:gd name="connsiteY10" fmla="*/ 708942 h 3788731"/>
              <a:gd name="connsiteX11" fmla="*/ 1946606 w 2777761"/>
              <a:gd name="connsiteY11" fmla="*/ 669673 h 3788731"/>
              <a:gd name="connsiteX12" fmla="*/ 1783922 w 2777761"/>
              <a:gd name="connsiteY12" fmla="*/ 770649 h 3788731"/>
              <a:gd name="connsiteX13" fmla="*/ 1402454 w 2777761"/>
              <a:gd name="connsiteY13" fmla="*/ 579916 h 3788731"/>
              <a:gd name="connsiteX14" fmla="*/ 1666115 w 2777761"/>
              <a:gd name="connsiteY14" fmla="*/ 1129678 h 3788731"/>
              <a:gd name="connsiteX15" fmla="*/ 1800751 w 2777761"/>
              <a:gd name="connsiteY15" fmla="*/ 1225045 h 3788731"/>
              <a:gd name="connsiteX16" fmla="*/ 1649286 w 2777761"/>
              <a:gd name="connsiteY16" fmla="*/ 1449437 h 3788731"/>
              <a:gd name="connsiteX17" fmla="*/ 1727824 w 2777761"/>
              <a:gd name="connsiteY17" fmla="*/ 1668220 h 3788731"/>
              <a:gd name="connsiteX18" fmla="*/ 1817581 w 2777761"/>
              <a:gd name="connsiteY18" fmla="*/ 1662611 h 3788731"/>
              <a:gd name="connsiteX19" fmla="*/ 1626846 w 2777761"/>
              <a:gd name="connsiteY19" fmla="*/ 1858954 h 3788731"/>
              <a:gd name="connsiteX20" fmla="*/ 914400 w 2777761"/>
              <a:gd name="connsiteY20" fmla="*/ 1578463 h 3788731"/>
              <a:gd name="connsiteX21" fmla="*/ 460005 w 2777761"/>
              <a:gd name="connsiteY21" fmla="*/ 2605060 h 3788731"/>
              <a:gd name="connsiteX22" fmla="*/ 263662 w 2777761"/>
              <a:gd name="connsiteY22" fmla="*/ 2812623 h 3788731"/>
              <a:gd name="connsiteX23" fmla="*/ 44879 w 2777761"/>
              <a:gd name="connsiteY23" fmla="*/ 2857501 h 3788731"/>
              <a:gd name="connsiteX24" fmla="*/ 0 w 2777761"/>
              <a:gd name="connsiteY24" fmla="*/ 2964088 h 3788731"/>
              <a:gd name="connsiteX25" fmla="*/ 274881 w 2777761"/>
              <a:gd name="connsiteY25" fmla="*/ 3087504 h 3788731"/>
              <a:gd name="connsiteX26" fmla="*/ 504884 w 2777761"/>
              <a:gd name="connsiteY26" fmla="*/ 2986527 h 3788731"/>
              <a:gd name="connsiteX27" fmla="*/ 471225 w 2777761"/>
              <a:gd name="connsiteY27" fmla="*/ 3115553 h 3788731"/>
              <a:gd name="connsiteX28" fmla="*/ 572201 w 2777761"/>
              <a:gd name="connsiteY28" fmla="*/ 3160431 h 3788731"/>
              <a:gd name="connsiteX29" fmla="*/ 381468 w 2777761"/>
              <a:gd name="connsiteY29" fmla="*/ 3620436 h 3788731"/>
              <a:gd name="connsiteX30" fmla="*/ 196344 w 2777761"/>
              <a:gd name="connsiteY30" fmla="*/ 3665315 h 3788731"/>
              <a:gd name="connsiteX31" fmla="*/ 263662 w 2777761"/>
              <a:gd name="connsiteY31" fmla="*/ 3766291 h 3788731"/>
              <a:gd name="connsiteX32" fmla="*/ 555372 w 2777761"/>
              <a:gd name="connsiteY32" fmla="*/ 3788731 h 3788731"/>
              <a:gd name="connsiteX33" fmla="*/ 589031 w 2777761"/>
              <a:gd name="connsiteY33" fmla="*/ 3581168 h 3788731"/>
              <a:gd name="connsiteX34" fmla="*/ 645129 w 2777761"/>
              <a:gd name="connsiteY34" fmla="*/ 3575558 h 3788731"/>
              <a:gd name="connsiteX35" fmla="*/ 690008 w 2777761"/>
              <a:gd name="connsiteY35" fmla="*/ 3698974 h 3788731"/>
              <a:gd name="connsiteX36" fmla="*/ 774155 w 2777761"/>
              <a:gd name="connsiteY36" fmla="*/ 3704584 h 3788731"/>
              <a:gd name="connsiteX37" fmla="*/ 779765 w 2777761"/>
              <a:gd name="connsiteY37" fmla="*/ 3474581 h 3788731"/>
              <a:gd name="connsiteX38" fmla="*/ 746106 w 2777761"/>
              <a:gd name="connsiteY38" fmla="*/ 3205310 h 3788731"/>
              <a:gd name="connsiteX39" fmla="*/ 903181 w 2777761"/>
              <a:gd name="connsiteY39" fmla="*/ 2627499 h 3788731"/>
              <a:gd name="connsiteX40" fmla="*/ 1166842 w 2777761"/>
              <a:gd name="connsiteY40" fmla="*/ 2520912 h 3788731"/>
              <a:gd name="connsiteX41" fmla="*/ 1531480 w 2777761"/>
              <a:gd name="connsiteY41" fmla="*/ 2627499 h 3788731"/>
              <a:gd name="connsiteX42" fmla="*/ 1593188 w 2777761"/>
              <a:gd name="connsiteY42" fmla="*/ 2627499 h 3788731"/>
              <a:gd name="connsiteX43" fmla="*/ 1649286 w 2777761"/>
              <a:gd name="connsiteY43" fmla="*/ 2728476 h 3788731"/>
              <a:gd name="connsiteX44" fmla="*/ 1800751 w 2777761"/>
              <a:gd name="connsiteY44" fmla="*/ 2762134 h 3788731"/>
              <a:gd name="connsiteX45" fmla="*/ 1811971 w 2777761"/>
              <a:gd name="connsiteY45" fmla="*/ 2795793 h 3788731"/>
              <a:gd name="connsiteX46" fmla="*/ 1772702 w 2777761"/>
              <a:gd name="connsiteY46" fmla="*/ 2997747 h 3788731"/>
              <a:gd name="connsiteX47" fmla="*/ 1750263 w 2777761"/>
              <a:gd name="connsiteY47" fmla="*/ 3323116 h 3788731"/>
              <a:gd name="connsiteX48" fmla="*/ 1542700 w 2777761"/>
              <a:gd name="connsiteY48" fmla="*/ 3345555 h 3788731"/>
              <a:gd name="connsiteX49" fmla="*/ 1206111 w 2777761"/>
              <a:gd name="connsiteY49" fmla="*/ 3396044 h 3788731"/>
              <a:gd name="connsiteX50" fmla="*/ 1178062 w 2777761"/>
              <a:gd name="connsiteY50" fmla="*/ 3468971 h 3788731"/>
              <a:gd name="connsiteX51" fmla="*/ 1116354 w 2777761"/>
              <a:gd name="connsiteY51" fmla="*/ 3497020 h 3788731"/>
              <a:gd name="connsiteX52" fmla="*/ 1144403 w 2777761"/>
              <a:gd name="connsiteY52" fmla="*/ 3631656 h 3788731"/>
              <a:gd name="connsiteX53" fmla="*/ 1284648 w 2777761"/>
              <a:gd name="connsiteY53" fmla="*/ 3637266 h 3788731"/>
              <a:gd name="connsiteX54" fmla="*/ 1279038 w 2777761"/>
              <a:gd name="connsiteY54" fmla="*/ 3485801 h 3788731"/>
              <a:gd name="connsiteX55" fmla="*/ 1458552 w 2777761"/>
              <a:gd name="connsiteY55" fmla="*/ 3497020 h 3788731"/>
              <a:gd name="connsiteX56" fmla="*/ 1430503 w 2777761"/>
              <a:gd name="connsiteY56" fmla="*/ 3575558 h 3788731"/>
              <a:gd name="connsiteX57" fmla="*/ 1402454 w 2777761"/>
              <a:gd name="connsiteY57" fmla="*/ 3637266 h 3788731"/>
              <a:gd name="connsiteX58" fmla="*/ 1318307 w 2777761"/>
              <a:gd name="connsiteY58" fmla="*/ 3654095 h 3788731"/>
              <a:gd name="connsiteX59" fmla="*/ 1452943 w 2777761"/>
              <a:gd name="connsiteY59" fmla="*/ 3777511 h 3788731"/>
              <a:gd name="connsiteX60" fmla="*/ 1520260 w 2777761"/>
              <a:gd name="connsiteY60" fmla="*/ 3642876 h 3788731"/>
              <a:gd name="connsiteX61" fmla="*/ 1823190 w 2777761"/>
              <a:gd name="connsiteY61" fmla="*/ 3541899 h 3788731"/>
              <a:gd name="connsiteX62" fmla="*/ 2159779 w 2777761"/>
              <a:gd name="connsiteY62" fmla="*/ 3614826 h 3788731"/>
              <a:gd name="connsiteX63" fmla="*/ 2114901 w 2777761"/>
              <a:gd name="connsiteY63" fmla="*/ 3715803 h 3788731"/>
              <a:gd name="connsiteX64" fmla="*/ 2210268 w 2777761"/>
              <a:gd name="connsiteY64" fmla="*/ 3783121 h 3788731"/>
              <a:gd name="connsiteX65" fmla="*/ 2283195 w 2777761"/>
              <a:gd name="connsiteY65" fmla="*/ 3732633 h 3788731"/>
              <a:gd name="connsiteX66" fmla="*/ 2271976 w 2777761"/>
              <a:gd name="connsiteY66" fmla="*/ 3637266 h 3788731"/>
              <a:gd name="connsiteX67" fmla="*/ 2451490 w 2777761"/>
              <a:gd name="connsiteY67" fmla="*/ 3558728 h 3788731"/>
              <a:gd name="connsiteX68" fmla="*/ 2434660 w 2777761"/>
              <a:gd name="connsiteY68" fmla="*/ 3384824 h 3788731"/>
              <a:gd name="connsiteX69" fmla="*/ 1929777 w 2777761"/>
              <a:gd name="connsiteY69" fmla="*/ 3356775 h 3788731"/>
              <a:gd name="connsiteX70" fmla="*/ 1918557 w 2777761"/>
              <a:gd name="connsiteY70" fmla="*/ 3031406 h 3788731"/>
              <a:gd name="connsiteX71" fmla="*/ 1884898 w 2777761"/>
              <a:gd name="connsiteY71" fmla="*/ 3014576 h 3788731"/>
              <a:gd name="connsiteX72" fmla="*/ 1907338 w 2777761"/>
              <a:gd name="connsiteY72" fmla="*/ 2835062 h 3788731"/>
              <a:gd name="connsiteX73" fmla="*/ 1862459 w 2777761"/>
              <a:gd name="connsiteY73" fmla="*/ 2773354 h 3788731"/>
              <a:gd name="connsiteX74" fmla="*/ 2109291 w 2777761"/>
              <a:gd name="connsiteY74" fmla="*/ 2717256 h 3788731"/>
              <a:gd name="connsiteX75" fmla="*/ 2131730 w 2777761"/>
              <a:gd name="connsiteY75" fmla="*/ 2588230 h 3788731"/>
              <a:gd name="connsiteX76" fmla="*/ 2372952 w 2777761"/>
              <a:gd name="connsiteY76" fmla="*/ 2621889 h 3788731"/>
              <a:gd name="connsiteX77" fmla="*/ 2597345 w 2777761"/>
              <a:gd name="connsiteY77" fmla="*/ 2032858 h 3788731"/>
              <a:gd name="connsiteX78" fmla="*/ 2552466 w 2777761"/>
              <a:gd name="connsiteY78" fmla="*/ 1948711 h 3788731"/>
              <a:gd name="connsiteX79" fmla="*/ 2698322 w 2777761"/>
              <a:gd name="connsiteY79" fmla="*/ 1460657 h 3788731"/>
              <a:gd name="connsiteX80" fmla="*/ 2642224 w 2777761"/>
              <a:gd name="connsiteY80" fmla="*/ 1354071 h 3788731"/>
              <a:gd name="connsiteX81" fmla="*/ 2485148 w 2777761"/>
              <a:gd name="connsiteY81" fmla="*/ 798699 h 3788731"/>
              <a:gd name="connsiteX82" fmla="*/ 2743201 w 2777761"/>
              <a:gd name="connsiteY82" fmla="*/ 675283 h 3788731"/>
              <a:gd name="connsiteX83" fmla="*/ 2715151 w 2777761"/>
              <a:gd name="connsiteY83" fmla="*/ 434061 h 3788731"/>
              <a:gd name="connsiteX84" fmla="*/ 2631004 w 2777761"/>
              <a:gd name="connsiteY84" fmla="*/ 86253 h 3788731"/>
              <a:gd name="connsiteX0" fmla="*/ 2631004 w 2777761"/>
              <a:gd name="connsiteY0" fmla="*/ 86253 h 3788731"/>
              <a:gd name="connsiteX1" fmla="*/ 2434660 w 2777761"/>
              <a:gd name="connsiteY1" fmla="*/ 2105 h 3788731"/>
              <a:gd name="connsiteX2" fmla="*/ 2193438 w 2777761"/>
              <a:gd name="connsiteY2" fmla="*/ 159180 h 3788731"/>
              <a:gd name="connsiteX3" fmla="*/ 2092462 w 2777761"/>
              <a:gd name="connsiteY3" fmla="*/ 198449 h 3788731"/>
              <a:gd name="connsiteX4" fmla="*/ 2142950 w 2777761"/>
              <a:gd name="connsiteY4" fmla="*/ 288206 h 3788731"/>
              <a:gd name="connsiteX5" fmla="*/ 2030754 w 2777761"/>
              <a:gd name="connsiteY5" fmla="*/ 450890 h 3788731"/>
              <a:gd name="connsiteX6" fmla="*/ 2137342 w 2777761"/>
              <a:gd name="connsiteY6" fmla="*/ 585526 h 3788731"/>
              <a:gd name="connsiteX7" fmla="*/ 2159779 w 2777761"/>
              <a:gd name="connsiteY7" fmla="*/ 708942 h 3788731"/>
              <a:gd name="connsiteX8" fmla="*/ 2030754 w 2777761"/>
              <a:gd name="connsiteY8" fmla="*/ 753820 h 3788731"/>
              <a:gd name="connsiteX9" fmla="*/ 1997095 w 2777761"/>
              <a:gd name="connsiteY9" fmla="*/ 821138 h 3788731"/>
              <a:gd name="connsiteX10" fmla="*/ 1997095 w 2777761"/>
              <a:gd name="connsiteY10" fmla="*/ 708942 h 3788731"/>
              <a:gd name="connsiteX11" fmla="*/ 1946606 w 2777761"/>
              <a:gd name="connsiteY11" fmla="*/ 669673 h 3788731"/>
              <a:gd name="connsiteX12" fmla="*/ 1783922 w 2777761"/>
              <a:gd name="connsiteY12" fmla="*/ 770649 h 3788731"/>
              <a:gd name="connsiteX13" fmla="*/ 1402454 w 2777761"/>
              <a:gd name="connsiteY13" fmla="*/ 579916 h 3788731"/>
              <a:gd name="connsiteX14" fmla="*/ 1666115 w 2777761"/>
              <a:gd name="connsiteY14" fmla="*/ 1129678 h 3788731"/>
              <a:gd name="connsiteX15" fmla="*/ 1800751 w 2777761"/>
              <a:gd name="connsiteY15" fmla="*/ 1225045 h 3788731"/>
              <a:gd name="connsiteX16" fmla="*/ 1649286 w 2777761"/>
              <a:gd name="connsiteY16" fmla="*/ 1449437 h 3788731"/>
              <a:gd name="connsiteX17" fmla="*/ 1727824 w 2777761"/>
              <a:gd name="connsiteY17" fmla="*/ 1668220 h 3788731"/>
              <a:gd name="connsiteX18" fmla="*/ 1817581 w 2777761"/>
              <a:gd name="connsiteY18" fmla="*/ 1662611 h 3788731"/>
              <a:gd name="connsiteX19" fmla="*/ 1626846 w 2777761"/>
              <a:gd name="connsiteY19" fmla="*/ 1858954 h 3788731"/>
              <a:gd name="connsiteX20" fmla="*/ 914400 w 2777761"/>
              <a:gd name="connsiteY20" fmla="*/ 1578463 h 3788731"/>
              <a:gd name="connsiteX21" fmla="*/ 460005 w 2777761"/>
              <a:gd name="connsiteY21" fmla="*/ 2605060 h 3788731"/>
              <a:gd name="connsiteX22" fmla="*/ 263662 w 2777761"/>
              <a:gd name="connsiteY22" fmla="*/ 2812623 h 3788731"/>
              <a:gd name="connsiteX23" fmla="*/ 44879 w 2777761"/>
              <a:gd name="connsiteY23" fmla="*/ 2857501 h 3788731"/>
              <a:gd name="connsiteX24" fmla="*/ 0 w 2777761"/>
              <a:gd name="connsiteY24" fmla="*/ 2964088 h 3788731"/>
              <a:gd name="connsiteX25" fmla="*/ 274881 w 2777761"/>
              <a:gd name="connsiteY25" fmla="*/ 3087504 h 3788731"/>
              <a:gd name="connsiteX26" fmla="*/ 504884 w 2777761"/>
              <a:gd name="connsiteY26" fmla="*/ 2986527 h 3788731"/>
              <a:gd name="connsiteX27" fmla="*/ 471225 w 2777761"/>
              <a:gd name="connsiteY27" fmla="*/ 3115553 h 3788731"/>
              <a:gd name="connsiteX28" fmla="*/ 572201 w 2777761"/>
              <a:gd name="connsiteY28" fmla="*/ 3160431 h 3788731"/>
              <a:gd name="connsiteX29" fmla="*/ 381468 w 2777761"/>
              <a:gd name="connsiteY29" fmla="*/ 3620436 h 3788731"/>
              <a:gd name="connsiteX30" fmla="*/ 196344 w 2777761"/>
              <a:gd name="connsiteY30" fmla="*/ 3665315 h 3788731"/>
              <a:gd name="connsiteX31" fmla="*/ 263662 w 2777761"/>
              <a:gd name="connsiteY31" fmla="*/ 3766291 h 3788731"/>
              <a:gd name="connsiteX32" fmla="*/ 555372 w 2777761"/>
              <a:gd name="connsiteY32" fmla="*/ 3788731 h 3788731"/>
              <a:gd name="connsiteX33" fmla="*/ 589031 w 2777761"/>
              <a:gd name="connsiteY33" fmla="*/ 3581168 h 3788731"/>
              <a:gd name="connsiteX34" fmla="*/ 645129 w 2777761"/>
              <a:gd name="connsiteY34" fmla="*/ 3575558 h 3788731"/>
              <a:gd name="connsiteX35" fmla="*/ 690008 w 2777761"/>
              <a:gd name="connsiteY35" fmla="*/ 3698974 h 3788731"/>
              <a:gd name="connsiteX36" fmla="*/ 774155 w 2777761"/>
              <a:gd name="connsiteY36" fmla="*/ 3704584 h 3788731"/>
              <a:gd name="connsiteX37" fmla="*/ 779765 w 2777761"/>
              <a:gd name="connsiteY37" fmla="*/ 3474581 h 3788731"/>
              <a:gd name="connsiteX38" fmla="*/ 746106 w 2777761"/>
              <a:gd name="connsiteY38" fmla="*/ 3205310 h 3788731"/>
              <a:gd name="connsiteX39" fmla="*/ 903181 w 2777761"/>
              <a:gd name="connsiteY39" fmla="*/ 2627499 h 3788731"/>
              <a:gd name="connsiteX40" fmla="*/ 1166842 w 2777761"/>
              <a:gd name="connsiteY40" fmla="*/ 2520912 h 3788731"/>
              <a:gd name="connsiteX41" fmla="*/ 1531480 w 2777761"/>
              <a:gd name="connsiteY41" fmla="*/ 2627499 h 3788731"/>
              <a:gd name="connsiteX42" fmla="*/ 1593188 w 2777761"/>
              <a:gd name="connsiteY42" fmla="*/ 2627499 h 3788731"/>
              <a:gd name="connsiteX43" fmla="*/ 1649286 w 2777761"/>
              <a:gd name="connsiteY43" fmla="*/ 2728476 h 3788731"/>
              <a:gd name="connsiteX44" fmla="*/ 1800751 w 2777761"/>
              <a:gd name="connsiteY44" fmla="*/ 2762134 h 3788731"/>
              <a:gd name="connsiteX45" fmla="*/ 1811971 w 2777761"/>
              <a:gd name="connsiteY45" fmla="*/ 2795793 h 3788731"/>
              <a:gd name="connsiteX46" fmla="*/ 1772702 w 2777761"/>
              <a:gd name="connsiteY46" fmla="*/ 2997747 h 3788731"/>
              <a:gd name="connsiteX47" fmla="*/ 1750263 w 2777761"/>
              <a:gd name="connsiteY47" fmla="*/ 3323116 h 3788731"/>
              <a:gd name="connsiteX48" fmla="*/ 1542700 w 2777761"/>
              <a:gd name="connsiteY48" fmla="*/ 3345555 h 3788731"/>
              <a:gd name="connsiteX49" fmla="*/ 1206111 w 2777761"/>
              <a:gd name="connsiteY49" fmla="*/ 3396044 h 3788731"/>
              <a:gd name="connsiteX50" fmla="*/ 1178062 w 2777761"/>
              <a:gd name="connsiteY50" fmla="*/ 3468971 h 3788731"/>
              <a:gd name="connsiteX51" fmla="*/ 1116354 w 2777761"/>
              <a:gd name="connsiteY51" fmla="*/ 3497020 h 3788731"/>
              <a:gd name="connsiteX52" fmla="*/ 1144403 w 2777761"/>
              <a:gd name="connsiteY52" fmla="*/ 3631656 h 3788731"/>
              <a:gd name="connsiteX53" fmla="*/ 1284648 w 2777761"/>
              <a:gd name="connsiteY53" fmla="*/ 3637266 h 3788731"/>
              <a:gd name="connsiteX54" fmla="*/ 1279038 w 2777761"/>
              <a:gd name="connsiteY54" fmla="*/ 3485801 h 3788731"/>
              <a:gd name="connsiteX55" fmla="*/ 1458552 w 2777761"/>
              <a:gd name="connsiteY55" fmla="*/ 3497020 h 3788731"/>
              <a:gd name="connsiteX56" fmla="*/ 1430503 w 2777761"/>
              <a:gd name="connsiteY56" fmla="*/ 3575558 h 3788731"/>
              <a:gd name="connsiteX57" fmla="*/ 1402454 w 2777761"/>
              <a:gd name="connsiteY57" fmla="*/ 3637266 h 3788731"/>
              <a:gd name="connsiteX58" fmla="*/ 1318307 w 2777761"/>
              <a:gd name="connsiteY58" fmla="*/ 3654095 h 3788731"/>
              <a:gd name="connsiteX59" fmla="*/ 1452943 w 2777761"/>
              <a:gd name="connsiteY59" fmla="*/ 3777511 h 3788731"/>
              <a:gd name="connsiteX60" fmla="*/ 1520260 w 2777761"/>
              <a:gd name="connsiteY60" fmla="*/ 3642876 h 3788731"/>
              <a:gd name="connsiteX61" fmla="*/ 1823190 w 2777761"/>
              <a:gd name="connsiteY61" fmla="*/ 3541899 h 3788731"/>
              <a:gd name="connsiteX62" fmla="*/ 2159779 w 2777761"/>
              <a:gd name="connsiteY62" fmla="*/ 3614826 h 3788731"/>
              <a:gd name="connsiteX63" fmla="*/ 2114901 w 2777761"/>
              <a:gd name="connsiteY63" fmla="*/ 3715803 h 3788731"/>
              <a:gd name="connsiteX64" fmla="*/ 2210268 w 2777761"/>
              <a:gd name="connsiteY64" fmla="*/ 3783121 h 3788731"/>
              <a:gd name="connsiteX65" fmla="*/ 2283195 w 2777761"/>
              <a:gd name="connsiteY65" fmla="*/ 3732633 h 3788731"/>
              <a:gd name="connsiteX66" fmla="*/ 2271976 w 2777761"/>
              <a:gd name="connsiteY66" fmla="*/ 3637266 h 3788731"/>
              <a:gd name="connsiteX67" fmla="*/ 2451490 w 2777761"/>
              <a:gd name="connsiteY67" fmla="*/ 3558728 h 3788731"/>
              <a:gd name="connsiteX68" fmla="*/ 2434660 w 2777761"/>
              <a:gd name="connsiteY68" fmla="*/ 3384824 h 3788731"/>
              <a:gd name="connsiteX69" fmla="*/ 1929777 w 2777761"/>
              <a:gd name="connsiteY69" fmla="*/ 3356775 h 3788731"/>
              <a:gd name="connsiteX70" fmla="*/ 1918557 w 2777761"/>
              <a:gd name="connsiteY70" fmla="*/ 3031406 h 3788731"/>
              <a:gd name="connsiteX71" fmla="*/ 1884898 w 2777761"/>
              <a:gd name="connsiteY71" fmla="*/ 3014576 h 3788731"/>
              <a:gd name="connsiteX72" fmla="*/ 1907338 w 2777761"/>
              <a:gd name="connsiteY72" fmla="*/ 2835062 h 3788731"/>
              <a:gd name="connsiteX73" fmla="*/ 1862459 w 2777761"/>
              <a:gd name="connsiteY73" fmla="*/ 2773354 h 3788731"/>
              <a:gd name="connsiteX74" fmla="*/ 2109291 w 2777761"/>
              <a:gd name="connsiteY74" fmla="*/ 2717256 h 3788731"/>
              <a:gd name="connsiteX75" fmla="*/ 2131730 w 2777761"/>
              <a:gd name="connsiteY75" fmla="*/ 2588230 h 3788731"/>
              <a:gd name="connsiteX76" fmla="*/ 2372952 w 2777761"/>
              <a:gd name="connsiteY76" fmla="*/ 2621889 h 3788731"/>
              <a:gd name="connsiteX77" fmla="*/ 2597345 w 2777761"/>
              <a:gd name="connsiteY77" fmla="*/ 2032858 h 3788731"/>
              <a:gd name="connsiteX78" fmla="*/ 2552466 w 2777761"/>
              <a:gd name="connsiteY78" fmla="*/ 1948711 h 3788731"/>
              <a:gd name="connsiteX79" fmla="*/ 2698322 w 2777761"/>
              <a:gd name="connsiteY79" fmla="*/ 1460657 h 3788731"/>
              <a:gd name="connsiteX80" fmla="*/ 2642224 w 2777761"/>
              <a:gd name="connsiteY80" fmla="*/ 1354071 h 3788731"/>
              <a:gd name="connsiteX81" fmla="*/ 2485148 w 2777761"/>
              <a:gd name="connsiteY81" fmla="*/ 798699 h 3788731"/>
              <a:gd name="connsiteX82" fmla="*/ 2743201 w 2777761"/>
              <a:gd name="connsiteY82" fmla="*/ 675283 h 3788731"/>
              <a:gd name="connsiteX83" fmla="*/ 2715151 w 2777761"/>
              <a:gd name="connsiteY83" fmla="*/ 434061 h 3788731"/>
              <a:gd name="connsiteX84" fmla="*/ 2631004 w 2777761"/>
              <a:gd name="connsiteY84" fmla="*/ 86253 h 3788731"/>
              <a:gd name="connsiteX0" fmla="*/ 2631004 w 2777761"/>
              <a:gd name="connsiteY0" fmla="*/ 86253 h 3788731"/>
              <a:gd name="connsiteX1" fmla="*/ 2434660 w 2777761"/>
              <a:gd name="connsiteY1" fmla="*/ 2105 h 3788731"/>
              <a:gd name="connsiteX2" fmla="*/ 2193438 w 2777761"/>
              <a:gd name="connsiteY2" fmla="*/ 159180 h 3788731"/>
              <a:gd name="connsiteX3" fmla="*/ 2092462 w 2777761"/>
              <a:gd name="connsiteY3" fmla="*/ 198449 h 3788731"/>
              <a:gd name="connsiteX4" fmla="*/ 2142950 w 2777761"/>
              <a:gd name="connsiteY4" fmla="*/ 288206 h 3788731"/>
              <a:gd name="connsiteX5" fmla="*/ 2030754 w 2777761"/>
              <a:gd name="connsiteY5" fmla="*/ 450890 h 3788731"/>
              <a:gd name="connsiteX6" fmla="*/ 2137342 w 2777761"/>
              <a:gd name="connsiteY6" fmla="*/ 585526 h 3788731"/>
              <a:gd name="connsiteX7" fmla="*/ 2159779 w 2777761"/>
              <a:gd name="connsiteY7" fmla="*/ 708942 h 3788731"/>
              <a:gd name="connsiteX8" fmla="*/ 2030754 w 2777761"/>
              <a:gd name="connsiteY8" fmla="*/ 753820 h 3788731"/>
              <a:gd name="connsiteX9" fmla="*/ 1997095 w 2777761"/>
              <a:gd name="connsiteY9" fmla="*/ 821138 h 3788731"/>
              <a:gd name="connsiteX10" fmla="*/ 1997095 w 2777761"/>
              <a:gd name="connsiteY10" fmla="*/ 708942 h 3788731"/>
              <a:gd name="connsiteX11" fmla="*/ 1946606 w 2777761"/>
              <a:gd name="connsiteY11" fmla="*/ 669673 h 3788731"/>
              <a:gd name="connsiteX12" fmla="*/ 1783922 w 2777761"/>
              <a:gd name="connsiteY12" fmla="*/ 770649 h 3788731"/>
              <a:gd name="connsiteX13" fmla="*/ 1402454 w 2777761"/>
              <a:gd name="connsiteY13" fmla="*/ 579916 h 3788731"/>
              <a:gd name="connsiteX14" fmla="*/ 1666115 w 2777761"/>
              <a:gd name="connsiteY14" fmla="*/ 1129678 h 3788731"/>
              <a:gd name="connsiteX15" fmla="*/ 1800751 w 2777761"/>
              <a:gd name="connsiteY15" fmla="*/ 1225045 h 3788731"/>
              <a:gd name="connsiteX16" fmla="*/ 1649286 w 2777761"/>
              <a:gd name="connsiteY16" fmla="*/ 1449437 h 3788731"/>
              <a:gd name="connsiteX17" fmla="*/ 1727824 w 2777761"/>
              <a:gd name="connsiteY17" fmla="*/ 1668220 h 3788731"/>
              <a:gd name="connsiteX18" fmla="*/ 1817581 w 2777761"/>
              <a:gd name="connsiteY18" fmla="*/ 1662611 h 3788731"/>
              <a:gd name="connsiteX19" fmla="*/ 1626846 w 2777761"/>
              <a:gd name="connsiteY19" fmla="*/ 1858954 h 3788731"/>
              <a:gd name="connsiteX20" fmla="*/ 914400 w 2777761"/>
              <a:gd name="connsiteY20" fmla="*/ 1578463 h 3788731"/>
              <a:gd name="connsiteX21" fmla="*/ 460005 w 2777761"/>
              <a:gd name="connsiteY21" fmla="*/ 2605060 h 3788731"/>
              <a:gd name="connsiteX22" fmla="*/ 263662 w 2777761"/>
              <a:gd name="connsiteY22" fmla="*/ 2812623 h 3788731"/>
              <a:gd name="connsiteX23" fmla="*/ 44879 w 2777761"/>
              <a:gd name="connsiteY23" fmla="*/ 2857501 h 3788731"/>
              <a:gd name="connsiteX24" fmla="*/ 0 w 2777761"/>
              <a:gd name="connsiteY24" fmla="*/ 2964088 h 3788731"/>
              <a:gd name="connsiteX25" fmla="*/ 274881 w 2777761"/>
              <a:gd name="connsiteY25" fmla="*/ 3087504 h 3788731"/>
              <a:gd name="connsiteX26" fmla="*/ 504884 w 2777761"/>
              <a:gd name="connsiteY26" fmla="*/ 2986527 h 3788731"/>
              <a:gd name="connsiteX27" fmla="*/ 471225 w 2777761"/>
              <a:gd name="connsiteY27" fmla="*/ 3115553 h 3788731"/>
              <a:gd name="connsiteX28" fmla="*/ 572201 w 2777761"/>
              <a:gd name="connsiteY28" fmla="*/ 3160431 h 3788731"/>
              <a:gd name="connsiteX29" fmla="*/ 381468 w 2777761"/>
              <a:gd name="connsiteY29" fmla="*/ 3620436 h 3788731"/>
              <a:gd name="connsiteX30" fmla="*/ 196344 w 2777761"/>
              <a:gd name="connsiteY30" fmla="*/ 3665315 h 3788731"/>
              <a:gd name="connsiteX31" fmla="*/ 263662 w 2777761"/>
              <a:gd name="connsiteY31" fmla="*/ 3766291 h 3788731"/>
              <a:gd name="connsiteX32" fmla="*/ 555372 w 2777761"/>
              <a:gd name="connsiteY32" fmla="*/ 3788731 h 3788731"/>
              <a:gd name="connsiteX33" fmla="*/ 589031 w 2777761"/>
              <a:gd name="connsiteY33" fmla="*/ 3581168 h 3788731"/>
              <a:gd name="connsiteX34" fmla="*/ 645129 w 2777761"/>
              <a:gd name="connsiteY34" fmla="*/ 3575558 h 3788731"/>
              <a:gd name="connsiteX35" fmla="*/ 690008 w 2777761"/>
              <a:gd name="connsiteY35" fmla="*/ 3698974 h 3788731"/>
              <a:gd name="connsiteX36" fmla="*/ 774155 w 2777761"/>
              <a:gd name="connsiteY36" fmla="*/ 3704584 h 3788731"/>
              <a:gd name="connsiteX37" fmla="*/ 779765 w 2777761"/>
              <a:gd name="connsiteY37" fmla="*/ 3474581 h 3788731"/>
              <a:gd name="connsiteX38" fmla="*/ 746106 w 2777761"/>
              <a:gd name="connsiteY38" fmla="*/ 3205310 h 3788731"/>
              <a:gd name="connsiteX39" fmla="*/ 903181 w 2777761"/>
              <a:gd name="connsiteY39" fmla="*/ 2627499 h 3788731"/>
              <a:gd name="connsiteX40" fmla="*/ 1166842 w 2777761"/>
              <a:gd name="connsiteY40" fmla="*/ 2520912 h 3788731"/>
              <a:gd name="connsiteX41" fmla="*/ 1531480 w 2777761"/>
              <a:gd name="connsiteY41" fmla="*/ 2627499 h 3788731"/>
              <a:gd name="connsiteX42" fmla="*/ 1593188 w 2777761"/>
              <a:gd name="connsiteY42" fmla="*/ 2627499 h 3788731"/>
              <a:gd name="connsiteX43" fmla="*/ 1649286 w 2777761"/>
              <a:gd name="connsiteY43" fmla="*/ 2728476 h 3788731"/>
              <a:gd name="connsiteX44" fmla="*/ 1800751 w 2777761"/>
              <a:gd name="connsiteY44" fmla="*/ 2762134 h 3788731"/>
              <a:gd name="connsiteX45" fmla="*/ 1811971 w 2777761"/>
              <a:gd name="connsiteY45" fmla="*/ 2795793 h 3788731"/>
              <a:gd name="connsiteX46" fmla="*/ 1772702 w 2777761"/>
              <a:gd name="connsiteY46" fmla="*/ 2997747 h 3788731"/>
              <a:gd name="connsiteX47" fmla="*/ 1750263 w 2777761"/>
              <a:gd name="connsiteY47" fmla="*/ 3323116 h 3788731"/>
              <a:gd name="connsiteX48" fmla="*/ 1542700 w 2777761"/>
              <a:gd name="connsiteY48" fmla="*/ 3345555 h 3788731"/>
              <a:gd name="connsiteX49" fmla="*/ 1206111 w 2777761"/>
              <a:gd name="connsiteY49" fmla="*/ 3396044 h 3788731"/>
              <a:gd name="connsiteX50" fmla="*/ 1178062 w 2777761"/>
              <a:gd name="connsiteY50" fmla="*/ 3468971 h 3788731"/>
              <a:gd name="connsiteX51" fmla="*/ 1116354 w 2777761"/>
              <a:gd name="connsiteY51" fmla="*/ 3497020 h 3788731"/>
              <a:gd name="connsiteX52" fmla="*/ 1144403 w 2777761"/>
              <a:gd name="connsiteY52" fmla="*/ 3631656 h 3788731"/>
              <a:gd name="connsiteX53" fmla="*/ 1284648 w 2777761"/>
              <a:gd name="connsiteY53" fmla="*/ 3637266 h 3788731"/>
              <a:gd name="connsiteX54" fmla="*/ 1279038 w 2777761"/>
              <a:gd name="connsiteY54" fmla="*/ 3485801 h 3788731"/>
              <a:gd name="connsiteX55" fmla="*/ 1458552 w 2777761"/>
              <a:gd name="connsiteY55" fmla="*/ 3497020 h 3788731"/>
              <a:gd name="connsiteX56" fmla="*/ 1430503 w 2777761"/>
              <a:gd name="connsiteY56" fmla="*/ 3575558 h 3788731"/>
              <a:gd name="connsiteX57" fmla="*/ 1402454 w 2777761"/>
              <a:gd name="connsiteY57" fmla="*/ 3637266 h 3788731"/>
              <a:gd name="connsiteX58" fmla="*/ 1318307 w 2777761"/>
              <a:gd name="connsiteY58" fmla="*/ 3654095 h 3788731"/>
              <a:gd name="connsiteX59" fmla="*/ 1452943 w 2777761"/>
              <a:gd name="connsiteY59" fmla="*/ 3777511 h 3788731"/>
              <a:gd name="connsiteX60" fmla="*/ 1520260 w 2777761"/>
              <a:gd name="connsiteY60" fmla="*/ 3642876 h 3788731"/>
              <a:gd name="connsiteX61" fmla="*/ 1823190 w 2777761"/>
              <a:gd name="connsiteY61" fmla="*/ 3541899 h 3788731"/>
              <a:gd name="connsiteX62" fmla="*/ 2159779 w 2777761"/>
              <a:gd name="connsiteY62" fmla="*/ 3614826 h 3788731"/>
              <a:gd name="connsiteX63" fmla="*/ 2114901 w 2777761"/>
              <a:gd name="connsiteY63" fmla="*/ 3715803 h 3788731"/>
              <a:gd name="connsiteX64" fmla="*/ 2210268 w 2777761"/>
              <a:gd name="connsiteY64" fmla="*/ 3783121 h 3788731"/>
              <a:gd name="connsiteX65" fmla="*/ 2283195 w 2777761"/>
              <a:gd name="connsiteY65" fmla="*/ 3732633 h 3788731"/>
              <a:gd name="connsiteX66" fmla="*/ 2271976 w 2777761"/>
              <a:gd name="connsiteY66" fmla="*/ 3637266 h 3788731"/>
              <a:gd name="connsiteX67" fmla="*/ 2451490 w 2777761"/>
              <a:gd name="connsiteY67" fmla="*/ 3558728 h 3788731"/>
              <a:gd name="connsiteX68" fmla="*/ 2434660 w 2777761"/>
              <a:gd name="connsiteY68" fmla="*/ 3384824 h 3788731"/>
              <a:gd name="connsiteX69" fmla="*/ 1929777 w 2777761"/>
              <a:gd name="connsiteY69" fmla="*/ 3356775 h 3788731"/>
              <a:gd name="connsiteX70" fmla="*/ 1918557 w 2777761"/>
              <a:gd name="connsiteY70" fmla="*/ 3031406 h 3788731"/>
              <a:gd name="connsiteX71" fmla="*/ 1884898 w 2777761"/>
              <a:gd name="connsiteY71" fmla="*/ 3014576 h 3788731"/>
              <a:gd name="connsiteX72" fmla="*/ 1907338 w 2777761"/>
              <a:gd name="connsiteY72" fmla="*/ 2835062 h 3788731"/>
              <a:gd name="connsiteX73" fmla="*/ 1862459 w 2777761"/>
              <a:gd name="connsiteY73" fmla="*/ 2773354 h 3788731"/>
              <a:gd name="connsiteX74" fmla="*/ 2109291 w 2777761"/>
              <a:gd name="connsiteY74" fmla="*/ 2717256 h 3788731"/>
              <a:gd name="connsiteX75" fmla="*/ 2131730 w 2777761"/>
              <a:gd name="connsiteY75" fmla="*/ 2588230 h 3788731"/>
              <a:gd name="connsiteX76" fmla="*/ 2372952 w 2777761"/>
              <a:gd name="connsiteY76" fmla="*/ 2621889 h 3788731"/>
              <a:gd name="connsiteX77" fmla="*/ 2597345 w 2777761"/>
              <a:gd name="connsiteY77" fmla="*/ 2032858 h 3788731"/>
              <a:gd name="connsiteX78" fmla="*/ 2552466 w 2777761"/>
              <a:gd name="connsiteY78" fmla="*/ 1948711 h 3788731"/>
              <a:gd name="connsiteX79" fmla="*/ 2698322 w 2777761"/>
              <a:gd name="connsiteY79" fmla="*/ 1460657 h 3788731"/>
              <a:gd name="connsiteX80" fmla="*/ 2642224 w 2777761"/>
              <a:gd name="connsiteY80" fmla="*/ 1354071 h 3788731"/>
              <a:gd name="connsiteX81" fmla="*/ 2485148 w 2777761"/>
              <a:gd name="connsiteY81" fmla="*/ 798699 h 3788731"/>
              <a:gd name="connsiteX82" fmla="*/ 2743201 w 2777761"/>
              <a:gd name="connsiteY82" fmla="*/ 675283 h 3788731"/>
              <a:gd name="connsiteX83" fmla="*/ 2715151 w 2777761"/>
              <a:gd name="connsiteY83" fmla="*/ 434061 h 3788731"/>
              <a:gd name="connsiteX84" fmla="*/ 2631004 w 2777761"/>
              <a:gd name="connsiteY84" fmla="*/ 86253 h 3788731"/>
              <a:gd name="connsiteX0" fmla="*/ 2631004 w 2777761"/>
              <a:gd name="connsiteY0" fmla="*/ 86253 h 3788731"/>
              <a:gd name="connsiteX1" fmla="*/ 2434660 w 2777761"/>
              <a:gd name="connsiteY1" fmla="*/ 2105 h 3788731"/>
              <a:gd name="connsiteX2" fmla="*/ 2193438 w 2777761"/>
              <a:gd name="connsiteY2" fmla="*/ 159180 h 3788731"/>
              <a:gd name="connsiteX3" fmla="*/ 2092462 w 2777761"/>
              <a:gd name="connsiteY3" fmla="*/ 198449 h 3788731"/>
              <a:gd name="connsiteX4" fmla="*/ 2142950 w 2777761"/>
              <a:gd name="connsiteY4" fmla="*/ 288206 h 3788731"/>
              <a:gd name="connsiteX5" fmla="*/ 2030754 w 2777761"/>
              <a:gd name="connsiteY5" fmla="*/ 450890 h 3788731"/>
              <a:gd name="connsiteX6" fmla="*/ 2137342 w 2777761"/>
              <a:gd name="connsiteY6" fmla="*/ 585526 h 3788731"/>
              <a:gd name="connsiteX7" fmla="*/ 2159779 w 2777761"/>
              <a:gd name="connsiteY7" fmla="*/ 708942 h 3788731"/>
              <a:gd name="connsiteX8" fmla="*/ 2030754 w 2777761"/>
              <a:gd name="connsiteY8" fmla="*/ 753820 h 3788731"/>
              <a:gd name="connsiteX9" fmla="*/ 1997095 w 2777761"/>
              <a:gd name="connsiteY9" fmla="*/ 821138 h 3788731"/>
              <a:gd name="connsiteX10" fmla="*/ 1997095 w 2777761"/>
              <a:gd name="connsiteY10" fmla="*/ 708942 h 3788731"/>
              <a:gd name="connsiteX11" fmla="*/ 1946606 w 2777761"/>
              <a:gd name="connsiteY11" fmla="*/ 669673 h 3788731"/>
              <a:gd name="connsiteX12" fmla="*/ 1783922 w 2777761"/>
              <a:gd name="connsiteY12" fmla="*/ 770649 h 3788731"/>
              <a:gd name="connsiteX13" fmla="*/ 1402454 w 2777761"/>
              <a:gd name="connsiteY13" fmla="*/ 579916 h 3788731"/>
              <a:gd name="connsiteX14" fmla="*/ 1666115 w 2777761"/>
              <a:gd name="connsiteY14" fmla="*/ 1129678 h 3788731"/>
              <a:gd name="connsiteX15" fmla="*/ 1800751 w 2777761"/>
              <a:gd name="connsiteY15" fmla="*/ 1225045 h 3788731"/>
              <a:gd name="connsiteX16" fmla="*/ 1649286 w 2777761"/>
              <a:gd name="connsiteY16" fmla="*/ 1449437 h 3788731"/>
              <a:gd name="connsiteX17" fmla="*/ 1727824 w 2777761"/>
              <a:gd name="connsiteY17" fmla="*/ 1668220 h 3788731"/>
              <a:gd name="connsiteX18" fmla="*/ 1817581 w 2777761"/>
              <a:gd name="connsiteY18" fmla="*/ 1662611 h 3788731"/>
              <a:gd name="connsiteX19" fmla="*/ 1626846 w 2777761"/>
              <a:gd name="connsiteY19" fmla="*/ 1858954 h 3788731"/>
              <a:gd name="connsiteX20" fmla="*/ 914400 w 2777761"/>
              <a:gd name="connsiteY20" fmla="*/ 1578463 h 3788731"/>
              <a:gd name="connsiteX21" fmla="*/ 460005 w 2777761"/>
              <a:gd name="connsiteY21" fmla="*/ 2605060 h 3788731"/>
              <a:gd name="connsiteX22" fmla="*/ 263662 w 2777761"/>
              <a:gd name="connsiteY22" fmla="*/ 2812623 h 3788731"/>
              <a:gd name="connsiteX23" fmla="*/ 44879 w 2777761"/>
              <a:gd name="connsiteY23" fmla="*/ 2857501 h 3788731"/>
              <a:gd name="connsiteX24" fmla="*/ 0 w 2777761"/>
              <a:gd name="connsiteY24" fmla="*/ 2964088 h 3788731"/>
              <a:gd name="connsiteX25" fmla="*/ 274881 w 2777761"/>
              <a:gd name="connsiteY25" fmla="*/ 3087504 h 3788731"/>
              <a:gd name="connsiteX26" fmla="*/ 504884 w 2777761"/>
              <a:gd name="connsiteY26" fmla="*/ 2986527 h 3788731"/>
              <a:gd name="connsiteX27" fmla="*/ 471225 w 2777761"/>
              <a:gd name="connsiteY27" fmla="*/ 3115553 h 3788731"/>
              <a:gd name="connsiteX28" fmla="*/ 572201 w 2777761"/>
              <a:gd name="connsiteY28" fmla="*/ 3160431 h 3788731"/>
              <a:gd name="connsiteX29" fmla="*/ 381468 w 2777761"/>
              <a:gd name="connsiteY29" fmla="*/ 3620436 h 3788731"/>
              <a:gd name="connsiteX30" fmla="*/ 196344 w 2777761"/>
              <a:gd name="connsiteY30" fmla="*/ 3665315 h 3788731"/>
              <a:gd name="connsiteX31" fmla="*/ 263662 w 2777761"/>
              <a:gd name="connsiteY31" fmla="*/ 3766291 h 3788731"/>
              <a:gd name="connsiteX32" fmla="*/ 555372 w 2777761"/>
              <a:gd name="connsiteY32" fmla="*/ 3788731 h 3788731"/>
              <a:gd name="connsiteX33" fmla="*/ 589031 w 2777761"/>
              <a:gd name="connsiteY33" fmla="*/ 3581168 h 3788731"/>
              <a:gd name="connsiteX34" fmla="*/ 645129 w 2777761"/>
              <a:gd name="connsiteY34" fmla="*/ 3575558 h 3788731"/>
              <a:gd name="connsiteX35" fmla="*/ 690008 w 2777761"/>
              <a:gd name="connsiteY35" fmla="*/ 3698974 h 3788731"/>
              <a:gd name="connsiteX36" fmla="*/ 774155 w 2777761"/>
              <a:gd name="connsiteY36" fmla="*/ 3704584 h 3788731"/>
              <a:gd name="connsiteX37" fmla="*/ 779765 w 2777761"/>
              <a:gd name="connsiteY37" fmla="*/ 3474581 h 3788731"/>
              <a:gd name="connsiteX38" fmla="*/ 746106 w 2777761"/>
              <a:gd name="connsiteY38" fmla="*/ 3205310 h 3788731"/>
              <a:gd name="connsiteX39" fmla="*/ 903181 w 2777761"/>
              <a:gd name="connsiteY39" fmla="*/ 2627499 h 3788731"/>
              <a:gd name="connsiteX40" fmla="*/ 1166842 w 2777761"/>
              <a:gd name="connsiteY40" fmla="*/ 2520912 h 3788731"/>
              <a:gd name="connsiteX41" fmla="*/ 1531480 w 2777761"/>
              <a:gd name="connsiteY41" fmla="*/ 2627499 h 3788731"/>
              <a:gd name="connsiteX42" fmla="*/ 1593188 w 2777761"/>
              <a:gd name="connsiteY42" fmla="*/ 2627499 h 3788731"/>
              <a:gd name="connsiteX43" fmla="*/ 1649286 w 2777761"/>
              <a:gd name="connsiteY43" fmla="*/ 2728476 h 3788731"/>
              <a:gd name="connsiteX44" fmla="*/ 1800751 w 2777761"/>
              <a:gd name="connsiteY44" fmla="*/ 2762134 h 3788731"/>
              <a:gd name="connsiteX45" fmla="*/ 1811971 w 2777761"/>
              <a:gd name="connsiteY45" fmla="*/ 2795793 h 3788731"/>
              <a:gd name="connsiteX46" fmla="*/ 1772702 w 2777761"/>
              <a:gd name="connsiteY46" fmla="*/ 2997747 h 3788731"/>
              <a:gd name="connsiteX47" fmla="*/ 1750263 w 2777761"/>
              <a:gd name="connsiteY47" fmla="*/ 3323116 h 3788731"/>
              <a:gd name="connsiteX48" fmla="*/ 1542700 w 2777761"/>
              <a:gd name="connsiteY48" fmla="*/ 3345555 h 3788731"/>
              <a:gd name="connsiteX49" fmla="*/ 1206111 w 2777761"/>
              <a:gd name="connsiteY49" fmla="*/ 3396044 h 3788731"/>
              <a:gd name="connsiteX50" fmla="*/ 1178062 w 2777761"/>
              <a:gd name="connsiteY50" fmla="*/ 3468971 h 3788731"/>
              <a:gd name="connsiteX51" fmla="*/ 1116354 w 2777761"/>
              <a:gd name="connsiteY51" fmla="*/ 3497020 h 3788731"/>
              <a:gd name="connsiteX52" fmla="*/ 1144403 w 2777761"/>
              <a:gd name="connsiteY52" fmla="*/ 3631656 h 3788731"/>
              <a:gd name="connsiteX53" fmla="*/ 1284648 w 2777761"/>
              <a:gd name="connsiteY53" fmla="*/ 3637266 h 3788731"/>
              <a:gd name="connsiteX54" fmla="*/ 1279038 w 2777761"/>
              <a:gd name="connsiteY54" fmla="*/ 3485801 h 3788731"/>
              <a:gd name="connsiteX55" fmla="*/ 1458552 w 2777761"/>
              <a:gd name="connsiteY55" fmla="*/ 3497020 h 3788731"/>
              <a:gd name="connsiteX56" fmla="*/ 1430503 w 2777761"/>
              <a:gd name="connsiteY56" fmla="*/ 3575558 h 3788731"/>
              <a:gd name="connsiteX57" fmla="*/ 1402454 w 2777761"/>
              <a:gd name="connsiteY57" fmla="*/ 3637266 h 3788731"/>
              <a:gd name="connsiteX58" fmla="*/ 1318307 w 2777761"/>
              <a:gd name="connsiteY58" fmla="*/ 3654095 h 3788731"/>
              <a:gd name="connsiteX59" fmla="*/ 1452943 w 2777761"/>
              <a:gd name="connsiteY59" fmla="*/ 3777511 h 3788731"/>
              <a:gd name="connsiteX60" fmla="*/ 1520260 w 2777761"/>
              <a:gd name="connsiteY60" fmla="*/ 3642876 h 3788731"/>
              <a:gd name="connsiteX61" fmla="*/ 1823190 w 2777761"/>
              <a:gd name="connsiteY61" fmla="*/ 3541899 h 3788731"/>
              <a:gd name="connsiteX62" fmla="*/ 2159779 w 2777761"/>
              <a:gd name="connsiteY62" fmla="*/ 3614826 h 3788731"/>
              <a:gd name="connsiteX63" fmla="*/ 2114901 w 2777761"/>
              <a:gd name="connsiteY63" fmla="*/ 3715803 h 3788731"/>
              <a:gd name="connsiteX64" fmla="*/ 2210268 w 2777761"/>
              <a:gd name="connsiteY64" fmla="*/ 3783121 h 3788731"/>
              <a:gd name="connsiteX65" fmla="*/ 2283195 w 2777761"/>
              <a:gd name="connsiteY65" fmla="*/ 3732633 h 3788731"/>
              <a:gd name="connsiteX66" fmla="*/ 2271976 w 2777761"/>
              <a:gd name="connsiteY66" fmla="*/ 3637266 h 3788731"/>
              <a:gd name="connsiteX67" fmla="*/ 2451490 w 2777761"/>
              <a:gd name="connsiteY67" fmla="*/ 3558728 h 3788731"/>
              <a:gd name="connsiteX68" fmla="*/ 2434660 w 2777761"/>
              <a:gd name="connsiteY68" fmla="*/ 3384824 h 3788731"/>
              <a:gd name="connsiteX69" fmla="*/ 1929777 w 2777761"/>
              <a:gd name="connsiteY69" fmla="*/ 3356775 h 3788731"/>
              <a:gd name="connsiteX70" fmla="*/ 1918557 w 2777761"/>
              <a:gd name="connsiteY70" fmla="*/ 3031406 h 3788731"/>
              <a:gd name="connsiteX71" fmla="*/ 1884898 w 2777761"/>
              <a:gd name="connsiteY71" fmla="*/ 3014576 h 3788731"/>
              <a:gd name="connsiteX72" fmla="*/ 1907338 w 2777761"/>
              <a:gd name="connsiteY72" fmla="*/ 2835062 h 3788731"/>
              <a:gd name="connsiteX73" fmla="*/ 1862459 w 2777761"/>
              <a:gd name="connsiteY73" fmla="*/ 2773354 h 3788731"/>
              <a:gd name="connsiteX74" fmla="*/ 2109291 w 2777761"/>
              <a:gd name="connsiteY74" fmla="*/ 2717256 h 3788731"/>
              <a:gd name="connsiteX75" fmla="*/ 2131730 w 2777761"/>
              <a:gd name="connsiteY75" fmla="*/ 2588230 h 3788731"/>
              <a:gd name="connsiteX76" fmla="*/ 2372952 w 2777761"/>
              <a:gd name="connsiteY76" fmla="*/ 2621889 h 3788731"/>
              <a:gd name="connsiteX77" fmla="*/ 2597345 w 2777761"/>
              <a:gd name="connsiteY77" fmla="*/ 2032858 h 3788731"/>
              <a:gd name="connsiteX78" fmla="*/ 2552466 w 2777761"/>
              <a:gd name="connsiteY78" fmla="*/ 1948711 h 3788731"/>
              <a:gd name="connsiteX79" fmla="*/ 2698322 w 2777761"/>
              <a:gd name="connsiteY79" fmla="*/ 1460657 h 3788731"/>
              <a:gd name="connsiteX80" fmla="*/ 2642224 w 2777761"/>
              <a:gd name="connsiteY80" fmla="*/ 1354071 h 3788731"/>
              <a:gd name="connsiteX81" fmla="*/ 2485148 w 2777761"/>
              <a:gd name="connsiteY81" fmla="*/ 798699 h 3788731"/>
              <a:gd name="connsiteX82" fmla="*/ 2743201 w 2777761"/>
              <a:gd name="connsiteY82" fmla="*/ 675283 h 3788731"/>
              <a:gd name="connsiteX83" fmla="*/ 2715151 w 2777761"/>
              <a:gd name="connsiteY83" fmla="*/ 434061 h 3788731"/>
              <a:gd name="connsiteX84" fmla="*/ 2631004 w 2777761"/>
              <a:gd name="connsiteY84" fmla="*/ 86253 h 3788731"/>
              <a:gd name="connsiteX0" fmla="*/ 2631004 w 2777761"/>
              <a:gd name="connsiteY0" fmla="*/ 86253 h 3788731"/>
              <a:gd name="connsiteX1" fmla="*/ 2434660 w 2777761"/>
              <a:gd name="connsiteY1" fmla="*/ 2105 h 3788731"/>
              <a:gd name="connsiteX2" fmla="*/ 2193438 w 2777761"/>
              <a:gd name="connsiteY2" fmla="*/ 159180 h 3788731"/>
              <a:gd name="connsiteX3" fmla="*/ 2092462 w 2777761"/>
              <a:gd name="connsiteY3" fmla="*/ 198449 h 3788731"/>
              <a:gd name="connsiteX4" fmla="*/ 2142950 w 2777761"/>
              <a:gd name="connsiteY4" fmla="*/ 288206 h 3788731"/>
              <a:gd name="connsiteX5" fmla="*/ 2030754 w 2777761"/>
              <a:gd name="connsiteY5" fmla="*/ 450890 h 3788731"/>
              <a:gd name="connsiteX6" fmla="*/ 2137342 w 2777761"/>
              <a:gd name="connsiteY6" fmla="*/ 585526 h 3788731"/>
              <a:gd name="connsiteX7" fmla="*/ 2159779 w 2777761"/>
              <a:gd name="connsiteY7" fmla="*/ 708942 h 3788731"/>
              <a:gd name="connsiteX8" fmla="*/ 2030754 w 2777761"/>
              <a:gd name="connsiteY8" fmla="*/ 753820 h 3788731"/>
              <a:gd name="connsiteX9" fmla="*/ 1997095 w 2777761"/>
              <a:gd name="connsiteY9" fmla="*/ 821138 h 3788731"/>
              <a:gd name="connsiteX10" fmla="*/ 1997095 w 2777761"/>
              <a:gd name="connsiteY10" fmla="*/ 708942 h 3788731"/>
              <a:gd name="connsiteX11" fmla="*/ 1946606 w 2777761"/>
              <a:gd name="connsiteY11" fmla="*/ 669673 h 3788731"/>
              <a:gd name="connsiteX12" fmla="*/ 1783922 w 2777761"/>
              <a:gd name="connsiteY12" fmla="*/ 770649 h 3788731"/>
              <a:gd name="connsiteX13" fmla="*/ 1402454 w 2777761"/>
              <a:gd name="connsiteY13" fmla="*/ 579916 h 3788731"/>
              <a:gd name="connsiteX14" fmla="*/ 1666115 w 2777761"/>
              <a:gd name="connsiteY14" fmla="*/ 1129678 h 3788731"/>
              <a:gd name="connsiteX15" fmla="*/ 1800751 w 2777761"/>
              <a:gd name="connsiteY15" fmla="*/ 1225045 h 3788731"/>
              <a:gd name="connsiteX16" fmla="*/ 1649286 w 2777761"/>
              <a:gd name="connsiteY16" fmla="*/ 1449437 h 3788731"/>
              <a:gd name="connsiteX17" fmla="*/ 1727824 w 2777761"/>
              <a:gd name="connsiteY17" fmla="*/ 1668220 h 3788731"/>
              <a:gd name="connsiteX18" fmla="*/ 1817581 w 2777761"/>
              <a:gd name="connsiteY18" fmla="*/ 1662611 h 3788731"/>
              <a:gd name="connsiteX19" fmla="*/ 1626846 w 2777761"/>
              <a:gd name="connsiteY19" fmla="*/ 1858954 h 3788731"/>
              <a:gd name="connsiteX20" fmla="*/ 914400 w 2777761"/>
              <a:gd name="connsiteY20" fmla="*/ 1578463 h 3788731"/>
              <a:gd name="connsiteX21" fmla="*/ 460005 w 2777761"/>
              <a:gd name="connsiteY21" fmla="*/ 2605060 h 3788731"/>
              <a:gd name="connsiteX22" fmla="*/ 263662 w 2777761"/>
              <a:gd name="connsiteY22" fmla="*/ 2812623 h 3788731"/>
              <a:gd name="connsiteX23" fmla="*/ 44879 w 2777761"/>
              <a:gd name="connsiteY23" fmla="*/ 2857501 h 3788731"/>
              <a:gd name="connsiteX24" fmla="*/ 0 w 2777761"/>
              <a:gd name="connsiteY24" fmla="*/ 2964088 h 3788731"/>
              <a:gd name="connsiteX25" fmla="*/ 274881 w 2777761"/>
              <a:gd name="connsiteY25" fmla="*/ 3087504 h 3788731"/>
              <a:gd name="connsiteX26" fmla="*/ 504884 w 2777761"/>
              <a:gd name="connsiteY26" fmla="*/ 2986527 h 3788731"/>
              <a:gd name="connsiteX27" fmla="*/ 471225 w 2777761"/>
              <a:gd name="connsiteY27" fmla="*/ 3115553 h 3788731"/>
              <a:gd name="connsiteX28" fmla="*/ 572201 w 2777761"/>
              <a:gd name="connsiteY28" fmla="*/ 3160431 h 3788731"/>
              <a:gd name="connsiteX29" fmla="*/ 381468 w 2777761"/>
              <a:gd name="connsiteY29" fmla="*/ 3620436 h 3788731"/>
              <a:gd name="connsiteX30" fmla="*/ 196344 w 2777761"/>
              <a:gd name="connsiteY30" fmla="*/ 3665315 h 3788731"/>
              <a:gd name="connsiteX31" fmla="*/ 263662 w 2777761"/>
              <a:gd name="connsiteY31" fmla="*/ 3766291 h 3788731"/>
              <a:gd name="connsiteX32" fmla="*/ 555372 w 2777761"/>
              <a:gd name="connsiteY32" fmla="*/ 3788731 h 3788731"/>
              <a:gd name="connsiteX33" fmla="*/ 589031 w 2777761"/>
              <a:gd name="connsiteY33" fmla="*/ 3581168 h 3788731"/>
              <a:gd name="connsiteX34" fmla="*/ 645129 w 2777761"/>
              <a:gd name="connsiteY34" fmla="*/ 3575558 h 3788731"/>
              <a:gd name="connsiteX35" fmla="*/ 690008 w 2777761"/>
              <a:gd name="connsiteY35" fmla="*/ 3698974 h 3788731"/>
              <a:gd name="connsiteX36" fmla="*/ 774155 w 2777761"/>
              <a:gd name="connsiteY36" fmla="*/ 3704584 h 3788731"/>
              <a:gd name="connsiteX37" fmla="*/ 779765 w 2777761"/>
              <a:gd name="connsiteY37" fmla="*/ 3474581 h 3788731"/>
              <a:gd name="connsiteX38" fmla="*/ 746106 w 2777761"/>
              <a:gd name="connsiteY38" fmla="*/ 3205310 h 3788731"/>
              <a:gd name="connsiteX39" fmla="*/ 903181 w 2777761"/>
              <a:gd name="connsiteY39" fmla="*/ 2627499 h 3788731"/>
              <a:gd name="connsiteX40" fmla="*/ 1166842 w 2777761"/>
              <a:gd name="connsiteY40" fmla="*/ 2520912 h 3788731"/>
              <a:gd name="connsiteX41" fmla="*/ 1531480 w 2777761"/>
              <a:gd name="connsiteY41" fmla="*/ 2627499 h 3788731"/>
              <a:gd name="connsiteX42" fmla="*/ 1593188 w 2777761"/>
              <a:gd name="connsiteY42" fmla="*/ 2627499 h 3788731"/>
              <a:gd name="connsiteX43" fmla="*/ 1649286 w 2777761"/>
              <a:gd name="connsiteY43" fmla="*/ 2728476 h 3788731"/>
              <a:gd name="connsiteX44" fmla="*/ 1800751 w 2777761"/>
              <a:gd name="connsiteY44" fmla="*/ 2762134 h 3788731"/>
              <a:gd name="connsiteX45" fmla="*/ 1811971 w 2777761"/>
              <a:gd name="connsiteY45" fmla="*/ 2795793 h 3788731"/>
              <a:gd name="connsiteX46" fmla="*/ 1772702 w 2777761"/>
              <a:gd name="connsiteY46" fmla="*/ 2997747 h 3788731"/>
              <a:gd name="connsiteX47" fmla="*/ 1750263 w 2777761"/>
              <a:gd name="connsiteY47" fmla="*/ 3323116 h 3788731"/>
              <a:gd name="connsiteX48" fmla="*/ 1542700 w 2777761"/>
              <a:gd name="connsiteY48" fmla="*/ 3345555 h 3788731"/>
              <a:gd name="connsiteX49" fmla="*/ 1206111 w 2777761"/>
              <a:gd name="connsiteY49" fmla="*/ 3396044 h 3788731"/>
              <a:gd name="connsiteX50" fmla="*/ 1178062 w 2777761"/>
              <a:gd name="connsiteY50" fmla="*/ 3468971 h 3788731"/>
              <a:gd name="connsiteX51" fmla="*/ 1116354 w 2777761"/>
              <a:gd name="connsiteY51" fmla="*/ 3497020 h 3788731"/>
              <a:gd name="connsiteX52" fmla="*/ 1144403 w 2777761"/>
              <a:gd name="connsiteY52" fmla="*/ 3631656 h 3788731"/>
              <a:gd name="connsiteX53" fmla="*/ 1284648 w 2777761"/>
              <a:gd name="connsiteY53" fmla="*/ 3637266 h 3788731"/>
              <a:gd name="connsiteX54" fmla="*/ 1279038 w 2777761"/>
              <a:gd name="connsiteY54" fmla="*/ 3485801 h 3788731"/>
              <a:gd name="connsiteX55" fmla="*/ 1458552 w 2777761"/>
              <a:gd name="connsiteY55" fmla="*/ 3497020 h 3788731"/>
              <a:gd name="connsiteX56" fmla="*/ 1430503 w 2777761"/>
              <a:gd name="connsiteY56" fmla="*/ 3575558 h 3788731"/>
              <a:gd name="connsiteX57" fmla="*/ 1402454 w 2777761"/>
              <a:gd name="connsiteY57" fmla="*/ 3637266 h 3788731"/>
              <a:gd name="connsiteX58" fmla="*/ 1318307 w 2777761"/>
              <a:gd name="connsiteY58" fmla="*/ 3654095 h 3788731"/>
              <a:gd name="connsiteX59" fmla="*/ 1452943 w 2777761"/>
              <a:gd name="connsiteY59" fmla="*/ 3777511 h 3788731"/>
              <a:gd name="connsiteX60" fmla="*/ 1520260 w 2777761"/>
              <a:gd name="connsiteY60" fmla="*/ 3642876 h 3788731"/>
              <a:gd name="connsiteX61" fmla="*/ 1823190 w 2777761"/>
              <a:gd name="connsiteY61" fmla="*/ 3541899 h 3788731"/>
              <a:gd name="connsiteX62" fmla="*/ 2159779 w 2777761"/>
              <a:gd name="connsiteY62" fmla="*/ 3614826 h 3788731"/>
              <a:gd name="connsiteX63" fmla="*/ 2114901 w 2777761"/>
              <a:gd name="connsiteY63" fmla="*/ 3715803 h 3788731"/>
              <a:gd name="connsiteX64" fmla="*/ 2210268 w 2777761"/>
              <a:gd name="connsiteY64" fmla="*/ 3783121 h 3788731"/>
              <a:gd name="connsiteX65" fmla="*/ 2283195 w 2777761"/>
              <a:gd name="connsiteY65" fmla="*/ 3732633 h 3788731"/>
              <a:gd name="connsiteX66" fmla="*/ 2271976 w 2777761"/>
              <a:gd name="connsiteY66" fmla="*/ 3637266 h 3788731"/>
              <a:gd name="connsiteX67" fmla="*/ 2451490 w 2777761"/>
              <a:gd name="connsiteY67" fmla="*/ 3558728 h 3788731"/>
              <a:gd name="connsiteX68" fmla="*/ 2434660 w 2777761"/>
              <a:gd name="connsiteY68" fmla="*/ 3384824 h 3788731"/>
              <a:gd name="connsiteX69" fmla="*/ 1929777 w 2777761"/>
              <a:gd name="connsiteY69" fmla="*/ 3356775 h 3788731"/>
              <a:gd name="connsiteX70" fmla="*/ 1918557 w 2777761"/>
              <a:gd name="connsiteY70" fmla="*/ 3031406 h 3788731"/>
              <a:gd name="connsiteX71" fmla="*/ 1884898 w 2777761"/>
              <a:gd name="connsiteY71" fmla="*/ 3014576 h 3788731"/>
              <a:gd name="connsiteX72" fmla="*/ 1907338 w 2777761"/>
              <a:gd name="connsiteY72" fmla="*/ 2835062 h 3788731"/>
              <a:gd name="connsiteX73" fmla="*/ 1862459 w 2777761"/>
              <a:gd name="connsiteY73" fmla="*/ 2773354 h 3788731"/>
              <a:gd name="connsiteX74" fmla="*/ 2109291 w 2777761"/>
              <a:gd name="connsiteY74" fmla="*/ 2717256 h 3788731"/>
              <a:gd name="connsiteX75" fmla="*/ 2131730 w 2777761"/>
              <a:gd name="connsiteY75" fmla="*/ 2588230 h 3788731"/>
              <a:gd name="connsiteX76" fmla="*/ 2372952 w 2777761"/>
              <a:gd name="connsiteY76" fmla="*/ 2621889 h 3788731"/>
              <a:gd name="connsiteX77" fmla="*/ 2597345 w 2777761"/>
              <a:gd name="connsiteY77" fmla="*/ 2032858 h 3788731"/>
              <a:gd name="connsiteX78" fmla="*/ 2552466 w 2777761"/>
              <a:gd name="connsiteY78" fmla="*/ 1948711 h 3788731"/>
              <a:gd name="connsiteX79" fmla="*/ 2698322 w 2777761"/>
              <a:gd name="connsiteY79" fmla="*/ 1460657 h 3788731"/>
              <a:gd name="connsiteX80" fmla="*/ 2642224 w 2777761"/>
              <a:gd name="connsiteY80" fmla="*/ 1354071 h 3788731"/>
              <a:gd name="connsiteX81" fmla="*/ 2485148 w 2777761"/>
              <a:gd name="connsiteY81" fmla="*/ 798699 h 3788731"/>
              <a:gd name="connsiteX82" fmla="*/ 2743201 w 2777761"/>
              <a:gd name="connsiteY82" fmla="*/ 675283 h 3788731"/>
              <a:gd name="connsiteX83" fmla="*/ 2715151 w 2777761"/>
              <a:gd name="connsiteY83" fmla="*/ 434061 h 3788731"/>
              <a:gd name="connsiteX84" fmla="*/ 2631004 w 2777761"/>
              <a:gd name="connsiteY84" fmla="*/ 86253 h 3788731"/>
              <a:gd name="connsiteX0" fmla="*/ 2607319 w 2754076"/>
              <a:gd name="connsiteY0" fmla="*/ 86253 h 3788731"/>
              <a:gd name="connsiteX1" fmla="*/ 2410975 w 2754076"/>
              <a:gd name="connsiteY1" fmla="*/ 2105 h 3788731"/>
              <a:gd name="connsiteX2" fmla="*/ 2169753 w 2754076"/>
              <a:gd name="connsiteY2" fmla="*/ 159180 h 3788731"/>
              <a:gd name="connsiteX3" fmla="*/ 2068777 w 2754076"/>
              <a:gd name="connsiteY3" fmla="*/ 198449 h 3788731"/>
              <a:gd name="connsiteX4" fmla="*/ 2119265 w 2754076"/>
              <a:gd name="connsiteY4" fmla="*/ 288206 h 3788731"/>
              <a:gd name="connsiteX5" fmla="*/ 2007069 w 2754076"/>
              <a:gd name="connsiteY5" fmla="*/ 450890 h 3788731"/>
              <a:gd name="connsiteX6" fmla="*/ 2113657 w 2754076"/>
              <a:gd name="connsiteY6" fmla="*/ 585526 h 3788731"/>
              <a:gd name="connsiteX7" fmla="*/ 2136094 w 2754076"/>
              <a:gd name="connsiteY7" fmla="*/ 708942 h 3788731"/>
              <a:gd name="connsiteX8" fmla="*/ 2007069 w 2754076"/>
              <a:gd name="connsiteY8" fmla="*/ 753820 h 3788731"/>
              <a:gd name="connsiteX9" fmla="*/ 1973410 w 2754076"/>
              <a:gd name="connsiteY9" fmla="*/ 821138 h 3788731"/>
              <a:gd name="connsiteX10" fmla="*/ 1973410 w 2754076"/>
              <a:gd name="connsiteY10" fmla="*/ 708942 h 3788731"/>
              <a:gd name="connsiteX11" fmla="*/ 1922921 w 2754076"/>
              <a:gd name="connsiteY11" fmla="*/ 669673 h 3788731"/>
              <a:gd name="connsiteX12" fmla="*/ 1760237 w 2754076"/>
              <a:gd name="connsiteY12" fmla="*/ 770649 h 3788731"/>
              <a:gd name="connsiteX13" fmla="*/ 1378769 w 2754076"/>
              <a:gd name="connsiteY13" fmla="*/ 579916 h 3788731"/>
              <a:gd name="connsiteX14" fmla="*/ 1642430 w 2754076"/>
              <a:gd name="connsiteY14" fmla="*/ 1129678 h 3788731"/>
              <a:gd name="connsiteX15" fmla="*/ 1777066 w 2754076"/>
              <a:gd name="connsiteY15" fmla="*/ 1225045 h 3788731"/>
              <a:gd name="connsiteX16" fmla="*/ 1625601 w 2754076"/>
              <a:gd name="connsiteY16" fmla="*/ 1449437 h 3788731"/>
              <a:gd name="connsiteX17" fmla="*/ 1704139 w 2754076"/>
              <a:gd name="connsiteY17" fmla="*/ 1668220 h 3788731"/>
              <a:gd name="connsiteX18" fmla="*/ 1793896 w 2754076"/>
              <a:gd name="connsiteY18" fmla="*/ 1662611 h 3788731"/>
              <a:gd name="connsiteX19" fmla="*/ 1603161 w 2754076"/>
              <a:gd name="connsiteY19" fmla="*/ 1858954 h 3788731"/>
              <a:gd name="connsiteX20" fmla="*/ 890715 w 2754076"/>
              <a:gd name="connsiteY20" fmla="*/ 1578463 h 3788731"/>
              <a:gd name="connsiteX21" fmla="*/ 436320 w 2754076"/>
              <a:gd name="connsiteY21" fmla="*/ 2605060 h 3788731"/>
              <a:gd name="connsiteX22" fmla="*/ 239977 w 2754076"/>
              <a:gd name="connsiteY22" fmla="*/ 2812623 h 3788731"/>
              <a:gd name="connsiteX23" fmla="*/ 21194 w 2754076"/>
              <a:gd name="connsiteY23" fmla="*/ 2857501 h 3788731"/>
              <a:gd name="connsiteX24" fmla="*/ 9973 w 2754076"/>
              <a:gd name="connsiteY24" fmla="*/ 2975307 h 3788731"/>
              <a:gd name="connsiteX25" fmla="*/ 251196 w 2754076"/>
              <a:gd name="connsiteY25" fmla="*/ 3087504 h 3788731"/>
              <a:gd name="connsiteX26" fmla="*/ 481199 w 2754076"/>
              <a:gd name="connsiteY26" fmla="*/ 2986527 h 3788731"/>
              <a:gd name="connsiteX27" fmla="*/ 447540 w 2754076"/>
              <a:gd name="connsiteY27" fmla="*/ 3115553 h 3788731"/>
              <a:gd name="connsiteX28" fmla="*/ 548516 w 2754076"/>
              <a:gd name="connsiteY28" fmla="*/ 3160431 h 3788731"/>
              <a:gd name="connsiteX29" fmla="*/ 357783 w 2754076"/>
              <a:gd name="connsiteY29" fmla="*/ 3620436 h 3788731"/>
              <a:gd name="connsiteX30" fmla="*/ 172659 w 2754076"/>
              <a:gd name="connsiteY30" fmla="*/ 3665315 h 3788731"/>
              <a:gd name="connsiteX31" fmla="*/ 239977 w 2754076"/>
              <a:gd name="connsiteY31" fmla="*/ 3766291 h 3788731"/>
              <a:gd name="connsiteX32" fmla="*/ 531687 w 2754076"/>
              <a:gd name="connsiteY32" fmla="*/ 3788731 h 3788731"/>
              <a:gd name="connsiteX33" fmla="*/ 565346 w 2754076"/>
              <a:gd name="connsiteY33" fmla="*/ 3581168 h 3788731"/>
              <a:gd name="connsiteX34" fmla="*/ 621444 w 2754076"/>
              <a:gd name="connsiteY34" fmla="*/ 3575558 h 3788731"/>
              <a:gd name="connsiteX35" fmla="*/ 666323 w 2754076"/>
              <a:gd name="connsiteY35" fmla="*/ 3698974 h 3788731"/>
              <a:gd name="connsiteX36" fmla="*/ 750470 w 2754076"/>
              <a:gd name="connsiteY36" fmla="*/ 3704584 h 3788731"/>
              <a:gd name="connsiteX37" fmla="*/ 756080 w 2754076"/>
              <a:gd name="connsiteY37" fmla="*/ 3474581 h 3788731"/>
              <a:gd name="connsiteX38" fmla="*/ 722421 w 2754076"/>
              <a:gd name="connsiteY38" fmla="*/ 3205310 h 3788731"/>
              <a:gd name="connsiteX39" fmla="*/ 879496 w 2754076"/>
              <a:gd name="connsiteY39" fmla="*/ 2627499 h 3788731"/>
              <a:gd name="connsiteX40" fmla="*/ 1143157 w 2754076"/>
              <a:gd name="connsiteY40" fmla="*/ 2520912 h 3788731"/>
              <a:gd name="connsiteX41" fmla="*/ 1507795 w 2754076"/>
              <a:gd name="connsiteY41" fmla="*/ 2627499 h 3788731"/>
              <a:gd name="connsiteX42" fmla="*/ 1569503 w 2754076"/>
              <a:gd name="connsiteY42" fmla="*/ 2627499 h 3788731"/>
              <a:gd name="connsiteX43" fmla="*/ 1625601 w 2754076"/>
              <a:gd name="connsiteY43" fmla="*/ 2728476 h 3788731"/>
              <a:gd name="connsiteX44" fmla="*/ 1777066 w 2754076"/>
              <a:gd name="connsiteY44" fmla="*/ 2762134 h 3788731"/>
              <a:gd name="connsiteX45" fmla="*/ 1788286 w 2754076"/>
              <a:gd name="connsiteY45" fmla="*/ 2795793 h 3788731"/>
              <a:gd name="connsiteX46" fmla="*/ 1749017 w 2754076"/>
              <a:gd name="connsiteY46" fmla="*/ 2997747 h 3788731"/>
              <a:gd name="connsiteX47" fmla="*/ 1726578 w 2754076"/>
              <a:gd name="connsiteY47" fmla="*/ 3323116 h 3788731"/>
              <a:gd name="connsiteX48" fmla="*/ 1519015 w 2754076"/>
              <a:gd name="connsiteY48" fmla="*/ 3345555 h 3788731"/>
              <a:gd name="connsiteX49" fmla="*/ 1182426 w 2754076"/>
              <a:gd name="connsiteY49" fmla="*/ 3396044 h 3788731"/>
              <a:gd name="connsiteX50" fmla="*/ 1154377 w 2754076"/>
              <a:gd name="connsiteY50" fmla="*/ 3468971 h 3788731"/>
              <a:gd name="connsiteX51" fmla="*/ 1092669 w 2754076"/>
              <a:gd name="connsiteY51" fmla="*/ 3497020 h 3788731"/>
              <a:gd name="connsiteX52" fmla="*/ 1120718 w 2754076"/>
              <a:gd name="connsiteY52" fmla="*/ 3631656 h 3788731"/>
              <a:gd name="connsiteX53" fmla="*/ 1260963 w 2754076"/>
              <a:gd name="connsiteY53" fmla="*/ 3637266 h 3788731"/>
              <a:gd name="connsiteX54" fmla="*/ 1255353 w 2754076"/>
              <a:gd name="connsiteY54" fmla="*/ 3485801 h 3788731"/>
              <a:gd name="connsiteX55" fmla="*/ 1434867 w 2754076"/>
              <a:gd name="connsiteY55" fmla="*/ 3497020 h 3788731"/>
              <a:gd name="connsiteX56" fmla="*/ 1406818 w 2754076"/>
              <a:gd name="connsiteY56" fmla="*/ 3575558 h 3788731"/>
              <a:gd name="connsiteX57" fmla="*/ 1378769 w 2754076"/>
              <a:gd name="connsiteY57" fmla="*/ 3637266 h 3788731"/>
              <a:gd name="connsiteX58" fmla="*/ 1294622 w 2754076"/>
              <a:gd name="connsiteY58" fmla="*/ 3654095 h 3788731"/>
              <a:gd name="connsiteX59" fmla="*/ 1429258 w 2754076"/>
              <a:gd name="connsiteY59" fmla="*/ 3777511 h 3788731"/>
              <a:gd name="connsiteX60" fmla="*/ 1496575 w 2754076"/>
              <a:gd name="connsiteY60" fmla="*/ 3642876 h 3788731"/>
              <a:gd name="connsiteX61" fmla="*/ 1799505 w 2754076"/>
              <a:gd name="connsiteY61" fmla="*/ 3541899 h 3788731"/>
              <a:gd name="connsiteX62" fmla="*/ 2136094 w 2754076"/>
              <a:gd name="connsiteY62" fmla="*/ 3614826 h 3788731"/>
              <a:gd name="connsiteX63" fmla="*/ 2091216 w 2754076"/>
              <a:gd name="connsiteY63" fmla="*/ 3715803 h 3788731"/>
              <a:gd name="connsiteX64" fmla="*/ 2186583 w 2754076"/>
              <a:gd name="connsiteY64" fmla="*/ 3783121 h 3788731"/>
              <a:gd name="connsiteX65" fmla="*/ 2259510 w 2754076"/>
              <a:gd name="connsiteY65" fmla="*/ 3732633 h 3788731"/>
              <a:gd name="connsiteX66" fmla="*/ 2248291 w 2754076"/>
              <a:gd name="connsiteY66" fmla="*/ 3637266 h 3788731"/>
              <a:gd name="connsiteX67" fmla="*/ 2427805 w 2754076"/>
              <a:gd name="connsiteY67" fmla="*/ 3558728 h 3788731"/>
              <a:gd name="connsiteX68" fmla="*/ 2410975 w 2754076"/>
              <a:gd name="connsiteY68" fmla="*/ 3384824 h 3788731"/>
              <a:gd name="connsiteX69" fmla="*/ 1906092 w 2754076"/>
              <a:gd name="connsiteY69" fmla="*/ 3356775 h 3788731"/>
              <a:gd name="connsiteX70" fmla="*/ 1894872 w 2754076"/>
              <a:gd name="connsiteY70" fmla="*/ 3031406 h 3788731"/>
              <a:gd name="connsiteX71" fmla="*/ 1861213 w 2754076"/>
              <a:gd name="connsiteY71" fmla="*/ 3014576 h 3788731"/>
              <a:gd name="connsiteX72" fmla="*/ 1883653 w 2754076"/>
              <a:gd name="connsiteY72" fmla="*/ 2835062 h 3788731"/>
              <a:gd name="connsiteX73" fmla="*/ 1838774 w 2754076"/>
              <a:gd name="connsiteY73" fmla="*/ 2773354 h 3788731"/>
              <a:gd name="connsiteX74" fmla="*/ 2085606 w 2754076"/>
              <a:gd name="connsiteY74" fmla="*/ 2717256 h 3788731"/>
              <a:gd name="connsiteX75" fmla="*/ 2108045 w 2754076"/>
              <a:gd name="connsiteY75" fmla="*/ 2588230 h 3788731"/>
              <a:gd name="connsiteX76" fmla="*/ 2349267 w 2754076"/>
              <a:gd name="connsiteY76" fmla="*/ 2621889 h 3788731"/>
              <a:gd name="connsiteX77" fmla="*/ 2573660 w 2754076"/>
              <a:gd name="connsiteY77" fmla="*/ 2032858 h 3788731"/>
              <a:gd name="connsiteX78" fmla="*/ 2528781 w 2754076"/>
              <a:gd name="connsiteY78" fmla="*/ 1948711 h 3788731"/>
              <a:gd name="connsiteX79" fmla="*/ 2674637 w 2754076"/>
              <a:gd name="connsiteY79" fmla="*/ 1460657 h 3788731"/>
              <a:gd name="connsiteX80" fmla="*/ 2618539 w 2754076"/>
              <a:gd name="connsiteY80" fmla="*/ 1354071 h 3788731"/>
              <a:gd name="connsiteX81" fmla="*/ 2461463 w 2754076"/>
              <a:gd name="connsiteY81" fmla="*/ 798699 h 3788731"/>
              <a:gd name="connsiteX82" fmla="*/ 2719516 w 2754076"/>
              <a:gd name="connsiteY82" fmla="*/ 675283 h 3788731"/>
              <a:gd name="connsiteX83" fmla="*/ 2691466 w 2754076"/>
              <a:gd name="connsiteY83" fmla="*/ 434061 h 3788731"/>
              <a:gd name="connsiteX84" fmla="*/ 2607319 w 2754076"/>
              <a:gd name="connsiteY84" fmla="*/ 86253 h 3788731"/>
              <a:gd name="connsiteX0" fmla="*/ 2625628 w 2772385"/>
              <a:gd name="connsiteY0" fmla="*/ 86253 h 3788731"/>
              <a:gd name="connsiteX1" fmla="*/ 2429284 w 2772385"/>
              <a:gd name="connsiteY1" fmla="*/ 2105 h 3788731"/>
              <a:gd name="connsiteX2" fmla="*/ 2188062 w 2772385"/>
              <a:gd name="connsiteY2" fmla="*/ 159180 h 3788731"/>
              <a:gd name="connsiteX3" fmla="*/ 2087086 w 2772385"/>
              <a:gd name="connsiteY3" fmla="*/ 198449 h 3788731"/>
              <a:gd name="connsiteX4" fmla="*/ 2137574 w 2772385"/>
              <a:gd name="connsiteY4" fmla="*/ 288206 h 3788731"/>
              <a:gd name="connsiteX5" fmla="*/ 2025378 w 2772385"/>
              <a:gd name="connsiteY5" fmla="*/ 450890 h 3788731"/>
              <a:gd name="connsiteX6" fmla="*/ 2131966 w 2772385"/>
              <a:gd name="connsiteY6" fmla="*/ 585526 h 3788731"/>
              <a:gd name="connsiteX7" fmla="*/ 2154403 w 2772385"/>
              <a:gd name="connsiteY7" fmla="*/ 708942 h 3788731"/>
              <a:gd name="connsiteX8" fmla="*/ 2025378 w 2772385"/>
              <a:gd name="connsiteY8" fmla="*/ 753820 h 3788731"/>
              <a:gd name="connsiteX9" fmla="*/ 1991719 w 2772385"/>
              <a:gd name="connsiteY9" fmla="*/ 821138 h 3788731"/>
              <a:gd name="connsiteX10" fmla="*/ 1991719 w 2772385"/>
              <a:gd name="connsiteY10" fmla="*/ 708942 h 3788731"/>
              <a:gd name="connsiteX11" fmla="*/ 1941230 w 2772385"/>
              <a:gd name="connsiteY11" fmla="*/ 669673 h 3788731"/>
              <a:gd name="connsiteX12" fmla="*/ 1778546 w 2772385"/>
              <a:gd name="connsiteY12" fmla="*/ 770649 h 3788731"/>
              <a:gd name="connsiteX13" fmla="*/ 1397078 w 2772385"/>
              <a:gd name="connsiteY13" fmla="*/ 579916 h 3788731"/>
              <a:gd name="connsiteX14" fmla="*/ 1660739 w 2772385"/>
              <a:gd name="connsiteY14" fmla="*/ 1129678 h 3788731"/>
              <a:gd name="connsiteX15" fmla="*/ 1795375 w 2772385"/>
              <a:gd name="connsiteY15" fmla="*/ 1225045 h 3788731"/>
              <a:gd name="connsiteX16" fmla="*/ 1643910 w 2772385"/>
              <a:gd name="connsiteY16" fmla="*/ 1449437 h 3788731"/>
              <a:gd name="connsiteX17" fmla="*/ 1722448 w 2772385"/>
              <a:gd name="connsiteY17" fmla="*/ 1668220 h 3788731"/>
              <a:gd name="connsiteX18" fmla="*/ 1812205 w 2772385"/>
              <a:gd name="connsiteY18" fmla="*/ 1662611 h 3788731"/>
              <a:gd name="connsiteX19" fmla="*/ 1621470 w 2772385"/>
              <a:gd name="connsiteY19" fmla="*/ 1858954 h 3788731"/>
              <a:gd name="connsiteX20" fmla="*/ 909024 w 2772385"/>
              <a:gd name="connsiteY20" fmla="*/ 1578463 h 3788731"/>
              <a:gd name="connsiteX21" fmla="*/ 454629 w 2772385"/>
              <a:gd name="connsiteY21" fmla="*/ 2605060 h 3788731"/>
              <a:gd name="connsiteX22" fmla="*/ 258286 w 2772385"/>
              <a:gd name="connsiteY22" fmla="*/ 2812623 h 3788731"/>
              <a:gd name="connsiteX23" fmla="*/ 39503 w 2772385"/>
              <a:gd name="connsiteY23" fmla="*/ 2857501 h 3788731"/>
              <a:gd name="connsiteX24" fmla="*/ 28282 w 2772385"/>
              <a:gd name="connsiteY24" fmla="*/ 2975307 h 3788731"/>
              <a:gd name="connsiteX25" fmla="*/ 269505 w 2772385"/>
              <a:gd name="connsiteY25" fmla="*/ 3087504 h 3788731"/>
              <a:gd name="connsiteX26" fmla="*/ 499508 w 2772385"/>
              <a:gd name="connsiteY26" fmla="*/ 2986527 h 3788731"/>
              <a:gd name="connsiteX27" fmla="*/ 465849 w 2772385"/>
              <a:gd name="connsiteY27" fmla="*/ 3115553 h 3788731"/>
              <a:gd name="connsiteX28" fmla="*/ 566825 w 2772385"/>
              <a:gd name="connsiteY28" fmla="*/ 3160431 h 3788731"/>
              <a:gd name="connsiteX29" fmla="*/ 376092 w 2772385"/>
              <a:gd name="connsiteY29" fmla="*/ 3620436 h 3788731"/>
              <a:gd name="connsiteX30" fmla="*/ 190968 w 2772385"/>
              <a:gd name="connsiteY30" fmla="*/ 3665315 h 3788731"/>
              <a:gd name="connsiteX31" fmla="*/ 258286 w 2772385"/>
              <a:gd name="connsiteY31" fmla="*/ 3766291 h 3788731"/>
              <a:gd name="connsiteX32" fmla="*/ 549996 w 2772385"/>
              <a:gd name="connsiteY32" fmla="*/ 3788731 h 3788731"/>
              <a:gd name="connsiteX33" fmla="*/ 583655 w 2772385"/>
              <a:gd name="connsiteY33" fmla="*/ 3581168 h 3788731"/>
              <a:gd name="connsiteX34" fmla="*/ 639753 w 2772385"/>
              <a:gd name="connsiteY34" fmla="*/ 3575558 h 3788731"/>
              <a:gd name="connsiteX35" fmla="*/ 684632 w 2772385"/>
              <a:gd name="connsiteY35" fmla="*/ 3698974 h 3788731"/>
              <a:gd name="connsiteX36" fmla="*/ 768779 w 2772385"/>
              <a:gd name="connsiteY36" fmla="*/ 3704584 h 3788731"/>
              <a:gd name="connsiteX37" fmla="*/ 774389 w 2772385"/>
              <a:gd name="connsiteY37" fmla="*/ 3474581 h 3788731"/>
              <a:gd name="connsiteX38" fmla="*/ 740730 w 2772385"/>
              <a:gd name="connsiteY38" fmla="*/ 3205310 h 3788731"/>
              <a:gd name="connsiteX39" fmla="*/ 897805 w 2772385"/>
              <a:gd name="connsiteY39" fmla="*/ 2627499 h 3788731"/>
              <a:gd name="connsiteX40" fmla="*/ 1161466 w 2772385"/>
              <a:gd name="connsiteY40" fmla="*/ 2520912 h 3788731"/>
              <a:gd name="connsiteX41" fmla="*/ 1526104 w 2772385"/>
              <a:gd name="connsiteY41" fmla="*/ 2627499 h 3788731"/>
              <a:gd name="connsiteX42" fmla="*/ 1587812 w 2772385"/>
              <a:gd name="connsiteY42" fmla="*/ 2627499 h 3788731"/>
              <a:gd name="connsiteX43" fmla="*/ 1643910 w 2772385"/>
              <a:gd name="connsiteY43" fmla="*/ 2728476 h 3788731"/>
              <a:gd name="connsiteX44" fmla="*/ 1795375 w 2772385"/>
              <a:gd name="connsiteY44" fmla="*/ 2762134 h 3788731"/>
              <a:gd name="connsiteX45" fmla="*/ 1806595 w 2772385"/>
              <a:gd name="connsiteY45" fmla="*/ 2795793 h 3788731"/>
              <a:gd name="connsiteX46" fmla="*/ 1767326 w 2772385"/>
              <a:gd name="connsiteY46" fmla="*/ 2997747 h 3788731"/>
              <a:gd name="connsiteX47" fmla="*/ 1744887 w 2772385"/>
              <a:gd name="connsiteY47" fmla="*/ 3323116 h 3788731"/>
              <a:gd name="connsiteX48" fmla="*/ 1537324 w 2772385"/>
              <a:gd name="connsiteY48" fmla="*/ 3345555 h 3788731"/>
              <a:gd name="connsiteX49" fmla="*/ 1200735 w 2772385"/>
              <a:gd name="connsiteY49" fmla="*/ 3396044 h 3788731"/>
              <a:gd name="connsiteX50" fmla="*/ 1172686 w 2772385"/>
              <a:gd name="connsiteY50" fmla="*/ 3468971 h 3788731"/>
              <a:gd name="connsiteX51" fmla="*/ 1110978 w 2772385"/>
              <a:gd name="connsiteY51" fmla="*/ 3497020 h 3788731"/>
              <a:gd name="connsiteX52" fmla="*/ 1139027 w 2772385"/>
              <a:gd name="connsiteY52" fmla="*/ 3631656 h 3788731"/>
              <a:gd name="connsiteX53" fmla="*/ 1279272 w 2772385"/>
              <a:gd name="connsiteY53" fmla="*/ 3637266 h 3788731"/>
              <a:gd name="connsiteX54" fmla="*/ 1273662 w 2772385"/>
              <a:gd name="connsiteY54" fmla="*/ 3485801 h 3788731"/>
              <a:gd name="connsiteX55" fmla="*/ 1453176 w 2772385"/>
              <a:gd name="connsiteY55" fmla="*/ 3497020 h 3788731"/>
              <a:gd name="connsiteX56" fmla="*/ 1425127 w 2772385"/>
              <a:gd name="connsiteY56" fmla="*/ 3575558 h 3788731"/>
              <a:gd name="connsiteX57" fmla="*/ 1397078 w 2772385"/>
              <a:gd name="connsiteY57" fmla="*/ 3637266 h 3788731"/>
              <a:gd name="connsiteX58" fmla="*/ 1312931 w 2772385"/>
              <a:gd name="connsiteY58" fmla="*/ 3654095 h 3788731"/>
              <a:gd name="connsiteX59" fmla="*/ 1447567 w 2772385"/>
              <a:gd name="connsiteY59" fmla="*/ 3777511 h 3788731"/>
              <a:gd name="connsiteX60" fmla="*/ 1514884 w 2772385"/>
              <a:gd name="connsiteY60" fmla="*/ 3642876 h 3788731"/>
              <a:gd name="connsiteX61" fmla="*/ 1817814 w 2772385"/>
              <a:gd name="connsiteY61" fmla="*/ 3541899 h 3788731"/>
              <a:gd name="connsiteX62" fmla="*/ 2154403 w 2772385"/>
              <a:gd name="connsiteY62" fmla="*/ 3614826 h 3788731"/>
              <a:gd name="connsiteX63" fmla="*/ 2109525 w 2772385"/>
              <a:gd name="connsiteY63" fmla="*/ 3715803 h 3788731"/>
              <a:gd name="connsiteX64" fmla="*/ 2204892 w 2772385"/>
              <a:gd name="connsiteY64" fmla="*/ 3783121 h 3788731"/>
              <a:gd name="connsiteX65" fmla="*/ 2277819 w 2772385"/>
              <a:gd name="connsiteY65" fmla="*/ 3732633 h 3788731"/>
              <a:gd name="connsiteX66" fmla="*/ 2266600 w 2772385"/>
              <a:gd name="connsiteY66" fmla="*/ 3637266 h 3788731"/>
              <a:gd name="connsiteX67" fmla="*/ 2446114 w 2772385"/>
              <a:gd name="connsiteY67" fmla="*/ 3558728 h 3788731"/>
              <a:gd name="connsiteX68" fmla="*/ 2429284 w 2772385"/>
              <a:gd name="connsiteY68" fmla="*/ 3384824 h 3788731"/>
              <a:gd name="connsiteX69" fmla="*/ 1924401 w 2772385"/>
              <a:gd name="connsiteY69" fmla="*/ 3356775 h 3788731"/>
              <a:gd name="connsiteX70" fmla="*/ 1913181 w 2772385"/>
              <a:gd name="connsiteY70" fmla="*/ 3031406 h 3788731"/>
              <a:gd name="connsiteX71" fmla="*/ 1879522 w 2772385"/>
              <a:gd name="connsiteY71" fmla="*/ 3014576 h 3788731"/>
              <a:gd name="connsiteX72" fmla="*/ 1901962 w 2772385"/>
              <a:gd name="connsiteY72" fmla="*/ 2835062 h 3788731"/>
              <a:gd name="connsiteX73" fmla="*/ 1857083 w 2772385"/>
              <a:gd name="connsiteY73" fmla="*/ 2773354 h 3788731"/>
              <a:gd name="connsiteX74" fmla="*/ 2103915 w 2772385"/>
              <a:gd name="connsiteY74" fmla="*/ 2717256 h 3788731"/>
              <a:gd name="connsiteX75" fmla="*/ 2126354 w 2772385"/>
              <a:gd name="connsiteY75" fmla="*/ 2588230 h 3788731"/>
              <a:gd name="connsiteX76" fmla="*/ 2367576 w 2772385"/>
              <a:gd name="connsiteY76" fmla="*/ 2621889 h 3788731"/>
              <a:gd name="connsiteX77" fmla="*/ 2591969 w 2772385"/>
              <a:gd name="connsiteY77" fmla="*/ 2032858 h 3788731"/>
              <a:gd name="connsiteX78" fmla="*/ 2547090 w 2772385"/>
              <a:gd name="connsiteY78" fmla="*/ 1948711 h 3788731"/>
              <a:gd name="connsiteX79" fmla="*/ 2692946 w 2772385"/>
              <a:gd name="connsiteY79" fmla="*/ 1460657 h 3788731"/>
              <a:gd name="connsiteX80" fmla="*/ 2636848 w 2772385"/>
              <a:gd name="connsiteY80" fmla="*/ 1354071 h 3788731"/>
              <a:gd name="connsiteX81" fmla="*/ 2479772 w 2772385"/>
              <a:gd name="connsiteY81" fmla="*/ 798699 h 3788731"/>
              <a:gd name="connsiteX82" fmla="*/ 2737825 w 2772385"/>
              <a:gd name="connsiteY82" fmla="*/ 675283 h 3788731"/>
              <a:gd name="connsiteX83" fmla="*/ 2709775 w 2772385"/>
              <a:gd name="connsiteY83" fmla="*/ 434061 h 3788731"/>
              <a:gd name="connsiteX84" fmla="*/ 2625628 w 2772385"/>
              <a:gd name="connsiteY84" fmla="*/ 86253 h 3788731"/>
              <a:gd name="connsiteX0" fmla="*/ 2625628 w 2772385"/>
              <a:gd name="connsiteY0" fmla="*/ 86253 h 3788731"/>
              <a:gd name="connsiteX1" fmla="*/ 2429284 w 2772385"/>
              <a:gd name="connsiteY1" fmla="*/ 2105 h 3788731"/>
              <a:gd name="connsiteX2" fmla="*/ 2188062 w 2772385"/>
              <a:gd name="connsiteY2" fmla="*/ 159180 h 3788731"/>
              <a:gd name="connsiteX3" fmla="*/ 2087086 w 2772385"/>
              <a:gd name="connsiteY3" fmla="*/ 198449 h 3788731"/>
              <a:gd name="connsiteX4" fmla="*/ 2137574 w 2772385"/>
              <a:gd name="connsiteY4" fmla="*/ 288206 h 3788731"/>
              <a:gd name="connsiteX5" fmla="*/ 2025378 w 2772385"/>
              <a:gd name="connsiteY5" fmla="*/ 450890 h 3788731"/>
              <a:gd name="connsiteX6" fmla="*/ 2131966 w 2772385"/>
              <a:gd name="connsiteY6" fmla="*/ 585526 h 3788731"/>
              <a:gd name="connsiteX7" fmla="*/ 2154403 w 2772385"/>
              <a:gd name="connsiteY7" fmla="*/ 708942 h 3788731"/>
              <a:gd name="connsiteX8" fmla="*/ 2025378 w 2772385"/>
              <a:gd name="connsiteY8" fmla="*/ 753820 h 3788731"/>
              <a:gd name="connsiteX9" fmla="*/ 1991719 w 2772385"/>
              <a:gd name="connsiteY9" fmla="*/ 821138 h 3788731"/>
              <a:gd name="connsiteX10" fmla="*/ 1991719 w 2772385"/>
              <a:gd name="connsiteY10" fmla="*/ 708942 h 3788731"/>
              <a:gd name="connsiteX11" fmla="*/ 1941230 w 2772385"/>
              <a:gd name="connsiteY11" fmla="*/ 669673 h 3788731"/>
              <a:gd name="connsiteX12" fmla="*/ 1778546 w 2772385"/>
              <a:gd name="connsiteY12" fmla="*/ 770649 h 3788731"/>
              <a:gd name="connsiteX13" fmla="*/ 1397078 w 2772385"/>
              <a:gd name="connsiteY13" fmla="*/ 579916 h 3788731"/>
              <a:gd name="connsiteX14" fmla="*/ 1660739 w 2772385"/>
              <a:gd name="connsiteY14" fmla="*/ 1129678 h 3788731"/>
              <a:gd name="connsiteX15" fmla="*/ 1795375 w 2772385"/>
              <a:gd name="connsiteY15" fmla="*/ 1225045 h 3788731"/>
              <a:gd name="connsiteX16" fmla="*/ 1643910 w 2772385"/>
              <a:gd name="connsiteY16" fmla="*/ 1449437 h 3788731"/>
              <a:gd name="connsiteX17" fmla="*/ 1722448 w 2772385"/>
              <a:gd name="connsiteY17" fmla="*/ 1668220 h 3788731"/>
              <a:gd name="connsiteX18" fmla="*/ 1812205 w 2772385"/>
              <a:gd name="connsiteY18" fmla="*/ 1662611 h 3788731"/>
              <a:gd name="connsiteX19" fmla="*/ 1621470 w 2772385"/>
              <a:gd name="connsiteY19" fmla="*/ 1858954 h 3788731"/>
              <a:gd name="connsiteX20" fmla="*/ 909024 w 2772385"/>
              <a:gd name="connsiteY20" fmla="*/ 1578463 h 3788731"/>
              <a:gd name="connsiteX21" fmla="*/ 454629 w 2772385"/>
              <a:gd name="connsiteY21" fmla="*/ 2605060 h 3788731"/>
              <a:gd name="connsiteX22" fmla="*/ 258286 w 2772385"/>
              <a:gd name="connsiteY22" fmla="*/ 2812623 h 3788731"/>
              <a:gd name="connsiteX23" fmla="*/ 39503 w 2772385"/>
              <a:gd name="connsiteY23" fmla="*/ 2857501 h 3788731"/>
              <a:gd name="connsiteX24" fmla="*/ 28282 w 2772385"/>
              <a:gd name="connsiteY24" fmla="*/ 2975307 h 3788731"/>
              <a:gd name="connsiteX25" fmla="*/ 269505 w 2772385"/>
              <a:gd name="connsiteY25" fmla="*/ 3087504 h 3788731"/>
              <a:gd name="connsiteX26" fmla="*/ 499508 w 2772385"/>
              <a:gd name="connsiteY26" fmla="*/ 2986527 h 3788731"/>
              <a:gd name="connsiteX27" fmla="*/ 465849 w 2772385"/>
              <a:gd name="connsiteY27" fmla="*/ 3115553 h 3788731"/>
              <a:gd name="connsiteX28" fmla="*/ 566825 w 2772385"/>
              <a:gd name="connsiteY28" fmla="*/ 3160431 h 3788731"/>
              <a:gd name="connsiteX29" fmla="*/ 376092 w 2772385"/>
              <a:gd name="connsiteY29" fmla="*/ 3620436 h 3788731"/>
              <a:gd name="connsiteX30" fmla="*/ 190968 w 2772385"/>
              <a:gd name="connsiteY30" fmla="*/ 3665315 h 3788731"/>
              <a:gd name="connsiteX31" fmla="*/ 258286 w 2772385"/>
              <a:gd name="connsiteY31" fmla="*/ 3766291 h 3788731"/>
              <a:gd name="connsiteX32" fmla="*/ 549996 w 2772385"/>
              <a:gd name="connsiteY32" fmla="*/ 3788731 h 3788731"/>
              <a:gd name="connsiteX33" fmla="*/ 583655 w 2772385"/>
              <a:gd name="connsiteY33" fmla="*/ 3581168 h 3788731"/>
              <a:gd name="connsiteX34" fmla="*/ 639753 w 2772385"/>
              <a:gd name="connsiteY34" fmla="*/ 3575558 h 3788731"/>
              <a:gd name="connsiteX35" fmla="*/ 684632 w 2772385"/>
              <a:gd name="connsiteY35" fmla="*/ 3698974 h 3788731"/>
              <a:gd name="connsiteX36" fmla="*/ 768779 w 2772385"/>
              <a:gd name="connsiteY36" fmla="*/ 3704584 h 3788731"/>
              <a:gd name="connsiteX37" fmla="*/ 774389 w 2772385"/>
              <a:gd name="connsiteY37" fmla="*/ 3474581 h 3788731"/>
              <a:gd name="connsiteX38" fmla="*/ 740730 w 2772385"/>
              <a:gd name="connsiteY38" fmla="*/ 3205310 h 3788731"/>
              <a:gd name="connsiteX39" fmla="*/ 897805 w 2772385"/>
              <a:gd name="connsiteY39" fmla="*/ 2627499 h 3788731"/>
              <a:gd name="connsiteX40" fmla="*/ 1161466 w 2772385"/>
              <a:gd name="connsiteY40" fmla="*/ 2520912 h 3788731"/>
              <a:gd name="connsiteX41" fmla="*/ 1526104 w 2772385"/>
              <a:gd name="connsiteY41" fmla="*/ 2627499 h 3788731"/>
              <a:gd name="connsiteX42" fmla="*/ 1587812 w 2772385"/>
              <a:gd name="connsiteY42" fmla="*/ 2627499 h 3788731"/>
              <a:gd name="connsiteX43" fmla="*/ 1643910 w 2772385"/>
              <a:gd name="connsiteY43" fmla="*/ 2728476 h 3788731"/>
              <a:gd name="connsiteX44" fmla="*/ 1795375 w 2772385"/>
              <a:gd name="connsiteY44" fmla="*/ 2762134 h 3788731"/>
              <a:gd name="connsiteX45" fmla="*/ 1806595 w 2772385"/>
              <a:gd name="connsiteY45" fmla="*/ 2795793 h 3788731"/>
              <a:gd name="connsiteX46" fmla="*/ 1767326 w 2772385"/>
              <a:gd name="connsiteY46" fmla="*/ 2997747 h 3788731"/>
              <a:gd name="connsiteX47" fmla="*/ 1744887 w 2772385"/>
              <a:gd name="connsiteY47" fmla="*/ 3323116 h 3788731"/>
              <a:gd name="connsiteX48" fmla="*/ 1537324 w 2772385"/>
              <a:gd name="connsiteY48" fmla="*/ 3345555 h 3788731"/>
              <a:gd name="connsiteX49" fmla="*/ 1200735 w 2772385"/>
              <a:gd name="connsiteY49" fmla="*/ 3396044 h 3788731"/>
              <a:gd name="connsiteX50" fmla="*/ 1172686 w 2772385"/>
              <a:gd name="connsiteY50" fmla="*/ 3468971 h 3788731"/>
              <a:gd name="connsiteX51" fmla="*/ 1110978 w 2772385"/>
              <a:gd name="connsiteY51" fmla="*/ 3497020 h 3788731"/>
              <a:gd name="connsiteX52" fmla="*/ 1139027 w 2772385"/>
              <a:gd name="connsiteY52" fmla="*/ 3631656 h 3788731"/>
              <a:gd name="connsiteX53" fmla="*/ 1279272 w 2772385"/>
              <a:gd name="connsiteY53" fmla="*/ 3637266 h 3788731"/>
              <a:gd name="connsiteX54" fmla="*/ 1273662 w 2772385"/>
              <a:gd name="connsiteY54" fmla="*/ 3485801 h 3788731"/>
              <a:gd name="connsiteX55" fmla="*/ 1453176 w 2772385"/>
              <a:gd name="connsiteY55" fmla="*/ 3497020 h 3788731"/>
              <a:gd name="connsiteX56" fmla="*/ 1425127 w 2772385"/>
              <a:gd name="connsiteY56" fmla="*/ 3575558 h 3788731"/>
              <a:gd name="connsiteX57" fmla="*/ 1397078 w 2772385"/>
              <a:gd name="connsiteY57" fmla="*/ 3637266 h 3788731"/>
              <a:gd name="connsiteX58" fmla="*/ 1312931 w 2772385"/>
              <a:gd name="connsiteY58" fmla="*/ 3654095 h 3788731"/>
              <a:gd name="connsiteX59" fmla="*/ 1447567 w 2772385"/>
              <a:gd name="connsiteY59" fmla="*/ 3777511 h 3788731"/>
              <a:gd name="connsiteX60" fmla="*/ 1514884 w 2772385"/>
              <a:gd name="connsiteY60" fmla="*/ 3642876 h 3788731"/>
              <a:gd name="connsiteX61" fmla="*/ 1817814 w 2772385"/>
              <a:gd name="connsiteY61" fmla="*/ 3541899 h 3788731"/>
              <a:gd name="connsiteX62" fmla="*/ 2154403 w 2772385"/>
              <a:gd name="connsiteY62" fmla="*/ 3614826 h 3788731"/>
              <a:gd name="connsiteX63" fmla="*/ 2109525 w 2772385"/>
              <a:gd name="connsiteY63" fmla="*/ 3715803 h 3788731"/>
              <a:gd name="connsiteX64" fmla="*/ 2204892 w 2772385"/>
              <a:gd name="connsiteY64" fmla="*/ 3783121 h 3788731"/>
              <a:gd name="connsiteX65" fmla="*/ 2277819 w 2772385"/>
              <a:gd name="connsiteY65" fmla="*/ 3732633 h 3788731"/>
              <a:gd name="connsiteX66" fmla="*/ 2266600 w 2772385"/>
              <a:gd name="connsiteY66" fmla="*/ 3637266 h 3788731"/>
              <a:gd name="connsiteX67" fmla="*/ 2446114 w 2772385"/>
              <a:gd name="connsiteY67" fmla="*/ 3558728 h 3788731"/>
              <a:gd name="connsiteX68" fmla="*/ 2429284 w 2772385"/>
              <a:gd name="connsiteY68" fmla="*/ 3384824 h 3788731"/>
              <a:gd name="connsiteX69" fmla="*/ 1924401 w 2772385"/>
              <a:gd name="connsiteY69" fmla="*/ 3356775 h 3788731"/>
              <a:gd name="connsiteX70" fmla="*/ 1913181 w 2772385"/>
              <a:gd name="connsiteY70" fmla="*/ 3031406 h 3788731"/>
              <a:gd name="connsiteX71" fmla="*/ 1879522 w 2772385"/>
              <a:gd name="connsiteY71" fmla="*/ 3014576 h 3788731"/>
              <a:gd name="connsiteX72" fmla="*/ 1901962 w 2772385"/>
              <a:gd name="connsiteY72" fmla="*/ 2835062 h 3788731"/>
              <a:gd name="connsiteX73" fmla="*/ 1857083 w 2772385"/>
              <a:gd name="connsiteY73" fmla="*/ 2773354 h 3788731"/>
              <a:gd name="connsiteX74" fmla="*/ 2103915 w 2772385"/>
              <a:gd name="connsiteY74" fmla="*/ 2717256 h 3788731"/>
              <a:gd name="connsiteX75" fmla="*/ 2126354 w 2772385"/>
              <a:gd name="connsiteY75" fmla="*/ 2588230 h 3788731"/>
              <a:gd name="connsiteX76" fmla="*/ 2367576 w 2772385"/>
              <a:gd name="connsiteY76" fmla="*/ 2621889 h 3788731"/>
              <a:gd name="connsiteX77" fmla="*/ 2591969 w 2772385"/>
              <a:gd name="connsiteY77" fmla="*/ 2032858 h 3788731"/>
              <a:gd name="connsiteX78" fmla="*/ 2547090 w 2772385"/>
              <a:gd name="connsiteY78" fmla="*/ 1948711 h 3788731"/>
              <a:gd name="connsiteX79" fmla="*/ 2692946 w 2772385"/>
              <a:gd name="connsiteY79" fmla="*/ 1460657 h 3788731"/>
              <a:gd name="connsiteX80" fmla="*/ 2636848 w 2772385"/>
              <a:gd name="connsiteY80" fmla="*/ 1354071 h 3788731"/>
              <a:gd name="connsiteX81" fmla="*/ 2479772 w 2772385"/>
              <a:gd name="connsiteY81" fmla="*/ 798699 h 3788731"/>
              <a:gd name="connsiteX82" fmla="*/ 2737825 w 2772385"/>
              <a:gd name="connsiteY82" fmla="*/ 675283 h 3788731"/>
              <a:gd name="connsiteX83" fmla="*/ 2709775 w 2772385"/>
              <a:gd name="connsiteY83" fmla="*/ 434061 h 3788731"/>
              <a:gd name="connsiteX84" fmla="*/ 2625628 w 2772385"/>
              <a:gd name="connsiteY84" fmla="*/ 86253 h 3788731"/>
              <a:gd name="connsiteX0" fmla="*/ 2625628 w 2772385"/>
              <a:gd name="connsiteY0" fmla="*/ 86253 h 3788731"/>
              <a:gd name="connsiteX1" fmla="*/ 2429284 w 2772385"/>
              <a:gd name="connsiteY1" fmla="*/ 2105 h 3788731"/>
              <a:gd name="connsiteX2" fmla="*/ 2188062 w 2772385"/>
              <a:gd name="connsiteY2" fmla="*/ 159180 h 3788731"/>
              <a:gd name="connsiteX3" fmla="*/ 2087086 w 2772385"/>
              <a:gd name="connsiteY3" fmla="*/ 198449 h 3788731"/>
              <a:gd name="connsiteX4" fmla="*/ 2137574 w 2772385"/>
              <a:gd name="connsiteY4" fmla="*/ 288206 h 3788731"/>
              <a:gd name="connsiteX5" fmla="*/ 2025378 w 2772385"/>
              <a:gd name="connsiteY5" fmla="*/ 450890 h 3788731"/>
              <a:gd name="connsiteX6" fmla="*/ 2131966 w 2772385"/>
              <a:gd name="connsiteY6" fmla="*/ 585526 h 3788731"/>
              <a:gd name="connsiteX7" fmla="*/ 2154403 w 2772385"/>
              <a:gd name="connsiteY7" fmla="*/ 708942 h 3788731"/>
              <a:gd name="connsiteX8" fmla="*/ 2025378 w 2772385"/>
              <a:gd name="connsiteY8" fmla="*/ 753820 h 3788731"/>
              <a:gd name="connsiteX9" fmla="*/ 1991719 w 2772385"/>
              <a:gd name="connsiteY9" fmla="*/ 821138 h 3788731"/>
              <a:gd name="connsiteX10" fmla="*/ 1991719 w 2772385"/>
              <a:gd name="connsiteY10" fmla="*/ 708942 h 3788731"/>
              <a:gd name="connsiteX11" fmla="*/ 1941230 w 2772385"/>
              <a:gd name="connsiteY11" fmla="*/ 669673 h 3788731"/>
              <a:gd name="connsiteX12" fmla="*/ 1778546 w 2772385"/>
              <a:gd name="connsiteY12" fmla="*/ 770649 h 3788731"/>
              <a:gd name="connsiteX13" fmla="*/ 1397078 w 2772385"/>
              <a:gd name="connsiteY13" fmla="*/ 579916 h 3788731"/>
              <a:gd name="connsiteX14" fmla="*/ 1660739 w 2772385"/>
              <a:gd name="connsiteY14" fmla="*/ 1129678 h 3788731"/>
              <a:gd name="connsiteX15" fmla="*/ 1795375 w 2772385"/>
              <a:gd name="connsiteY15" fmla="*/ 1225045 h 3788731"/>
              <a:gd name="connsiteX16" fmla="*/ 1643910 w 2772385"/>
              <a:gd name="connsiteY16" fmla="*/ 1449437 h 3788731"/>
              <a:gd name="connsiteX17" fmla="*/ 1722448 w 2772385"/>
              <a:gd name="connsiteY17" fmla="*/ 1668220 h 3788731"/>
              <a:gd name="connsiteX18" fmla="*/ 1812205 w 2772385"/>
              <a:gd name="connsiteY18" fmla="*/ 1662611 h 3788731"/>
              <a:gd name="connsiteX19" fmla="*/ 1621470 w 2772385"/>
              <a:gd name="connsiteY19" fmla="*/ 1858954 h 3788731"/>
              <a:gd name="connsiteX20" fmla="*/ 909024 w 2772385"/>
              <a:gd name="connsiteY20" fmla="*/ 1578463 h 3788731"/>
              <a:gd name="connsiteX21" fmla="*/ 454629 w 2772385"/>
              <a:gd name="connsiteY21" fmla="*/ 2605060 h 3788731"/>
              <a:gd name="connsiteX22" fmla="*/ 258286 w 2772385"/>
              <a:gd name="connsiteY22" fmla="*/ 2812623 h 3788731"/>
              <a:gd name="connsiteX23" fmla="*/ 39503 w 2772385"/>
              <a:gd name="connsiteY23" fmla="*/ 2857501 h 3788731"/>
              <a:gd name="connsiteX24" fmla="*/ 28282 w 2772385"/>
              <a:gd name="connsiteY24" fmla="*/ 2975307 h 3788731"/>
              <a:gd name="connsiteX25" fmla="*/ 219017 w 2772385"/>
              <a:gd name="connsiteY25" fmla="*/ 3093114 h 3788731"/>
              <a:gd name="connsiteX26" fmla="*/ 499508 w 2772385"/>
              <a:gd name="connsiteY26" fmla="*/ 2986527 h 3788731"/>
              <a:gd name="connsiteX27" fmla="*/ 465849 w 2772385"/>
              <a:gd name="connsiteY27" fmla="*/ 3115553 h 3788731"/>
              <a:gd name="connsiteX28" fmla="*/ 566825 w 2772385"/>
              <a:gd name="connsiteY28" fmla="*/ 3160431 h 3788731"/>
              <a:gd name="connsiteX29" fmla="*/ 376092 w 2772385"/>
              <a:gd name="connsiteY29" fmla="*/ 3620436 h 3788731"/>
              <a:gd name="connsiteX30" fmla="*/ 190968 w 2772385"/>
              <a:gd name="connsiteY30" fmla="*/ 3665315 h 3788731"/>
              <a:gd name="connsiteX31" fmla="*/ 258286 w 2772385"/>
              <a:gd name="connsiteY31" fmla="*/ 3766291 h 3788731"/>
              <a:gd name="connsiteX32" fmla="*/ 549996 w 2772385"/>
              <a:gd name="connsiteY32" fmla="*/ 3788731 h 3788731"/>
              <a:gd name="connsiteX33" fmla="*/ 583655 w 2772385"/>
              <a:gd name="connsiteY33" fmla="*/ 3581168 h 3788731"/>
              <a:gd name="connsiteX34" fmla="*/ 639753 w 2772385"/>
              <a:gd name="connsiteY34" fmla="*/ 3575558 h 3788731"/>
              <a:gd name="connsiteX35" fmla="*/ 684632 w 2772385"/>
              <a:gd name="connsiteY35" fmla="*/ 3698974 h 3788731"/>
              <a:gd name="connsiteX36" fmla="*/ 768779 w 2772385"/>
              <a:gd name="connsiteY36" fmla="*/ 3704584 h 3788731"/>
              <a:gd name="connsiteX37" fmla="*/ 774389 w 2772385"/>
              <a:gd name="connsiteY37" fmla="*/ 3474581 h 3788731"/>
              <a:gd name="connsiteX38" fmla="*/ 740730 w 2772385"/>
              <a:gd name="connsiteY38" fmla="*/ 3205310 h 3788731"/>
              <a:gd name="connsiteX39" fmla="*/ 897805 w 2772385"/>
              <a:gd name="connsiteY39" fmla="*/ 2627499 h 3788731"/>
              <a:gd name="connsiteX40" fmla="*/ 1161466 w 2772385"/>
              <a:gd name="connsiteY40" fmla="*/ 2520912 h 3788731"/>
              <a:gd name="connsiteX41" fmla="*/ 1526104 w 2772385"/>
              <a:gd name="connsiteY41" fmla="*/ 2627499 h 3788731"/>
              <a:gd name="connsiteX42" fmla="*/ 1587812 w 2772385"/>
              <a:gd name="connsiteY42" fmla="*/ 2627499 h 3788731"/>
              <a:gd name="connsiteX43" fmla="*/ 1643910 w 2772385"/>
              <a:gd name="connsiteY43" fmla="*/ 2728476 h 3788731"/>
              <a:gd name="connsiteX44" fmla="*/ 1795375 w 2772385"/>
              <a:gd name="connsiteY44" fmla="*/ 2762134 h 3788731"/>
              <a:gd name="connsiteX45" fmla="*/ 1806595 w 2772385"/>
              <a:gd name="connsiteY45" fmla="*/ 2795793 h 3788731"/>
              <a:gd name="connsiteX46" fmla="*/ 1767326 w 2772385"/>
              <a:gd name="connsiteY46" fmla="*/ 2997747 h 3788731"/>
              <a:gd name="connsiteX47" fmla="*/ 1744887 w 2772385"/>
              <a:gd name="connsiteY47" fmla="*/ 3323116 h 3788731"/>
              <a:gd name="connsiteX48" fmla="*/ 1537324 w 2772385"/>
              <a:gd name="connsiteY48" fmla="*/ 3345555 h 3788731"/>
              <a:gd name="connsiteX49" fmla="*/ 1200735 w 2772385"/>
              <a:gd name="connsiteY49" fmla="*/ 3396044 h 3788731"/>
              <a:gd name="connsiteX50" fmla="*/ 1172686 w 2772385"/>
              <a:gd name="connsiteY50" fmla="*/ 3468971 h 3788731"/>
              <a:gd name="connsiteX51" fmla="*/ 1110978 w 2772385"/>
              <a:gd name="connsiteY51" fmla="*/ 3497020 h 3788731"/>
              <a:gd name="connsiteX52" fmla="*/ 1139027 w 2772385"/>
              <a:gd name="connsiteY52" fmla="*/ 3631656 h 3788731"/>
              <a:gd name="connsiteX53" fmla="*/ 1279272 w 2772385"/>
              <a:gd name="connsiteY53" fmla="*/ 3637266 h 3788731"/>
              <a:gd name="connsiteX54" fmla="*/ 1273662 w 2772385"/>
              <a:gd name="connsiteY54" fmla="*/ 3485801 h 3788731"/>
              <a:gd name="connsiteX55" fmla="*/ 1453176 w 2772385"/>
              <a:gd name="connsiteY55" fmla="*/ 3497020 h 3788731"/>
              <a:gd name="connsiteX56" fmla="*/ 1425127 w 2772385"/>
              <a:gd name="connsiteY56" fmla="*/ 3575558 h 3788731"/>
              <a:gd name="connsiteX57" fmla="*/ 1397078 w 2772385"/>
              <a:gd name="connsiteY57" fmla="*/ 3637266 h 3788731"/>
              <a:gd name="connsiteX58" fmla="*/ 1312931 w 2772385"/>
              <a:gd name="connsiteY58" fmla="*/ 3654095 h 3788731"/>
              <a:gd name="connsiteX59" fmla="*/ 1447567 w 2772385"/>
              <a:gd name="connsiteY59" fmla="*/ 3777511 h 3788731"/>
              <a:gd name="connsiteX60" fmla="*/ 1514884 w 2772385"/>
              <a:gd name="connsiteY60" fmla="*/ 3642876 h 3788731"/>
              <a:gd name="connsiteX61" fmla="*/ 1817814 w 2772385"/>
              <a:gd name="connsiteY61" fmla="*/ 3541899 h 3788731"/>
              <a:gd name="connsiteX62" fmla="*/ 2154403 w 2772385"/>
              <a:gd name="connsiteY62" fmla="*/ 3614826 h 3788731"/>
              <a:gd name="connsiteX63" fmla="*/ 2109525 w 2772385"/>
              <a:gd name="connsiteY63" fmla="*/ 3715803 h 3788731"/>
              <a:gd name="connsiteX64" fmla="*/ 2204892 w 2772385"/>
              <a:gd name="connsiteY64" fmla="*/ 3783121 h 3788731"/>
              <a:gd name="connsiteX65" fmla="*/ 2277819 w 2772385"/>
              <a:gd name="connsiteY65" fmla="*/ 3732633 h 3788731"/>
              <a:gd name="connsiteX66" fmla="*/ 2266600 w 2772385"/>
              <a:gd name="connsiteY66" fmla="*/ 3637266 h 3788731"/>
              <a:gd name="connsiteX67" fmla="*/ 2446114 w 2772385"/>
              <a:gd name="connsiteY67" fmla="*/ 3558728 h 3788731"/>
              <a:gd name="connsiteX68" fmla="*/ 2429284 w 2772385"/>
              <a:gd name="connsiteY68" fmla="*/ 3384824 h 3788731"/>
              <a:gd name="connsiteX69" fmla="*/ 1924401 w 2772385"/>
              <a:gd name="connsiteY69" fmla="*/ 3356775 h 3788731"/>
              <a:gd name="connsiteX70" fmla="*/ 1913181 w 2772385"/>
              <a:gd name="connsiteY70" fmla="*/ 3031406 h 3788731"/>
              <a:gd name="connsiteX71" fmla="*/ 1879522 w 2772385"/>
              <a:gd name="connsiteY71" fmla="*/ 3014576 h 3788731"/>
              <a:gd name="connsiteX72" fmla="*/ 1901962 w 2772385"/>
              <a:gd name="connsiteY72" fmla="*/ 2835062 h 3788731"/>
              <a:gd name="connsiteX73" fmla="*/ 1857083 w 2772385"/>
              <a:gd name="connsiteY73" fmla="*/ 2773354 h 3788731"/>
              <a:gd name="connsiteX74" fmla="*/ 2103915 w 2772385"/>
              <a:gd name="connsiteY74" fmla="*/ 2717256 h 3788731"/>
              <a:gd name="connsiteX75" fmla="*/ 2126354 w 2772385"/>
              <a:gd name="connsiteY75" fmla="*/ 2588230 h 3788731"/>
              <a:gd name="connsiteX76" fmla="*/ 2367576 w 2772385"/>
              <a:gd name="connsiteY76" fmla="*/ 2621889 h 3788731"/>
              <a:gd name="connsiteX77" fmla="*/ 2591969 w 2772385"/>
              <a:gd name="connsiteY77" fmla="*/ 2032858 h 3788731"/>
              <a:gd name="connsiteX78" fmla="*/ 2547090 w 2772385"/>
              <a:gd name="connsiteY78" fmla="*/ 1948711 h 3788731"/>
              <a:gd name="connsiteX79" fmla="*/ 2692946 w 2772385"/>
              <a:gd name="connsiteY79" fmla="*/ 1460657 h 3788731"/>
              <a:gd name="connsiteX80" fmla="*/ 2636848 w 2772385"/>
              <a:gd name="connsiteY80" fmla="*/ 1354071 h 3788731"/>
              <a:gd name="connsiteX81" fmla="*/ 2479772 w 2772385"/>
              <a:gd name="connsiteY81" fmla="*/ 798699 h 3788731"/>
              <a:gd name="connsiteX82" fmla="*/ 2737825 w 2772385"/>
              <a:gd name="connsiteY82" fmla="*/ 675283 h 3788731"/>
              <a:gd name="connsiteX83" fmla="*/ 2709775 w 2772385"/>
              <a:gd name="connsiteY83" fmla="*/ 434061 h 3788731"/>
              <a:gd name="connsiteX84" fmla="*/ 2625628 w 2772385"/>
              <a:gd name="connsiteY84" fmla="*/ 86253 h 3788731"/>
              <a:gd name="connsiteX0" fmla="*/ 2625628 w 2772385"/>
              <a:gd name="connsiteY0" fmla="*/ 86253 h 3788731"/>
              <a:gd name="connsiteX1" fmla="*/ 2429284 w 2772385"/>
              <a:gd name="connsiteY1" fmla="*/ 2105 h 3788731"/>
              <a:gd name="connsiteX2" fmla="*/ 2188062 w 2772385"/>
              <a:gd name="connsiteY2" fmla="*/ 159180 h 3788731"/>
              <a:gd name="connsiteX3" fmla="*/ 2087086 w 2772385"/>
              <a:gd name="connsiteY3" fmla="*/ 198449 h 3788731"/>
              <a:gd name="connsiteX4" fmla="*/ 2137574 w 2772385"/>
              <a:gd name="connsiteY4" fmla="*/ 288206 h 3788731"/>
              <a:gd name="connsiteX5" fmla="*/ 2025378 w 2772385"/>
              <a:gd name="connsiteY5" fmla="*/ 450890 h 3788731"/>
              <a:gd name="connsiteX6" fmla="*/ 2131966 w 2772385"/>
              <a:gd name="connsiteY6" fmla="*/ 585526 h 3788731"/>
              <a:gd name="connsiteX7" fmla="*/ 2154403 w 2772385"/>
              <a:gd name="connsiteY7" fmla="*/ 708942 h 3788731"/>
              <a:gd name="connsiteX8" fmla="*/ 2025378 w 2772385"/>
              <a:gd name="connsiteY8" fmla="*/ 753820 h 3788731"/>
              <a:gd name="connsiteX9" fmla="*/ 1991719 w 2772385"/>
              <a:gd name="connsiteY9" fmla="*/ 821138 h 3788731"/>
              <a:gd name="connsiteX10" fmla="*/ 1991719 w 2772385"/>
              <a:gd name="connsiteY10" fmla="*/ 708942 h 3788731"/>
              <a:gd name="connsiteX11" fmla="*/ 1941230 w 2772385"/>
              <a:gd name="connsiteY11" fmla="*/ 669673 h 3788731"/>
              <a:gd name="connsiteX12" fmla="*/ 1778546 w 2772385"/>
              <a:gd name="connsiteY12" fmla="*/ 770649 h 3788731"/>
              <a:gd name="connsiteX13" fmla="*/ 1397078 w 2772385"/>
              <a:gd name="connsiteY13" fmla="*/ 579916 h 3788731"/>
              <a:gd name="connsiteX14" fmla="*/ 1660739 w 2772385"/>
              <a:gd name="connsiteY14" fmla="*/ 1129678 h 3788731"/>
              <a:gd name="connsiteX15" fmla="*/ 1795375 w 2772385"/>
              <a:gd name="connsiteY15" fmla="*/ 1225045 h 3788731"/>
              <a:gd name="connsiteX16" fmla="*/ 1643910 w 2772385"/>
              <a:gd name="connsiteY16" fmla="*/ 1449437 h 3788731"/>
              <a:gd name="connsiteX17" fmla="*/ 1722448 w 2772385"/>
              <a:gd name="connsiteY17" fmla="*/ 1668220 h 3788731"/>
              <a:gd name="connsiteX18" fmla="*/ 1812205 w 2772385"/>
              <a:gd name="connsiteY18" fmla="*/ 1662611 h 3788731"/>
              <a:gd name="connsiteX19" fmla="*/ 1621470 w 2772385"/>
              <a:gd name="connsiteY19" fmla="*/ 1858954 h 3788731"/>
              <a:gd name="connsiteX20" fmla="*/ 909024 w 2772385"/>
              <a:gd name="connsiteY20" fmla="*/ 1578463 h 3788731"/>
              <a:gd name="connsiteX21" fmla="*/ 454629 w 2772385"/>
              <a:gd name="connsiteY21" fmla="*/ 2605060 h 3788731"/>
              <a:gd name="connsiteX22" fmla="*/ 258286 w 2772385"/>
              <a:gd name="connsiteY22" fmla="*/ 2812623 h 3788731"/>
              <a:gd name="connsiteX23" fmla="*/ 39503 w 2772385"/>
              <a:gd name="connsiteY23" fmla="*/ 2857501 h 3788731"/>
              <a:gd name="connsiteX24" fmla="*/ 28282 w 2772385"/>
              <a:gd name="connsiteY24" fmla="*/ 2975307 h 3788731"/>
              <a:gd name="connsiteX25" fmla="*/ 219017 w 2772385"/>
              <a:gd name="connsiteY25" fmla="*/ 3093114 h 3788731"/>
              <a:gd name="connsiteX26" fmla="*/ 499508 w 2772385"/>
              <a:gd name="connsiteY26" fmla="*/ 2986527 h 3788731"/>
              <a:gd name="connsiteX27" fmla="*/ 465849 w 2772385"/>
              <a:gd name="connsiteY27" fmla="*/ 3115553 h 3788731"/>
              <a:gd name="connsiteX28" fmla="*/ 566825 w 2772385"/>
              <a:gd name="connsiteY28" fmla="*/ 3160431 h 3788731"/>
              <a:gd name="connsiteX29" fmla="*/ 376092 w 2772385"/>
              <a:gd name="connsiteY29" fmla="*/ 3620436 h 3788731"/>
              <a:gd name="connsiteX30" fmla="*/ 190968 w 2772385"/>
              <a:gd name="connsiteY30" fmla="*/ 3665315 h 3788731"/>
              <a:gd name="connsiteX31" fmla="*/ 258286 w 2772385"/>
              <a:gd name="connsiteY31" fmla="*/ 3766291 h 3788731"/>
              <a:gd name="connsiteX32" fmla="*/ 549996 w 2772385"/>
              <a:gd name="connsiteY32" fmla="*/ 3788731 h 3788731"/>
              <a:gd name="connsiteX33" fmla="*/ 583655 w 2772385"/>
              <a:gd name="connsiteY33" fmla="*/ 3581168 h 3788731"/>
              <a:gd name="connsiteX34" fmla="*/ 639753 w 2772385"/>
              <a:gd name="connsiteY34" fmla="*/ 3575558 h 3788731"/>
              <a:gd name="connsiteX35" fmla="*/ 684632 w 2772385"/>
              <a:gd name="connsiteY35" fmla="*/ 3698974 h 3788731"/>
              <a:gd name="connsiteX36" fmla="*/ 768779 w 2772385"/>
              <a:gd name="connsiteY36" fmla="*/ 3704584 h 3788731"/>
              <a:gd name="connsiteX37" fmla="*/ 774389 w 2772385"/>
              <a:gd name="connsiteY37" fmla="*/ 3474581 h 3788731"/>
              <a:gd name="connsiteX38" fmla="*/ 740730 w 2772385"/>
              <a:gd name="connsiteY38" fmla="*/ 3205310 h 3788731"/>
              <a:gd name="connsiteX39" fmla="*/ 897805 w 2772385"/>
              <a:gd name="connsiteY39" fmla="*/ 2627499 h 3788731"/>
              <a:gd name="connsiteX40" fmla="*/ 1161466 w 2772385"/>
              <a:gd name="connsiteY40" fmla="*/ 2520912 h 3788731"/>
              <a:gd name="connsiteX41" fmla="*/ 1526104 w 2772385"/>
              <a:gd name="connsiteY41" fmla="*/ 2627499 h 3788731"/>
              <a:gd name="connsiteX42" fmla="*/ 1587812 w 2772385"/>
              <a:gd name="connsiteY42" fmla="*/ 2627499 h 3788731"/>
              <a:gd name="connsiteX43" fmla="*/ 1643910 w 2772385"/>
              <a:gd name="connsiteY43" fmla="*/ 2728476 h 3788731"/>
              <a:gd name="connsiteX44" fmla="*/ 1795375 w 2772385"/>
              <a:gd name="connsiteY44" fmla="*/ 2762134 h 3788731"/>
              <a:gd name="connsiteX45" fmla="*/ 1806595 w 2772385"/>
              <a:gd name="connsiteY45" fmla="*/ 2795793 h 3788731"/>
              <a:gd name="connsiteX46" fmla="*/ 1767326 w 2772385"/>
              <a:gd name="connsiteY46" fmla="*/ 2997747 h 3788731"/>
              <a:gd name="connsiteX47" fmla="*/ 1744887 w 2772385"/>
              <a:gd name="connsiteY47" fmla="*/ 3323116 h 3788731"/>
              <a:gd name="connsiteX48" fmla="*/ 1537324 w 2772385"/>
              <a:gd name="connsiteY48" fmla="*/ 3345555 h 3788731"/>
              <a:gd name="connsiteX49" fmla="*/ 1200735 w 2772385"/>
              <a:gd name="connsiteY49" fmla="*/ 3396044 h 3788731"/>
              <a:gd name="connsiteX50" fmla="*/ 1172686 w 2772385"/>
              <a:gd name="connsiteY50" fmla="*/ 3468971 h 3788731"/>
              <a:gd name="connsiteX51" fmla="*/ 1110978 w 2772385"/>
              <a:gd name="connsiteY51" fmla="*/ 3497020 h 3788731"/>
              <a:gd name="connsiteX52" fmla="*/ 1139027 w 2772385"/>
              <a:gd name="connsiteY52" fmla="*/ 3631656 h 3788731"/>
              <a:gd name="connsiteX53" fmla="*/ 1279272 w 2772385"/>
              <a:gd name="connsiteY53" fmla="*/ 3637266 h 3788731"/>
              <a:gd name="connsiteX54" fmla="*/ 1273662 w 2772385"/>
              <a:gd name="connsiteY54" fmla="*/ 3485801 h 3788731"/>
              <a:gd name="connsiteX55" fmla="*/ 1453176 w 2772385"/>
              <a:gd name="connsiteY55" fmla="*/ 3497020 h 3788731"/>
              <a:gd name="connsiteX56" fmla="*/ 1425127 w 2772385"/>
              <a:gd name="connsiteY56" fmla="*/ 3575558 h 3788731"/>
              <a:gd name="connsiteX57" fmla="*/ 1397078 w 2772385"/>
              <a:gd name="connsiteY57" fmla="*/ 3637266 h 3788731"/>
              <a:gd name="connsiteX58" fmla="*/ 1312931 w 2772385"/>
              <a:gd name="connsiteY58" fmla="*/ 3654095 h 3788731"/>
              <a:gd name="connsiteX59" fmla="*/ 1447567 w 2772385"/>
              <a:gd name="connsiteY59" fmla="*/ 3777511 h 3788731"/>
              <a:gd name="connsiteX60" fmla="*/ 1514884 w 2772385"/>
              <a:gd name="connsiteY60" fmla="*/ 3642876 h 3788731"/>
              <a:gd name="connsiteX61" fmla="*/ 1817814 w 2772385"/>
              <a:gd name="connsiteY61" fmla="*/ 3541899 h 3788731"/>
              <a:gd name="connsiteX62" fmla="*/ 2154403 w 2772385"/>
              <a:gd name="connsiteY62" fmla="*/ 3614826 h 3788731"/>
              <a:gd name="connsiteX63" fmla="*/ 2109525 w 2772385"/>
              <a:gd name="connsiteY63" fmla="*/ 3715803 h 3788731"/>
              <a:gd name="connsiteX64" fmla="*/ 2204892 w 2772385"/>
              <a:gd name="connsiteY64" fmla="*/ 3783121 h 3788731"/>
              <a:gd name="connsiteX65" fmla="*/ 2277819 w 2772385"/>
              <a:gd name="connsiteY65" fmla="*/ 3732633 h 3788731"/>
              <a:gd name="connsiteX66" fmla="*/ 2266600 w 2772385"/>
              <a:gd name="connsiteY66" fmla="*/ 3637266 h 3788731"/>
              <a:gd name="connsiteX67" fmla="*/ 2446114 w 2772385"/>
              <a:gd name="connsiteY67" fmla="*/ 3558728 h 3788731"/>
              <a:gd name="connsiteX68" fmla="*/ 2429284 w 2772385"/>
              <a:gd name="connsiteY68" fmla="*/ 3384824 h 3788731"/>
              <a:gd name="connsiteX69" fmla="*/ 1924401 w 2772385"/>
              <a:gd name="connsiteY69" fmla="*/ 3356775 h 3788731"/>
              <a:gd name="connsiteX70" fmla="*/ 1913181 w 2772385"/>
              <a:gd name="connsiteY70" fmla="*/ 3031406 h 3788731"/>
              <a:gd name="connsiteX71" fmla="*/ 1879522 w 2772385"/>
              <a:gd name="connsiteY71" fmla="*/ 3014576 h 3788731"/>
              <a:gd name="connsiteX72" fmla="*/ 1901962 w 2772385"/>
              <a:gd name="connsiteY72" fmla="*/ 2835062 h 3788731"/>
              <a:gd name="connsiteX73" fmla="*/ 1857083 w 2772385"/>
              <a:gd name="connsiteY73" fmla="*/ 2773354 h 3788731"/>
              <a:gd name="connsiteX74" fmla="*/ 2103915 w 2772385"/>
              <a:gd name="connsiteY74" fmla="*/ 2717256 h 3788731"/>
              <a:gd name="connsiteX75" fmla="*/ 2126354 w 2772385"/>
              <a:gd name="connsiteY75" fmla="*/ 2588230 h 3788731"/>
              <a:gd name="connsiteX76" fmla="*/ 2367576 w 2772385"/>
              <a:gd name="connsiteY76" fmla="*/ 2621889 h 3788731"/>
              <a:gd name="connsiteX77" fmla="*/ 2591969 w 2772385"/>
              <a:gd name="connsiteY77" fmla="*/ 2032858 h 3788731"/>
              <a:gd name="connsiteX78" fmla="*/ 2547090 w 2772385"/>
              <a:gd name="connsiteY78" fmla="*/ 1948711 h 3788731"/>
              <a:gd name="connsiteX79" fmla="*/ 2692946 w 2772385"/>
              <a:gd name="connsiteY79" fmla="*/ 1460657 h 3788731"/>
              <a:gd name="connsiteX80" fmla="*/ 2636848 w 2772385"/>
              <a:gd name="connsiteY80" fmla="*/ 1354071 h 3788731"/>
              <a:gd name="connsiteX81" fmla="*/ 2479772 w 2772385"/>
              <a:gd name="connsiteY81" fmla="*/ 798699 h 3788731"/>
              <a:gd name="connsiteX82" fmla="*/ 2737825 w 2772385"/>
              <a:gd name="connsiteY82" fmla="*/ 675283 h 3788731"/>
              <a:gd name="connsiteX83" fmla="*/ 2709775 w 2772385"/>
              <a:gd name="connsiteY83" fmla="*/ 434061 h 3788731"/>
              <a:gd name="connsiteX84" fmla="*/ 2625628 w 2772385"/>
              <a:gd name="connsiteY84" fmla="*/ 86253 h 3788731"/>
              <a:gd name="connsiteX0" fmla="*/ 2625628 w 2772385"/>
              <a:gd name="connsiteY0" fmla="*/ 86253 h 3788731"/>
              <a:gd name="connsiteX1" fmla="*/ 2429284 w 2772385"/>
              <a:gd name="connsiteY1" fmla="*/ 2105 h 3788731"/>
              <a:gd name="connsiteX2" fmla="*/ 2188062 w 2772385"/>
              <a:gd name="connsiteY2" fmla="*/ 159180 h 3788731"/>
              <a:gd name="connsiteX3" fmla="*/ 2087086 w 2772385"/>
              <a:gd name="connsiteY3" fmla="*/ 198449 h 3788731"/>
              <a:gd name="connsiteX4" fmla="*/ 2137574 w 2772385"/>
              <a:gd name="connsiteY4" fmla="*/ 288206 h 3788731"/>
              <a:gd name="connsiteX5" fmla="*/ 2025378 w 2772385"/>
              <a:gd name="connsiteY5" fmla="*/ 450890 h 3788731"/>
              <a:gd name="connsiteX6" fmla="*/ 2131966 w 2772385"/>
              <a:gd name="connsiteY6" fmla="*/ 585526 h 3788731"/>
              <a:gd name="connsiteX7" fmla="*/ 2154403 w 2772385"/>
              <a:gd name="connsiteY7" fmla="*/ 708942 h 3788731"/>
              <a:gd name="connsiteX8" fmla="*/ 2025378 w 2772385"/>
              <a:gd name="connsiteY8" fmla="*/ 753820 h 3788731"/>
              <a:gd name="connsiteX9" fmla="*/ 1991719 w 2772385"/>
              <a:gd name="connsiteY9" fmla="*/ 821138 h 3788731"/>
              <a:gd name="connsiteX10" fmla="*/ 1991719 w 2772385"/>
              <a:gd name="connsiteY10" fmla="*/ 708942 h 3788731"/>
              <a:gd name="connsiteX11" fmla="*/ 1941230 w 2772385"/>
              <a:gd name="connsiteY11" fmla="*/ 669673 h 3788731"/>
              <a:gd name="connsiteX12" fmla="*/ 1778546 w 2772385"/>
              <a:gd name="connsiteY12" fmla="*/ 770649 h 3788731"/>
              <a:gd name="connsiteX13" fmla="*/ 1397078 w 2772385"/>
              <a:gd name="connsiteY13" fmla="*/ 579916 h 3788731"/>
              <a:gd name="connsiteX14" fmla="*/ 1660739 w 2772385"/>
              <a:gd name="connsiteY14" fmla="*/ 1129678 h 3788731"/>
              <a:gd name="connsiteX15" fmla="*/ 1795375 w 2772385"/>
              <a:gd name="connsiteY15" fmla="*/ 1225045 h 3788731"/>
              <a:gd name="connsiteX16" fmla="*/ 1643910 w 2772385"/>
              <a:gd name="connsiteY16" fmla="*/ 1449437 h 3788731"/>
              <a:gd name="connsiteX17" fmla="*/ 1722448 w 2772385"/>
              <a:gd name="connsiteY17" fmla="*/ 1668220 h 3788731"/>
              <a:gd name="connsiteX18" fmla="*/ 1812205 w 2772385"/>
              <a:gd name="connsiteY18" fmla="*/ 1662611 h 3788731"/>
              <a:gd name="connsiteX19" fmla="*/ 1621470 w 2772385"/>
              <a:gd name="connsiteY19" fmla="*/ 1858954 h 3788731"/>
              <a:gd name="connsiteX20" fmla="*/ 909024 w 2772385"/>
              <a:gd name="connsiteY20" fmla="*/ 1578463 h 3788731"/>
              <a:gd name="connsiteX21" fmla="*/ 454629 w 2772385"/>
              <a:gd name="connsiteY21" fmla="*/ 2605060 h 3788731"/>
              <a:gd name="connsiteX22" fmla="*/ 258286 w 2772385"/>
              <a:gd name="connsiteY22" fmla="*/ 2812623 h 3788731"/>
              <a:gd name="connsiteX23" fmla="*/ 39503 w 2772385"/>
              <a:gd name="connsiteY23" fmla="*/ 2857501 h 3788731"/>
              <a:gd name="connsiteX24" fmla="*/ 28282 w 2772385"/>
              <a:gd name="connsiteY24" fmla="*/ 2975307 h 3788731"/>
              <a:gd name="connsiteX25" fmla="*/ 219017 w 2772385"/>
              <a:gd name="connsiteY25" fmla="*/ 3093114 h 3788731"/>
              <a:gd name="connsiteX26" fmla="*/ 516338 w 2772385"/>
              <a:gd name="connsiteY26" fmla="*/ 2964088 h 3788731"/>
              <a:gd name="connsiteX27" fmla="*/ 465849 w 2772385"/>
              <a:gd name="connsiteY27" fmla="*/ 3115553 h 3788731"/>
              <a:gd name="connsiteX28" fmla="*/ 566825 w 2772385"/>
              <a:gd name="connsiteY28" fmla="*/ 3160431 h 3788731"/>
              <a:gd name="connsiteX29" fmla="*/ 376092 w 2772385"/>
              <a:gd name="connsiteY29" fmla="*/ 3620436 h 3788731"/>
              <a:gd name="connsiteX30" fmla="*/ 190968 w 2772385"/>
              <a:gd name="connsiteY30" fmla="*/ 3665315 h 3788731"/>
              <a:gd name="connsiteX31" fmla="*/ 258286 w 2772385"/>
              <a:gd name="connsiteY31" fmla="*/ 3766291 h 3788731"/>
              <a:gd name="connsiteX32" fmla="*/ 549996 w 2772385"/>
              <a:gd name="connsiteY32" fmla="*/ 3788731 h 3788731"/>
              <a:gd name="connsiteX33" fmla="*/ 583655 w 2772385"/>
              <a:gd name="connsiteY33" fmla="*/ 3581168 h 3788731"/>
              <a:gd name="connsiteX34" fmla="*/ 639753 w 2772385"/>
              <a:gd name="connsiteY34" fmla="*/ 3575558 h 3788731"/>
              <a:gd name="connsiteX35" fmla="*/ 684632 w 2772385"/>
              <a:gd name="connsiteY35" fmla="*/ 3698974 h 3788731"/>
              <a:gd name="connsiteX36" fmla="*/ 768779 w 2772385"/>
              <a:gd name="connsiteY36" fmla="*/ 3704584 h 3788731"/>
              <a:gd name="connsiteX37" fmla="*/ 774389 w 2772385"/>
              <a:gd name="connsiteY37" fmla="*/ 3474581 h 3788731"/>
              <a:gd name="connsiteX38" fmla="*/ 740730 w 2772385"/>
              <a:gd name="connsiteY38" fmla="*/ 3205310 h 3788731"/>
              <a:gd name="connsiteX39" fmla="*/ 897805 w 2772385"/>
              <a:gd name="connsiteY39" fmla="*/ 2627499 h 3788731"/>
              <a:gd name="connsiteX40" fmla="*/ 1161466 w 2772385"/>
              <a:gd name="connsiteY40" fmla="*/ 2520912 h 3788731"/>
              <a:gd name="connsiteX41" fmla="*/ 1526104 w 2772385"/>
              <a:gd name="connsiteY41" fmla="*/ 2627499 h 3788731"/>
              <a:gd name="connsiteX42" fmla="*/ 1587812 w 2772385"/>
              <a:gd name="connsiteY42" fmla="*/ 2627499 h 3788731"/>
              <a:gd name="connsiteX43" fmla="*/ 1643910 w 2772385"/>
              <a:gd name="connsiteY43" fmla="*/ 2728476 h 3788731"/>
              <a:gd name="connsiteX44" fmla="*/ 1795375 w 2772385"/>
              <a:gd name="connsiteY44" fmla="*/ 2762134 h 3788731"/>
              <a:gd name="connsiteX45" fmla="*/ 1806595 w 2772385"/>
              <a:gd name="connsiteY45" fmla="*/ 2795793 h 3788731"/>
              <a:gd name="connsiteX46" fmla="*/ 1767326 w 2772385"/>
              <a:gd name="connsiteY46" fmla="*/ 2997747 h 3788731"/>
              <a:gd name="connsiteX47" fmla="*/ 1744887 w 2772385"/>
              <a:gd name="connsiteY47" fmla="*/ 3323116 h 3788731"/>
              <a:gd name="connsiteX48" fmla="*/ 1537324 w 2772385"/>
              <a:gd name="connsiteY48" fmla="*/ 3345555 h 3788731"/>
              <a:gd name="connsiteX49" fmla="*/ 1200735 w 2772385"/>
              <a:gd name="connsiteY49" fmla="*/ 3396044 h 3788731"/>
              <a:gd name="connsiteX50" fmla="*/ 1172686 w 2772385"/>
              <a:gd name="connsiteY50" fmla="*/ 3468971 h 3788731"/>
              <a:gd name="connsiteX51" fmla="*/ 1110978 w 2772385"/>
              <a:gd name="connsiteY51" fmla="*/ 3497020 h 3788731"/>
              <a:gd name="connsiteX52" fmla="*/ 1139027 w 2772385"/>
              <a:gd name="connsiteY52" fmla="*/ 3631656 h 3788731"/>
              <a:gd name="connsiteX53" fmla="*/ 1279272 w 2772385"/>
              <a:gd name="connsiteY53" fmla="*/ 3637266 h 3788731"/>
              <a:gd name="connsiteX54" fmla="*/ 1273662 w 2772385"/>
              <a:gd name="connsiteY54" fmla="*/ 3485801 h 3788731"/>
              <a:gd name="connsiteX55" fmla="*/ 1453176 w 2772385"/>
              <a:gd name="connsiteY55" fmla="*/ 3497020 h 3788731"/>
              <a:gd name="connsiteX56" fmla="*/ 1425127 w 2772385"/>
              <a:gd name="connsiteY56" fmla="*/ 3575558 h 3788731"/>
              <a:gd name="connsiteX57" fmla="*/ 1397078 w 2772385"/>
              <a:gd name="connsiteY57" fmla="*/ 3637266 h 3788731"/>
              <a:gd name="connsiteX58" fmla="*/ 1312931 w 2772385"/>
              <a:gd name="connsiteY58" fmla="*/ 3654095 h 3788731"/>
              <a:gd name="connsiteX59" fmla="*/ 1447567 w 2772385"/>
              <a:gd name="connsiteY59" fmla="*/ 3777511 h 3788731"/>
              <a:gd name="connsiteX60" fmla="*/ 1514884 w 2772385"/>
              <a:gd name="connsiteY60" fmla="*/ 3642876 h 3788731"/>
              <a:gd name="connsiteX61" fmla="*/ 1817814 w 2772385"/>
              <a:gd name="connsiteY61" fmla="*/ 3541899 h 3788731"/>
              <a:gd name="connsiteX62" fmla="*/ 2154403 w 2772385"/>
              <a:gd name="connsiteY62" fmla="*/ 3614826 h 3788731"/>
              <a:gd name="connsiteX63" fmla="*/ 2109525 w 2772385"/>
              <a:gd name="connsiteY63" fmla="*/ 3715803 h 3788731"/>
              <a:gd name="connsiteX64" fmla="*/ 2204892 w 2772385"/>
              <a:gd name="connsiteY64" fmla="*/ 3783121 h 3788731"/>
              <a:gd name="connsiteX65" fmla="*/ 2277819 w 2772385"/>
              <a:gd name="connsiteY65" fmla="*/ 3732633 h 3788731"/>
              <a:gd name="connsiteX66" fmla="*/ 2266600 w 2772385"/>
              <a:gd name="connsiteY66" fmla="*/ 3637266 h 3788731"/>
              <a:gd name="connsiteX67" fmla="*/ 2446114 w 2772385"/>
              <a:gd name="connsiteY67" fmla="*/ 3558728 h 3788731"/>
              <a:gd name="connsiteX68" fmla="*/ 2429284 w 2772385"/>
              <a:gd name="connsiteY68" fmla="*/ 3384824 h 3788731"/>
              <a:gd name="connsiteX69" fmla="*/ 1924401 w 2772385"/>
              <a:gd name="connsiteY69" fmla="*/ 3356775 h 3788731"/>
              <a:gd name="connsiteX70" fmla="*/ 1913181 w 2772385"/>
              <a:gd name="connsiteY70" fmla="*/ 3031406 h 3788731"/>
              <a:gd name="connsiteX71" fmla="*/ 1879522 w 2772385"/>
              <a:gd name="connsiteY71" fmla="*/ 3014576 h 3788731"/>
              <a:gd name="connsiteX72" fmla="*/ 1901962 w 2772385"/>
              <a:gd name="connsiteY72" fmla="*/ 2835062 h 3788731"/>
              <a:gd name="connsiteX73" fmla="*/ 1857083 w 2772385"/>
              <a:gd name="connsiteY73" fmla="*/ 2773354 h 3788731"/>
              <a:gd name="connsiteX74" fmla="*/ 2103915 w 2772385"/>
              <a:gd name="connsiteY74" fmla="*/ 2717256 h 3788731"/>
              <a:gd name="connsiteX75" fmla="*/ 2126354 w 2772385"/>
              <a:gd name="connsiteY75" fmla="*/ 2588230 h 3788731"/>
              <a:gd name="connsiteX76" fmla="*/ 2367576 w 2772385"/>
              <a:gd name="connsiteY76" fmla="*/ 2621889 h 3788731"/>
              <a:gd name="connsiteX77" fmla="*/ 2591969 w 2772385"/>
              <a:gd name="connsiteY77" fmla="*/ 2032858 h 3788731"/>
              <a:gd name="connsiteX78" fmla="*/ 2547090 w 2772385"/>
              <a:gd name="connsiteY78" fmla="*/ 1948711 h 3788731"/>
              <a:gd name="connsiteX79" fmla="*/ 2692946 w 2772385"/>
              <a:gd name="connsiteY79" fmla="*/ 1460657 h 3788731"/>
              <a:gd name="connsiteX80" fmla="*/ 2636848 w 2772385"/>
              <a:gd name="connsiteY80" fmla="*/ 1354071 h 3788731"/>
              <a:gd name="connsiteX81" fmla="*/ 2479772 w 2772385"/>
              <a:gd name="connsiteY81" fmla="*/ 798699 h 3788731"/>
              <a:gd name="connsiteX82" fmla="*/ 2737825 w 2772385"/>
              <a:gd name="connsiteY82" fmla="*/ 675283 h 3788731"/>
              <a:gd name="connsiteX83" fmla="*/ 2709775 w 2772385"/>
              <a:gd name="connsiteY83" fmla="*/ 434061 h 3788731"/>
              <a:gd name="connsiteX84" fmla="*/ 2625628 w 2772385"/>
              <a:gd name="connsiteY84" fmla="*/ 86253 h 3788731"/>
              <a:gd name="connsiteX0" fmla="*/ 2625628 w 2772385"/>
              <a:gd name="connsiteY0" fmla="*/ 86253 h 3788731"/>
              <a:gd name="connsiteX1" fmla="*/ 2429284 w 2772385"/>
              <a:gd name="connsiteY1" fmla="*/ 2105 h 3788731"/>
              <a:gd name="connsiteX2" fmla="*/ 2188062 w 2772385"/>
              <a:gd name="connsiteY2" fmla="*/ 159180 h 3788731"/>
              <a:gd name="connsiteX3" fmla="*/ 2087086 w 2772385"/>
              <a:gd name="connsiteY3" fmla="*/ 198449 h 3788731"/>
              <a:gd name="connsiteX4" fmla="*/ 2137574 w 2772385"/>
              <a:gd name="connsiteY4" fmla="*/ 288206 h 3788731"/>
              <a:gd name="connsiteX5" fmla="*/ 2025378 w 2772385"/>
              <a:gd name="connsiteY5" fmla="*/ 450890 h 3788731"/>
              <a:gd name="connsiteX6" fmla="*/ 2131966 w 2772385"/>
              <a:gd name="connsiteY6" fmla="*/ 585526 h 3788731"/>
              <a:gd name="connsiteX7" fmla="*/ 2154403 w 2772385"/>
              <a:gd name="connsiteY7" fmla="*/ 708942 h 3788731"/>
              <a:gd name="connsiteX8" fmla="*/ 2025378 w 2772385"/>
              <a:gd name="connsiteY8" fmla="*/ 753820 h 3788731"/>
              <a:gd name="connsiteX9" fmla="*/ 1991719 w 2772385"/>
              <a:gd name="connsiteY9" fmla="*/ 821138 h 3788731"/>
              <a:gd name="connsiteX10" fmla="*/ 1991719 w 2772385"/>
              <a:gd name="connsiteY10" fmla="*/ 708942 h 3788731"/>
              <a:gd name="connsiteX11" fmla="*/ 1941230 w 2772385"/>
              <a:gd name="connsiteY11" fmla="*/ 669673 h 3788731"/>
              <a:gd name="connsiteX12" fmla="*/ 1778546 w 2772385"/>
              <a:gd name="connsiteY12" fmla="*/ 770649 h 3788731"/>
              <a:gd name="connsiteX13" fmla="*/ 1397078 w 2772385"/>
              <a:gd name="connsiteY13" fmla="*/ 579916 h 3788731"/>
              <a:gd name="connsiteX14" fmla="*/ 1660739 w 2772385"/>
              <a:gd name="connsiteY14" fmla="*/ 1129678 h 3788731"/>
              <a:gd name="connsiteX15" fmla="*/ 1795375 w 2772385"/>
              <a:gd name="connsiteY15" fmla="*/ 1225045 h 3788731"/>
              <a:gd name="connsiteX16" fmla="*/ 1643910 w 2772385"/>
              <a:gd name="connsiteY16" fmla="*/ 1449437 h 3788731"/>
              <a:gd name="connsiteX17" fmla="*/ 1722448 w 2772385"/>
              <a:gd name="connsiteY17" fmla="*/ 1668220 h 3788731"/>
              <a:gd name="connsiteX18" fmla="*/ 1812205 w 2772385"/>
              <a:gd name="connsiteY18" fmla="*/ 1662611 h 3788731"/>
              <a:gd name="connsiteX19" fmla="*/ 1621470 w 2772385"/>
              <a:gd name="connsiteY19" fmla="*/ 1858954 h 3788731"/>
              <a:gd name="connsiteX20" fmla="*/ 909024 w 2772385"/>
              <a:gd name="connsiteY20" fmla="*/ 1578463 h 3788731"/>
              <a:gd name="connsiteX21" fmla="*/ 454629 w 2772385"/>
              <a:gd name="connsiteY21" fmla="*/ 2605060 h 3788731"/>
              <a:gd name="connsiteX22" fmla="*/ 258286 w 2772385"/>
              <a:gd name="connsiteY22" fmla="*/ 2812623 h 3788731"/>
              <a:gd name="connsiteX23" fmla="*/ 39503 w 2772385"/>
              <a:gd name="connsiteY23" fmla="*/ 2857501 h 3788731"/>
              <a:gd name="connsiteX24" fmla="*/ 28282 w 2772385"/>
              <a:gd name="connsiteY24" fmla="*/ 2975307 h 3788731"/>
              <a:gd name="connsiteX25" fmla="*/ 219017 w 2772385"/>
              <a:gd name="connsiteY25" fmla="*/ 3093114 h 3788731"/>
              <a:gd name="connsiteX26" fmla="*/ 516338 w 2772385"/>
              <a:gd name="connsiteY26" fmla="*/ 2964088 h 3788731"/>
              <a:gd name="connsiteX27" fmla="*/ 465849 w 2772385"/>
              <a:gd name="connsiteY27" fmla="*/ 3115553 h 3788731"/>
              <a:gd name="connsiteX28" fmla="*/ 566825 w 2772385"/>
              <a:gd name="connsiteY28" fmla="*/ 3160431 h 3788731"/>
              <a:gd name="connsiteX29" fmla="*/ 376092 w 2772385"/>
              <a:gd name="connsiteY29" fmla="*/ 3620436 h 3788731"/>
              <a:gd name="connsiteX30" fmla="*/ 190968 w 2772385"/>
              <a:gd name="connsiteY30" fmla="*/ 3665315 h 3788731"/>
              <a:gd name="connsiteX31" fmla="*/ 258286 w 2772385"/>
              <a:gd name="connsiteY31" fmla="*/ 3766291 h 3788731"/>
              <a:gd name="connsiteX32" fmla="*/ 549996 w 2772385"/>
              <a:gd name="connsiteY32" fmla="*/ 3788731 h 3788731"/>
              <a:gd name="connsiteX33" fmla="*/ 583655 w 2772385"/>
              <a:gd name="connsiteY33" fmla="*/ 3581168 h 3788731"/>
              <a:gd name="connsiteX34" fmla="*/ 639753 w 2772385"/>
              <a:gd name="connsiteY34" fmla="*/ 3575558 h 3788731"/>
              <a:gd name="connsiteX35" fmla="*/ 684632 w 2772385"/>
              <a:gd name="connsiteY35" fmla="*/ 3698974 h 3788731"/>
              <a:gd name="connsiteX36" fmla="*/ 768779 w 2772385"/>
              <a:gd name="connsiteY36" fmla="*/ 3704584 h 3788731"/>
              <a:gd name="connsiteX37" fmla="*/ 774389 w 2772385"/>
              <a:gd name="connsiteY37" fmla="*/ 3474581 h 3788731"/>
              <a:gd name="connsiteX38" fmla="*/ 740730 w 2772385"/>
              <a:gd name="connsiteY38" fmla="*/ 3205310 h 3788731"/>
              <a:gd name="connsiteX39" fmla="*/ 897805 w 2772385"/>
              <a:gd name="connsiteY39" fmla="*/ 2627499 h 3788731"/>
              <a:gd name="connsiteX40" fmla="*/ 1161466 w 2772385"/>
              <a:gd name="connsiteY40" fmla="*/ 2520912 h 3788731"/>
              <a:gd name="connsiteX41" fmla="*/ 1526104 w 2772385"/>
              <a:gd name="connsiteY41" fmla="*/ 2627499 h 3788731"/>
              <a:gd name="connsiteX42" fmla="*/ 1587812 w 2772385"/>
              <a:gd name="connsiteY42" fmla="*/ 2627499 h 3788731"/>
              <a:gd name="connsiteX43" fmla="*/ 1643910 w 2772385"/>
              <a:gd name="connsiteY43" fmla="*/ 2728476 h 3788731"/>
              <a:gd name="connsiteX44" fmla="*/ 1795375 w 2772385"/>
              <a:gd name="connsiteY44" fmla="*/ 2762134 h 3788731"/>
              <a:gd name="connsiteX45" fmla="*/ 1806595 w 2772385"/>
              <a:gd name="connsiteY45" fmla="*/ 2795793 h 3788731"/>
              <a:gd name="connsiteX46" fmla="*/ 1767326 w 2772385"/>
              <a:gd name="connsiteY46" fmla="*/ 2997747 h 3788731"/>
              <a:gd name="connsiteX47" fmla="*/ 1744887 w 2772385"/>
              <a:gd name="connsiteY47" fmla="*/ 3323116 h 3788731"/>
              <a:gd name="connsiteX48" fmla="*/ 1537324 w 2772385"/>
              <a:gd name="connsiteY48" fmla="*/ 3345555 h 3788731"/>
              <a:gd name="connsiteX49" fmla="*/ 1200735 w 2772385"/>
              <a:gd name="connsiteY49" fmla="*/ 3396044 h 3788731"/>
              <a:gd name="connsiteX50" fmla="*/ 1172686 w 2772385"/>
              <a:gd name="connsiteY50" fmla="*/ 3468971 h 3788731"/>
              <a:gd name="connsiteX51" fmla="*/ 1110978 w 2772385"/>
              <a:gd name="connsiteY51" fmla="*/ 3497020 h 3788731"/>
              <a:gd name="connsiteX52" fmla="*/ 1139027 w 2772385"/>
              <a:gd name="connsiteY52" fmla="*/ 3631656 h 3788731"/>
              <a:gd name="connsiteX53" fmla="*/ 1279272 w 2772385"/>
              <a:gd name="connsiteY53" fmla="*/ 3637266 h 3788731"/>
              <a:gd name="connsiteX54" fmla="*/ 1273662 w 2772385"/>
              <a:gd name="connsiteY54" fmla="*/ 3485801 h 3788731"/>
              <a:gd name="connsiteX55" fmla="*/ 1453176 w 2772385"/>
              <a:gd name="connsiteY55" fmla="*/ 3497020 h 3788731"/>
              <a:gd name="connsiteX56" fmla="*/ 1425127 w 2772385"/>
              <a:gd name="connsiteY56" fmla="*/ 3575558 h 3788731"/>
              <a:gd name="connsiteX57" fmla="*/ 1397078 w 2772385"/>
              <a:gd name="connsiteY57" fmla="*/ 3637266 h 3788731"/>
              <a:gd name="connsiteX58" fmla="*/ 1312931 w 2772385"/>
              <a:gd name="connsiteY58" fmla="*/ 3654095 h 3788731"/>
              <a:gd name="connsiteX59" fmla="*/ 1447567 w 2772385"/>
              <a:gd name="connsiteY59" fmla="*/ 3777511 h 3788731"/>
              <a:gd name="connsiteX60" fmla="*/ 1514884 w 2772385"/>
              <a:gd name="connsiteY60" fmla="*/ 3642876 h 3788731"/>
              <a:gd name="connsiteX61" fmla="*/ 1817814 w 2772385"/>
              <a:gd name="connsiteY61" fmla="*/ 3541899 h 3788731"/>
              <a:gd name="connsiteX62" fmla="*/ 2154403 w 2772385"/>
              <a:gd name="connsiteY62" fmla="*/ 3614826 h 3788731"/>
              <a:gd name="connsiteX63" fmla="*/ 2109525 w 2772385"/>
              <a:gd name="connsiteY63" fmla="*/ 3715803 h 3788731"/>
              <a:gd name="connsiteX64" fmla="*/ 2204892 w 2772385"/>
              <a:gd name="connsiteY64" fmla="*/ 3783121 h 3788731"/>
              <a:gd name="connsiteX65" fmla="*/ 2277819 w 2772385"/>
              <a:gd name="connsiteY65" fmla="*/ 3732633 h 3788731"/>
              <a:gd name="connsiteX66" fmla="*/ 2266600 w 2772385"/>
              <a:gd name="connsiteY66" fmla="*/ 3637266 h 3788731"/>
              <a:gd name="connsiteX67" fmla="*/ 2446114 w 2772385"/>
              <a:gd name="connsiteY67" fmla="*/ 3558728 h 3788731"/>
              <a:gd name="connsiteX68" fmla="*/ 2429284 w 2772385"/>
              <a:gd name="connsiteY68" fmla="*/ 3384824 h 3788731"/>
              <a:gd name="connsiteX69" fmla="*/ 1924401 w 2772385"/>
              <a:gd name="connsiteY69" fmla="*/ 3356775 h 3788731"/>
              <a:gd name="connsiteX70" fmla="*/ 1913181 w 2772385"/>
              <a:gd name="connsiteY70" fmla="*/ 3031406 h 3788731"/>
              <a:gd name="connsiteX71" fmla="*/ 1879522 w 2772385"/>
              <a:gd name="connsiteY71" fmla="*/ 3014576 h 3788731"/>
              <a:gd name="connsiteX72" fmla="*/ 1901962 w 2772385"/>
              <a:gd name="connsiteY72" fmla="*/ 2835062 h 3788731"/>
              <a:gd name="connsiteX73" fmla="*/ 1857083 w 2772385"/>
              <a:gd name="connsiteY73" fmla="*/ 2773354 h 3788731"/>
              <a:gd name="connsiteX74" fmla="*/ 2103915 w 2772385"/>
              <a:gd name="connsiteY74" fmla="*/ 2717256 h 3788731"/>
              <a:gd name="connsiteX75" fmla="*/ 2126354 w 2772385"/>
              <a:gd name="connsiteY75" fmla="*/ 2588230 h 3788731"/>
              <a:gd name="connsiteX76" fmla="*/ 2367576 w 2772385"/>
              <a:gd name="connsiteY76" fmla="*/ 2621889 h 3788731"/>
              <a:gd name="connsiteX77" fmla="*/ 2591969 w 2772385"/>
              <a:gd name="connsiteY77" fmla="*/ 2032858 h 3788731"/>
              <a:gd name="connsiteX78" fmla="*/ 2547090 w 2772385"/>
              <a:gd name="connsiteY78" fmla="*/ 1948711 h 3788731"/>
              <a:gd name="connsiteX79" fmla="*/ 2692946 w 2772385"/>
              <a:gd name="connsiteY79" fmla="*/ 1460657 h 3788731"/>
              <a:gd name="connsiteX80" fmla="*/ 2636848 w 2772385"/>
              <a:gd name="connsiteY80" fmla="*/ 1354071 h 3788731"/>
              <a:gd name="connsiteX81" fmla="*/ 2479772 w 2772385"/>
              <a:gd name="connsiteY81" fmla="*/ 798699 h 3788731"/>
              <a:gd name="connsiteX82" fmla="*/ 2737825 w 2772385"/>
              <a:gd name="connsiteY82" fmla="*/ 675283 h 3788731"/>
              <a:gd name="connsiteX83" fmla="*/ 2709775 w 2772385"/>
              <a:gd name="connsiteY83" fmla="*/ 434061 h 3788731"/>
              <a:gd name="connsiteX84" fmla="*/ 2625628 w 2772385"/>
              <a:gd name="connsiteY84" fmla="*/ 86253 h 3788731"/>
              <a:gd name="connsiteX0" fmla="*/ 2625628 w 2772385"/>
              <a:gd name="connsiteY0" fmla="*/ 86253 h 3788731"/>
              <a:gd name="connsiteX1" fmla="*/ 2429284 w 2772385"/>
              <a:gd name="connsiteY1" fmla="*/ 2105 h 3788731"/>
              <a:gd name="connsiteX2" fmla="*/ 2188062 w 2772385"/>
              <a:gd name="connsiteY2" fmla="*/ 159180 h 3788731"/>
              <a:gd name="connsiteX3" fmla="*/ 2087086 w 2772385"/>
              <a:gd name="connsiteY3" fmla="*/ 198449 h 3788731"/>
              <a:gd name="connsiteX4" fmla="*/ 2137574 w 2772385"/>
              <a:gd name="connsiteY4" fmla="*/ 288206 h 3788731"/>
              <a:gd name="connsiteX5" fmla="*/ 2025378 w 2772385"/>
              <a:gd name="connsiteY5" fmla="*/ 450890 h 3788731"/>
              <a:gd name="connsiteX6" fmla="*/ 2131966 w 2772385"/>
              <a:gd name="connsiteY6" fmla="*/ 585526 h 3788731"/>
              <a:gd name="connsiteX7" fmla="*/ 2154403 w 2772385"/>
              <a:gd name="connsiteY7" fmla="*/ 708942 h 3788731"/>
              <a:gd name="connsiteX8" fmla="*/ 2025378 w 2772385"/>
              <a:gd name="connsiteY8" fmla="*/ 753820 h 3788731"/>
              <a:gd name="connsiteX9" fmla="*/ 1991719 w 2772385"/>
              <a:gd name="connsiteY9" fmla="*/ 821138 h 3788731"/>
              <a:gd name="connsiteX10" fmla="*/ 1991719 w 2772385"/>
              <a:gd name="connsiteY10" fmla="*/ 708942 h 3788731"/>
              <a:gd name="connsiteX11" fmla="*/ 1941230 w 2772385"/>
              <a:gd name="connsiteY11" fmla="*/ 669673 h 3788731"/>
              <a:gd name="connsiteX12" fmla="*/ 1778546 w 2772385"/>
              <a:gd name="connsiteY12" fmla="*/ 770649 h 3788731"/>
              <a:gd name="connsiteX13" fmla="*/ 1397078 w 2772385"/>
              <a:gd name="connsiteY13" fmla="*/ 579916 h 3788731"/>
              <a:gd name="connsiteX14" fmla="*/ 1660739 w 2772385"/>
              <a:gd name="connsiteY14" fmla="*/ 1129678 h 3788731"/>
              <a:gd name="connsiteX15" fmla="*/ 1795375 w 2772385"/>
              <a:gd name="connsiteY15" fmla="*/ 1225045 h 3788731"/>
              <a:gd name="connsiteX16" fmla="*/ 1643910 w 2772385"/>
              <a:gd name="connsiteY16" fmla="*/ 1449437 h 3788731"/>
              <a:gd name="connsiteX17" fmla="*/ 1722448 w 2772385"/>
              <a:gd name="connsiteY17" fmla="*/ 1668220 h 3788731"/>
              <a:gd name="connsiteX18" fmla="*/ 1812205 w 2772385"/>
              <a:gd name="connsiteY18" fmla="*/ 1662611 h 3788731"/>
              <a:gd name="connsiteX19" fmla="*/ 1621470 w 2772385"/>
              <a:gd name="connsiteY19" fmla="*/ 1858954 h 3788731"/>
              <a:gd name="connsiteX20" fmla="*/ 909024 w 2772385"/>
              <a:gd name="connsiteY20" fmla="*/ 1578463 h 3788731"/>
              <a:gd name="connsiteX21" fmla="*/ 454629 w 2772385"/>
              <a:gd name="connsiteY21" fmla="*/ 2605060 h 3788731"/>
              <a:gd name="connsiteX22" fmla="*/ 258286 w 2772385"/>
              <a:gd name="connsiteY22" fmla="*/ 2812623 h 3788731"/>
              <a:gd name="connsiteX23" fmla="*/ 39503 w 2772385"/>
              <a:gd name="connsiteY23" fmla="*/ 2857501 h 3788731"/>
              <a:gd name="connsiteX24" fmla="*/ 28282 w 2772385"/>
              <a:gd name="connsiteY24" fmla="*/ 2975307 h 3788731"/>
              <a:gd name="connsiteX25" fmla="*/ 219017 w 2772385"/>
              <a:gd name="connsiteY25" fmla="*/ 3093114 h 3788731"/>
              <a:gd name="connsiteX26" fmla="*/ 516338 w 2772385"/>
              <a:gd name="connsiteY26" fmla="*/ 2964088 h 3788731"/>
              <a:gd name="connsiteX27" fmla="*/ 465849 w 2772385"/>
              <a:gd name="connsiteY27" fmla="*/ 3115553 h 3788731"/>
              <a:gd name="connsiteX28" fmla="*/ 566825 w 2772385"/>
              <a:gd name="connsiteY28" fmla="*/ 3160431 h 3788731"/>
              <a:gd name="connsiteX29" fmla="*/ 376092 w 2772385"/>
              <a:gd name="connsiteY29" fmla="*/ 3620436 h 3788731"/>
              <a:gd name="connsiteX30" fmla="*/ 190968 w 2772385"/>
              <a:gd name="connsiteY30" fmla="*/ 3665315 h 3788731"/>
              <a:gd name="connsiteX31" fmla="*/ 258286 w 2772385"/>
              <a:gd name="connsiteY31" fmla="*/ 3766291 h 3788731"/>
              <a:gd name="connsiteX32" fmla="*/ 549996 w 2772385"/>
              <a:gd name="connsiteY32" fmla="*/ 3788731 h 3788731"/>
              <a:gd name="connsiteX33" fmla="*/ 583655 w 2772385"/>
              <a:gd name="connsiteY33" fmla="*/ 3581168 h 3788731"/>
              <a:gd name="connsiteX34" fmla="*/ 639753 w 2772385"/>
              <a:gd name="connsiteY34" fmla="*/ 3575558 h 3788731"/>
              <a:gd name="connsiteX35" fmla="*/ 684632 w 2772385"/>
              <a:gd name="connsiteY35" fmla="*/ 3698974 h 3788731"/>
              <a:gd name="connsiteX36" fmla="*/ 768779 w 2772385"/>
              <a:gd name="connsiteY36" fmla="*/ 3704584 h 3788731"/>
              <a:gd name="connsiteX37" fmla="*/ 774389 w 2772385"/>
              <a:gd name="connsiteY37" fmla="*/ 3474581 h 3788731"/>
              <a:gd name="connsiteX38" fmla="*/ 740730 w 2772385"/>
              <a:gd name="connsiteY38" fmla="*/ 3205310 h 3788731"/>
              <a:gd name="connsiteX39" fmla="*/ 897805 w 2772385"/>
              <a:gd name="connsiteY39" fmla="*/ 2627499 h 3788731"/>
              <a:gd name="connsiteX40" fmla="*/ 1161466 w 2772385"/>
              <a:gd name="connsiteY40" fmla="*/ 2520912 h 3788731"/>
              <a:gd name="connsiteX41" fmla="*/ 1526104 w 2772385"/>
              <a:gd name="connsiteY41" fmla="*/ 2627499 h 3788731"/>
              <a:gd name="connsiteX42" fmla="*/ 1587812 w 2772385"/>
              <a:gd name="connsiteY42" fmla="*/ 2627499 h 3788731"/>
              <a:gd name="connsiteX43" fmla="*/ 1643910 w 2772385"/>
              <a:gd name="connsiteY43" fmla="*/ 2728476 h 3788731"/>
              <a:gd name="connsiteX44" fmla="*/ 1795375 w 2772385"/>
              <a:gd name="connsiteY44" fmla="*/ 2762134 h 3788731"/>
              <a:gd name="connsiteX45" fmla="*/ 1806595 w 2772385"/>
              <a:gd name="connsiteY45" fmla="*/ 2795793 h 3788731"/>
              <a:gd name="connsiteX46" fmla="*/ 1767326 w 2772385"/>
              <a:gd name="connsiteY46" fmla="*/ 2997747 h 3788731"/>
              <a:gd name="connsiteX47" fmla="*/ 1744887 w 2772385"/>
              <a:gd name="connsiteY47" fmla="*/ 3323116 h 3788731"/>
              <a:gd name="connsiteX48" fmla="*/ 1537324 w 2772385"/>
              <a:gd name="connsiteY48" fmla="*/ 3345555 h 3788731"/>
              <a:gd name="connsiteX49" fmla="*/ 1200735 w 2772385"/>
              <a:gd name="connsiteY49" fmla="*/ 3396044 h 3788731"/>
              <a:gd name="connsiteX50" fmla="*/ 1172686 w 2772385"/>
              <a:gd name="connsiteY50" fmla="*/ 3468971 h 3788731"/>
              <a:gd name="connsiteX51" fmla="*/ 1110978 w 2772385"/>
              <a:gd name="connsiteY51" fmla="*/ 3497020 h 3788731"/>
              <a:gd name="connsiteX52" fmla="*/ 1139027 w 2772385"/>
              <a:gd name="connsiteY52" fmla="*/ 3631656 h 3788731"/>
              <a:gd name="connsiteX53" fmla="*/ 1279272 w 2772385"/>
              <a:gd name="connsiteY53" fmla="*/ 3637266 h 3788731"/>
              <a:gd name="connsiteX54" fmla="*/ 1273662 w 2772385"/>
              <a:gd name="connsiteY54" fmla="*/ 3485801 h 3788731"/>
              <a:gd name="connsiteX55" fmla="*/ 1453176 w 2772385"/>
              <a:gd name="connsiteY55" fmla="*/ 3497020 h 3788731"/>
              <a:gd name="connsiteX56" fmla="*/ 1425127 w 2772385"/>
              <a:gd name="connsiteY56" fmla="*/ 3575558 h 3788731"/>
              <a:gd name="connsiteX57" fmla="*/ 1397078 w 2772385"/>
              <a:gd name="connsiteY57" fmla="*/ 3637266 h 3788731"/>
              <a:gd name="connsiteX58" fmla="*/ 1312931 w 2772385"/>
              <a:gd name="connsiteY58" fmla="*/ 3654095 h 3788731"/>
              <a:gd name="connsiteX59" fmla="*/ 1447567 w 2772385"/>
              <a:gd name="connsiteY59" fmla="*/ 3777511 h 3788731"/>
              <a:gd name="connsiteX60" fmla="*/ 1514884 w 2772385"/>
              <a:gd name="connsiteY60" fmla="*/ 3642876 h 3788731"/>
              <a:gd name="connsiteX61" fmla="*/ 1817814 w 2772385"/>
              <a:gd name="connsiteY61" fmla="*/ 3541899 h 3788731"/>
              <a:gd name="connsiteX62" fmla="*/ 2154403 w 2772385"/>
              <a:gd name="connsiteY62" fmla="*/ 3614826 h 3788731"/>
              <a:gd name="connsiteX63" fmla="*/ 2109525 w 2772385"/>
              <a:gd name="connsiteY63" fmla="*/ 3715803 h 3788731"/>
              <a:gd name="connsiteX64" fmla="*/ 2204892 w 2772385"/>
              <a:gd name="connsiteY64" fmla="*/ 3783121 h 3788731"/>
              <a:gd name="connsiteX65" fmla="*/ 2277819 w 2772385"/>
              <a:gd name="connsiteY65" fmla="*/ 3732633 h 3788731"/>
              <a:gd name="connsiteX66" fmla="*/ 2266600 w 2772385"/>
              <a:gd name="connsiteY66" fmla="*/ 3637266 h 3788731"/>
              <a:gd name="connsiteX67" fmla="*/ 2446114 w 2772385"/>
              <a:gd name="connsiteY67" fmla="*/ 3558728 h 3788731"/>
              <a:gd name="connsiteX68" fmla="*/ 2429284 w 2772385"/>
              <a:gd name="connsiteY68" fmla="*/ 3384824 h 3788731"/>
              <a:gd name="connsiteX69" fmla="*/ 1924401 w 2772385"/>
              <a:gd name="connsiteY69" fmla="*/ 3356775 h 3788731"/>
              <a:gd name="connsiteX70" fmla="*/ 1913181 w 2772385"/>
              <a:gd name="connsiteY70" fmla="*/ 3031406 h 3788731"/>
              <a:gd name="connsiteX71" fmla="*/ 1879522 w 2772385"/>
              <a:gd name="connsiteY71" fmla="*/ 3014576 h 3788731"/>
              <a:gd name="connsiteX72" fmla="*/ 1901962 w 2772385"/>
              <a:gd name="connsiteY72" fmla="*/ 2835062 h 3788731"/>
              <a:gd name="connsiteX73" fmla="*/ 1857083 w 2772385"/>
              <a:gd name="connsiteY73" fmla="*/ 2773354 h 3788731"/>
              <a:gd name="connsiteX74" fmla="*/ 2103915 w 2772385"/>
              <a:gd name="connsiteY74" fmla="*/ 2717256 h 3788731"/>
              <a:gd name="connsiteX75" fmla="*/ 2126354 w 2772385"/>
              <a:gd name="connsiteY75" fmla="*/ 2588230 h 3788731"/>
              <a:gd name="connsiteX76" fmla="*/ 2367576 w 2772385"/>
              <a:gd name="connsiteY76" fmla="*/ 2621889 h 3788731"/>
              <a:gd name="connsiteX77" fmla="*/ 2591969 w 2772385"/>
              <a:gd name="connsiteY77" fmla="*/ 2032858 h 3788731"/>
              <a:gd name="connsiteX78" fmla="*/ 2547090 w 2772385"/>
              <a:gd name="connsiteY78" fmla="*/ 1948711 h 3788731"/>
              <a:gd name="connsiteX79" fmla="*/ 2692946 w 2772385"/>
              <a:gd name="connsiteY79" fmla="*/ 1460657 h 3788731"/>
              <a:gd name="connsiteX80" fmla="*/ 2636848 w 2772385"/>
              <a:gd name="connsiteY80" fmla="*/ 1354071 h 3788731"/>
              <a:gd name="connsiteX81" fmla="*/ 2479772 w 2772385"/>
              <a:gd name="connsiteY81" fmla="*/ 798699 h 3788731"/>
              <a:gd name="connsiteX82" fmla="*/ 2737825 w 2772385"/>
              <a:gd name="connsiteY82" fmla="*/ 675283 h 3788731"/>
              <a:gd name="connsiteX83" fmla="*/ 2709775 w 2772385"/>
              <a:gd name="connsiteY83" fmla="*/ 434061 h 3788731"/>
              <a:gd name="connsiteX84" fmla="*/ 2625628 w 2772385"/>
              <a:gd name="connsiteY84" fmla="*/ 86253 h 3788731"/>
              <a:gd name="connsiteX0" fmla="*/ 2625628 w 2772385"/>
              <a:gd name="connsiteY0" fmla="*/ 86253 h 3788731"/>
              <a:gd name="connsiteX1" fmla="*/ 2429284 w 2772385"/>
              <a:gd name="connsiteY1" fmla="*/ 2105 h 3788731"/>
              <a:gd name="connsiteX2" fmla="*/ 2188062 w 2772385"/>
              <a:gd name="connsiteY2" fmla="*/ 159180 h 3788731"/>
              <a:gd name="connsiteX3" fmla="*/ 2087086 w 2772385"/>
              <a:gd name="connsiteY3" fmla="*/ 198449 h 3788731"/>
              <a:gd name="connsiteX4" fmla="*/ 2137574 w 2772385"/>
              <a:gd name="connsiteY4" fmla="*/ 288206 h 3788731"/>
              <a:gd name="connsiteX5" fmla="*/ 2025378 w 2772385"/>
              <a:gd name="connsiteY5" fmla="*/ 450890 h 3788731"/>
              <a:gd name="connsiteX6" fmla="*/ 2131966 w 2772385"/>
              <a:gd name="connsiteY6" fmla="*/ 585526 h 3788731"/>
              <a:gd name="connsiteX7" fmla="*/ 2154403 w 2772385"/>
              <a:gd name="connsiteY7" fmla="*/ 708942 h 3788731"/>
              <a:gd name="connsiteX8" fmla="*/ 2025378 w 2772385"/>
              <a:gd name="connsiteY8" fmla="*/ 753820 h 3788731"/>
              <a:gd name="connsiteX9" fmla="*/ 1991719 w 2772385"/>
              <a:gd name="connsiteY9" fmla="*/ 821138 h 3788731"/>
              <a:gd name="connsiteX10" fmla="*/ 1991719 w 2772385"/>
              <a:gd name="connsiteY10" fmla="*/ 708942 h 3788731"/>
              <a:gd name="connsiteX11" fmla="*/ 1941230 w 2772385"/>
              <a:gd name="connsiteY11" fmla="*/ 669673 h 3788731"/>
              <a:gd name="connsiteX12" fmla="*/ 1778546 w 2772385"/>
              <a:gd name="connsiteY12" fmla="*/ 770649 h 3788731"/>
              <a:gd name="connsiteX13" fmla="*/ 1397078 w 2772385"/>
              <a:gd name="connsiteY13" fmla="*/ 579916 h 3788731"/>
              <a:gd name="connsiteX14" fmla="*/ 1660739 w 2772385"/>
              <a:gd name="connsiteY14" fmla="*/ 1129678 h 3788731"/>
              <a:gd name="connsiteX15" fmla="*/ 1795375 w 2772385"/>
              <a:gd name="connsiteY15" fmla="*/ 1225045 h 3788731"/>
              <a:gd name="connsiteX16" fmla="*/ 1643910 w 2772385"/>
              <a:gd name="connsiteY16" fmla="*/ 1449437 h 3788731"/>
              <a:gd name="connsiteX17" fmla="*/ 1722448 w 2772385"/>
              <a:gd name="connsiteY17" fmla="*/ 1668220 h 3788731"/>
              <a:gd name="connsiteX18" fmla="*/ 1812205 w 2772385"/>
              <a:gd name="connsiteY18" fmla="*/ 1662611 h 3788731"/>
              <a:gd name="connsiteX19" fmla="*/ 1621470 w 2772385"/>
              <a:gd name="connsiteY19" fmla="*/ 1858954 h 3788731"/>
              <a:gd name="connsiteX20" fmla="*/ 909024 w 2772385"/>
              <a:gd name="connsiteY20" fmla="*/ 1578463 h 3788731"/>
              <a:gd name="connsiteX21" fmla="*/ 454629 w 2772385"/>
              <a:gd name="connsiteY21" fmla="*/ 2605060 h 3788731"/>
              <a:gd name="connsiteX22" fmla="*/ 258286 w 2772385"/>
              <a:gd name="connsiteY22" fmla="*/ 2812623 h 3788731"/>
              <a:gd name="connsiteX23" fmla="*/ 39503 w 2772385"/>
              <a:gd name="connsiteY23" fmla="*/ 2857501 h 3788731"/>
              <a:gd name="connsiteX24" fmla="*/ 28282 w 2772385"/>
              <a:gd name="connsiteY24" fmla="*/ 2975307 h 3788731"/>
              <a:gd name="connsiteX25" fmla="*/ 219017 w 2772385"/>
              <a:gd name="connsiteY25" fmla="*/ 3093114 h 3788731"/>
              <a:gd name="connsiteX26" fmla="*/ 538778 w 2772385"/>
              <a:gd name="connsiteY26" fmla="*/ 2980917 h 3788731"/>
              <a:gd name="connsiteX27" fmla="*/ 465849 w 2772385"/>
              <a:gd name="connsiteY27" fmla="*/ 3115553 h 3788731"/>
              <a:gd name="connsiteX28" fmla="*/ 566825 w 2772385"/>
              <a:gd name="connsiteY28" fmla="*/ 3160431 h 3788731"/>
              <a:gd name="connsiteX29" fmla="*/ 376092 w 2772385"/>
              <a:gd name="connsiteY29" fmla="*/ 3620436 h 3788731"/>
              <a:gd name="connsiteX30" fmla="*/ 190968 w 2772385"/>
              <a:gd name="connsiteY30" fmla="*/ 3665315 h 3788731"/>
              <a:gd name="connsiteX31" fmla="*/ 258286 w 2772385"/>
              <a:gd name="connsiteY31" fmla="*/ 3766291 h 3788731"/>
              <a:gd name="connsiteX32" fmla="*/ 549996 w 2772385"/>
              <a:gd name="connsiteY32" fmla="*/ 3788731 h 3788731"/>
              <a:gd name="connsiteX33" fmla="*/ 583655 w 2772385"/>
              <a:gd name="connsiteY33" fmla="*/ 3581168 h 3788731"/>
              <a:gd name="connsiteX34" fmla="*/ 639753 w 2772385"/>
              <a:gd name="connsiteY34" fmla="*/ 3575558 h 3788731"/>
              <a:gd name="connsiteX35" fmla="*/ 684632 w 2772385"/>
              <a:gd name="connsiteY35" fmla="*/ 3698974 h 3788731"/>
              <a:gd name="connsiteX36" fmla="*/ 768779 w 2772385"/>
              <a:gd name="connsiteY36" fmla="*/ 3704584 h 3788731"/>
              <a:gd name="connsiteX37" fmla="*/ 774389 w 2772385"/>
              <a:gd name="connsiteY37" fmla="*/ 3474581 h 3788731"/>
              <a:gd name="connsiteX38" fmla="*/ 740730 w 2772385"/>
              <a:gd name="connsiteY38" fmla="*/ 3205310 h 3788731"/>
              <a:gd name="connsiteX39" fmla="*/ 897805 w 2772385"/>
              <a:gd name="connsiteY39" fmla="*/ 2627499 h 3788731"/>
              <a:gd name="connsiteX40" fmla="*/ 1161466 w 2772385"/>
              <a:gd name="connsiteY40" fmla="*/ 2520912 h 3788731"/>
              <a:gd name="connsiteX41" fmla="*/ 1526104 w 2772385"/>
              <a:gd name="connsiteY41" fmla="*/ 2627499 h 3788731"/>
              <a:gd name="connsiteX42" fmla="*/ 1587812 w 2772385"/>
              <a:gd name="connsiteY42" fmla="*/ 2627499 h 3788731"/>
              <a:gd name="connsiteX43" fmla="*/ 1643910 w 2772385"/>
              <a:gd name="connsiteY43" fmla="*/ 2728476 h 3788731"/>
              <a:gd name="connsiteX44" fmla="*/ 1795375 w 2772385"/>
              <a:gd name="connsiteY44" fmla="*/ 2762134 h 3788731"/>
              <a:gd name="connsiteX45" fmla="*/ 1806595 w 2772385"/>
              <a:gd name="connsiteY45" fmla="*/ 2795793 h 3788731"/>
              <a:gd name="connsiteX46" fmla="*/ 1767326 w 2772385"/>
              <a:gd name="connsiteY46" fmla="*/ 2997747 h 3788731"/>
              <a:gd name="connsiteX47" fmla="*/ 1744887 w 2772385"/>
              <a:gd name="connsiteY47" fmla="*/ 3323116 h 3788731"/>
              <a:gd name="connsiteX48" fmla="*/ 1537324 w 2772385"/>
              <a:gd name="connsiteY48" fmla="*/ 3345555 h 3788731"/>
              <a:gd name="connsiteX49" fmla="*/ 1200735 w 2772385"/>
              <a:gd name="connsiteY49" fmla="*/ 3396044 h 3788731"/>
              <a:gd name="connsiteX50" fmla="*/ 1172686 w 2772385"/>
              <a:gd name="connsiteY50" fmla="*/ 3468971 h 3788731"/>
              <a:gd name="connsiteX51" fmla="*/ 1110978 w 2772385"/>
              <a:gd name="connsiteY51" fmla="*/ 3497020 h 3788731"/>
              <a:gd name="connsiteX52" fmla="*/ 1139027 w 2772385"/>
              <a:gd name="connsiteY52" fmla="*/ 3631656 h 3788731"/>
              <a:gd name="connsiteX53" fmla="*/ 1279272 w 2772385"/>
              <a:gd name="connsiteY53" fmla="*/ 3637266 h 3788731"/>
              <a:gd name="connsiteX54" fmla="*/ 1273662 w 2772385"/>
              <a:gd name="connsiteY54" fmla="*/ 3485801 h 3788731"/>
              <a:gd name="connsiteX55" fmla="*/ 1453176 w 2772385"/>
              <a:gd name="connsiteY55" fmla="*/ 3497020 h 3788731"/>
              <a:gd name="connsiteX56" fmla="*/ 1425127 w 2772385"/>
              <a:gd name="connsiteY56" fmla="*/ 3575558 h 3788731"/>
              <a:gd name="connsiteX57" fmla="*/ 1397078 w 2772385"/>
              <a:gd name="connsiteY57" fmla="*/ 3637266 h 3788731"/>
              <a:gd name="connsiteX58" fmla="*/ 1312931 w 2772385"/>
              <a:gd name="connsiteY58" fmla="*/ 3654095 h 3788731"/>
              <a:gd name="connsiteX59" fmla="*/ 1447567 w 2772385"/>
              <a:gd name="connsiteY59" fmla="*/ 3777511 h 3788731"/>
              <a:gd name="connsiteX60" fmla="*/ 1514884 w 2772385"/>
              <a:gd name="connsiteY60" fmla="*/ 3642876 h 3788731"/>
              <a:gd name="connsiteX61" fmla="*/ 1817814 w 2772385"/>
              <a:gd name="connsiteY61" fmla="*/ 3541899 h 3788731"/>
              <a:gd name="connsiteX62" fmla="*/ 2154403 w 2772385"/>
              <a:gd name="connsiteY62" fmla="*/ 3614826 h 3788731"/>
              <a:gd name="connsiteX63" fmla="*/ 2109525 w 2772385"/>
              <a:gd name="connsiteY63" fmla="*/ 3715803 h 3788731"/>
              <a:gd name="connsiteX64" fmla="*/ 2204892 w 2772385"/>
              <a:gd name="connsiteY64" fmla="*/ 3783121 h 3788731"/>
              <a:gd name="connsiteX65" fmla="*/ 2277819 w 2772385"/>
              <a:gd name="connsiteY65" fmla="*/ 3732633 h 3788731"/>
              <a:gd name="connsiteX66" fmla="*/ 2266600 w 2772385"/>
              <a:gd name="connsiteY66" fmla="*/ 3637266 h 3788731"/>
              <a:gd name="connsiteX67" fmla="*/ 2446114 w 2772385"/>
              <a:gd name="connsiteY67" fmla="*/ 3558728 h 3788731"/>
              <a:gd name="connsiteX68" fmla="*/ 2429284 w 2772385"/>
              <a:gd name="connsiteY68" fmla="*/ 3384824 h 3788731"/>
              <a:gd name="connsiteX69" fmla="*/ 1924401 w 2772385"/>
              <a:gd name="connsiteY69" fmla="*/ 3356775 h 3788731"/>
              <a:gd name="connsiteX70" fmla="*/ 1913181 w 2772385"/>
              <a:gd name="connsiteY70" fmla="*/ 3031406 h 3788731"/>
              <a:gd name="connsiteX71" fmla="*/ 1879522 w 2772385"/>
              <a:gd name="connsiteY71" fmla="*/ 3014576 h 3788731"/>
              <a:gd name="connsiteX72" fmla="*/ 1901962 w 2772385"/>
              <a:gd name="connsiteY72" fmla="*/ 2835062 h 3788731"/>
              <a:gd name="connsiteX73" fmla="*/ 1857083 w 2772385"/>
              <a:gd name="connsiteY73" fmla="*/ 2773354 h 3788731"/>
              <a:gd name="connsiteX74" fmla="*/ 2103915 w 2772385"/>
              <a:gd name="connsiteY74" fmla="*/ 2717256 h 3788731"/>
              <a:gd name="connsiteX75" fmla="*/ 2126354 w 2772385"/>
              <a:gd name="connsiteY75" fmla="*/ 2588230 h 3788731"/>
              <a:gd name="connsiteX76" fmla="*/ 2367576 w 2772385"/>
              <a:gd name="connsiteY76" fmla="*/ 2621889 h 3788731"/>
              <a:gd name="connsiteX77" fmla="*/ 2591969 w 2772385"/>
              <a:gd name="connsiteY77" fmla="*/ 2032858 h 3788731"/>
              <a:gd name="connsiteX78" fmla="*/ 2547090 w 2772385"/>
              <a:gd name="connsiteY78" fmla="*/ 1948711 h 3788731"/>
              <a:gd name="connsiteX79" fmla="*/ 2692946 w 2772385"/>
              <a:gd name="connsiteY79" fmla="*/ 1460657 h 3788731"/>
              <a:gd name="connsiteX80" fmla="*/ 2636848 w 2772385"/>
              <a:gd name="connsiteY80" fmla="*/ 1354071 h 3788731"/>
              <a:gd name="connsiteX81" fmla="*/ 2479772 w 2772385"/>
              <a:gd name="connsiteY81" fmla="*/ 798699 h 3788731"/>
              <a:gd name="connsiteX82" fmla="*/ 2737825 w 2772385"/>
              <a:gd name="connsiteY82" fmla="*/ 675283 h 3788731"/>
              <a:gd name="connsiteX83" fmla="*/ 2709775 w 2772385"/>
              <a:gd name="connsiteY83" fmla="*/ 434061 h 3788731"/>
              <a:gd name="connsiteX84" fmla="*/ 2625628 w 2772385"/>
              <a:gd name="connsiteY84" fmla="*/ 86253 h 3788731"/>
              <a:gd name="connsiteX0" fmla="*/ 2625628 w 2772385"/>
              <a:gd name="connsiteY0" fmla="*/ 86253 h 3788731"/>
              <a:gd name="connsiteX1" fmla="*/ 2429284 w 2772385"/>
              <a:gd name="connsiteY1" fmla="*/ 2105 h 3788731"/>
              <a:gd name="connsiteX2" fmla="*/ 2188062 w 2772385"/>
              <a:gd name="connsiteY2" fmla="*/ 159180 h 3788731"/>
              <a:gd name="connsiteX3" fmla="*/ 2087086 w 2772385"/>
              <a:gd name="connsiteY3" fmla="*/ 198449 h 3788731"/>
              <a:gd name="connsiteX4" fmla="*/ 2137574 w 2772385"/>
              <a:gd name="connsiteY4" fmla="*/ 288206 h 3788731"/>
              <a:gd name="connsiteX5" fmla="*/ 2025378 w 2772385"/>
              <a:gd name="connsiteY5" fmla="*/ 450890 h 3788731"/>
              <a:gd name="connsiteX6" fmla="*/ 2131966 w 2772385"/>
              <a:gd name="connsiteY6" fmla="*/ 585526 h 3788731"/>
              <a:gd name="connsiteX7" fmla="*/ 2154403 w 2772385"/>
              <a:gd name="connsiteY7" fmla="*/ 708942 h 3788731"/>
              <a:gd name="connsiteX8" fmla="*/ 2025378 w 2772385"/>
              <a:gd name="connsiteY8" fmla="*/ 753820 h 3788731"/>
              <a:gd name="connsiteX9" fmla="*/ 1991719 w 2772385"/>
              <a:gd name="connsiteY9" fmla="*/ 821138 h 3788731"/>
              <a:gd name="connsiteX10" fmla="*/ 1991719 w 2772385"/>
              <a:gd name="connsiteY10" fmla="*/ 708942 h 3788731"/>
              <a:gd name="connsiteX11" fmla="*/ 1941230 w 2772385"/>
              <a:gd name="connsiteY11" fmla="*/ 669673 h 3788731"/>
              <a:gd name="connsiteX12" fmla="*/ 1778546 w 2772385"/>
              <a:gd name="connsiteY12" fmla="*/ 770649 h 3788731"/>
              <a:gd name="connsiteX13" fmla="*/ 1397078 w 2772385"/>
              <a:gd name="connsiteY13" fmla="*/ 579916 h 3788731"/>
              <a:gd name="connsiteX14" fmla="*/ 1660739 w 2772385"/>
              <a:gd name="connsiteY14" fmla="*/ 1129678 h 3788731"/>
              <a:gd name="connsiteX15" fmla="*/ 1795375 w 2772385"/>
              <a:gd name="connsiteY15" fmla="*/ 1225045 h 3788731"/>
              <a:gd name="connsiteX16" fmla="*/ 1643910 w 2772385"/>
              <a:gd name="connsiteY16" fmla="*/ 1449437 h 3788731"/>
              <a:gd name="connsiteX17" fmla="*/ 1722448 w 2772385"/>
              <a:gd name="connsiteY17" fmla="*/ 1668220 h 3788731"/>
              <a:gd name="connsiteX18" fmla="*/ 1812205 w 2772385"/>
              <a:gd name="connsiteY18" fmla="*/ 1662611 h 3788731"/>
              <a:gd name="connsiteX19" fmla="*/ 1621470 w 2772385"/>
              <a:gd name="connsiteY19" fmla="*/ 1858954 h 3788731"/>
              <a:gd name="connsiteX20" fmla="*/ 909024 w 2772385"/>
              <a:gd name="connsiteY20" fmla="*/ 1578463 h 3788731"/>
              <a:gd name="connsiteX21" fmla="*/ 454629 w 2772385"/>
              <a:gd name="connsiteY21" fmla="*/ 2605060 h 3788731"/>
              <a:gd name="connsiteX22" fmla="*/ 258286 w 2772385"/>
              <a:gd name="connsiteY22" fmla="*/ 2812623 h 3788731"/>
              <a:gd name="connsiteX23" fmla="*/ 39503 w 2772385"/>
              <a:gd name="connsiteY23" fmla="*/ 2857501 h 3788731"/>
              <a:gd name="connsiteX24" fmla="*/ 28282 w 2772385"/>
              <a:gd name="connsiteY24" fmla="*/ 2975307 h 3788731"/>
              <a:gd name="connsiteX25" fmla="*/ 258285 w 2772385"/>
              <a:gd name="connsiteY25" fmla="*/ 3087504 h 3788731"/>
              <a:gd name="connsiteX26" fmla="*/ 538778 w 2772385"/>
              <a:gd name="connsiteY26" fmla="*/ 2980917 h 3788731"/>
              <a:gd name="connsiteX27" fmla="*/ 465849 w 2772385"/>
              <a:gd name="connsiteY27" fmla="*/ 3115553 h 3788731"/>
              <a:gd name="connsiteX28" fmla="*/ 566825 w 2772385"/>
              <a:gd name="connsiteY28" fmla="*/ 3160431 h 3788731"/>
              <a:gd name="connsiteX29" fmla="*/ 376092 w 2772385"/>
              <a:gd name="connsiteY29" fmla="*/ 3620436 h 3788731"/>
              <a:gd name="connsiteX30" fmla="*/ 190968 w 2772385"/>
              <a:gd name="connsiteY30" fmla="*/ 3665315 h 3788731"/>
              <a:gd name="connsiteX31" fmla="*/ 258286 w 2772385"/>
              <a:gd name="connsiteY31" fmla="*/ 3766291 h 3788731"/>
              <a:gd name="connsiteX32" fmla="*/ 549996 w 2772385"/>
              <a:gd name="connsiteY32" fmla="*/ 3788731 h 3788731"/>
              <a:gd name="connsiteX33" fmla="*/ 583655 w 2772385"/>
              <a:gd name="connsiteY33" fmla="*/ 3581168 h 3788731"/>
              <a:gd name="connsiteX34" fmla="*/ 639753 w 2772385"/>
              <a:gd name="connsiteY34" fmla="*/ 3575558 h 3788731"/>
              <a:gd name="connsiteX35" fmla="*/ 684632 w 2772385"/>
              <a:gd name="connsiteY35" fmla="*/ 3698974 h 3788731"/>
              <a:gd name="connsiteX36" fmla="*/ 768779 w 2772385"/>
              <a:gd name="connsiteY36" fmla="*/ 3704584 h 3788731"/>
              <a:gd name="connsiteX37" fmla="*/ 774389 w 2772385"/>
              <a:gd name="connsiteY37" fmla="*/ 3474581 h 3788731"/>
              <a:gd name="connsiteX38" fmla="*/ 740730 w 2772385"/>
              <a:gd name="connsiteY38" fmla="*/ 3205310 h 3788731"/>
              <a:gd name="connsiteX39" fmla="*/ 897805 w 2772385"/>
              <a:gd name="connsiteY39" fmla="*/ 2627499 h 3788731"/>
              <a:gd name="connsiteX40" fmla="*/ 1161466 w 2772385"/>
              <a:gd name="connsiteY40" fmla="*/ 2520912 h 3788731"/>
              <a:gd name="connsiteX41" fmla="*/ 1526104 w 2772385"/>
              <a:gd name="connsiteY41" fmla="*/ 2627499 h 3788731"/>
              <a:gd name="connsiteX42" fmla="*/ 1587812 w 2772385"/>
              <a:gd name="connsiteY42" fmla="*/ 2627499 h 3788731"/>
              <a:gd name="connsiteX43" fmla="*/ 1643910 w 2772385"/>
              <a:gd name="connsiteY43" fmla="*/ 2728476 h 3788731"/>
              <a:gd name="connsiteX44" fmla="*/ 1795375 w 2772385"/>
              <a:gd name="connsiteY44" fmla="*/ 2762134 h 3788731"/>
              <a:gd name="connsiteX45" fmla="*/ 1806595 w 2772385"/>
              <a:gd name="connsiteY45" fmla="*/ 2795793 h 3788731"/>
              <a:gd name="connsiteX46" fmla="*/ 1767326 w 2772385"/>
              <a:gd name="connsiteY46" fmla="*/ 2997747 h 3788731"/>
              <a:gd name="connsiteX47" fmla="*/ 1744887 w 2772385"/>
              <a:gd name="connsiteY47" fmla="*/ 3323116 h 3788731"/>
              <a:gd name="connsiteX48" fmla="*/ 1537324 w 2772385"/>
              <a:gd name="connsiteY48" fmla="*/ 3345555 h 3788731"/>
              <a:gd name="connsiteX49" fmla="*/ 1200735 w 2772385"/>
              <a:gd name="connsiteY49" fmla="*/ 3396044 h 3788731"/>
              <a:gd name="connsiteX50" fmla="*/ 1172686 w 2772385"/>
              <a:gd name="connsiteY50" fmla="*/ 3468971 h 3788731"/>
              <a:gd name="connsiteX51" fmla="*/ 1110978 w 2772385"/>
              <a:gd name="connsiteY51" fmla="*/ 3497020 h 3788731"/>
              <a:gd name="connsiteX52" fmla="*/ 1139027 w 2772385"/>
              <a:gd name="connsiteY52" fmla="*/ 3631656 h 3788731"/>
              <a:gd name="connsiteX53" fmla="*/ 1279272 w 2772385"/>
              <a:gd name="connsiteY53" fmla="*/ 3637266 h 3788731"/>
              <a:gd name="connsiteX54" fmla="*/ 1273662 w 2772385"/>
              <a:gd name="connsiteY54" fmla="*/ 3485801 h 3788731"/>
              <a:gd name="connsiteX55" fmla="*/ 1453176 w 2772385"/>
              <a:gd name="connsiteY55" fmla="*/ 3497020 h 3788731"/>
              <a:gd name="connsiteX56" fmla="*/ 1425127 w 2772385"/>
              <a:gd name="connsiteY56" fmla="*/ 3575558 h 3788731"/>
              <a:gd name="connsiteX57" fmla="*/ 1397078 w 2772385"/>
              <a:gd name="connsiteY57" fmla="*/ 3637266 h 3788731"/>
              <a:gd name="connsiteX58" fmla="*/ 1312931 w 2772385"/>
              <a:gd name="connsiteY58" fmla="*/ 3654095 h 3788731"/>
              <a:gd name="connsiteX59" fmla="*/ 1447567 w 2772385"/>
              <a:gd name="connsiteY59" fmla="*/ 3777511 h 3788731"/>
              <a:gd name="connsiteX60" fmla="*/ 1514884 w 2772385"/>
              <a:gd name="connsiteY60" fmla="*/ 3642876 h 3788731"/>
              <a:gd name="connsiteX61" fmla="*/ 1817814 w 2772385"/>
              <a:gd name="connsiteY61" fmla="*/ 3541899 h 3788731"/>
              <a:gd name="connsiteX62" fmla="*/ 2154403 w 2772385"/>
              <a:gd name="connsiteY62" fmla="*/ 3614826 h 3788731"/>
              <a:gd name="connsiteX63" fmla="*/ 2109525 w 2772385"/>
              <a:gd name="connsiteY63" fmla="*/ 3715803 h 3788731"/>
              <a:gd name="connsiteX64" fmla="*/ 2204892 w 2772385"/>
              <a:gd name="connsiteY64" fmla="*/ 3783121 h 3788731"/>
              <a:gd name="connsiteX65" fmla="*/ 2277819 w 2772385"/>
              <a:gd name="connsiteY65" fmla="*/ 3732633 h 3788731"/>
              <a:gd name="connsiteX66" fmla="*/ 2266600 w 2772385"/>
              <a:gd name="connsiteY66" fmla="*/ 3637266 h 3788731"/>
              <a:gd name="connsiteX67" fmla="*/ 2446114 w 2772385"/>
              <a:gd name="connsiteY67" fmla="*/ 3558728 h 3788731"/>
              <a:gd name="connsiteX68" fmla="*/ 2429284 w 2772385"/>
              <a:gd name="connsiteY68" fmla="*/ 3384824 h 3788731"/>
              <a:gd name="connsiteX69" fmla="*/ 1924401 w 2772385"/>
              <a:gd name="connsiteY69" fmla="*/ 3356775 h 3788731"/>
              <a:gd name="connsiteX70" fmla="*/ 1913181 w 2772385"/>
              <a:gd name="connsiteY70" fmla="*/ 3031406 h 3788731"/>
              <a:gd name="connsiteX71" fmla="*/ 1879522 w 2772385"/>
              <a:gd name="connsiteY71" fmla="*/ 3014576 h 3788731"/>
              <a:gd name="connsiteX72" fmla="*/ 1901962 w 2772385"/>
              <a:gd name="connsiteY72" fmla="*/ 2835062 h 3788731"/>
              <a:gd name="connsiteX73" fmla="*/ 1857083 w 2772385"/>
              <a:gd name="connsiteY73" fmla="*/ 2773354 h 3788731"/>
              <a:gd name="connsiteX74" fmla="*/ 2103915 w 2772385"/>
              <a:gd name="connsiteY74" fmla="*/ 2717256 h 3788731"/>
              <a:gd name="connsiteX75" fmla="*/ 2126354 w 2772385"/>
              <a:gd name="connsiteY75" fmla="*/ 2588230 h 3788731"/>
              <a:gd name="connsiteX76" fmla="*/ 2367576 w 2772385"/>
              <a:gd name="connsiteY76" fmla="*/ 2621889 h 3788731"/>
              <a:gd name="connsiteX77" fmla="*/ 2591969 w 2772385"/>
              <a:gd name="connsiteY77" fmla="*/ 2032858 h 3788731"/>
              <a:gd name="connsiteX78" fmla="*/ 2547090 w 2772385"/>
              <a:gd name="connsiteY78" fmla="*/ 1948711 h 3788731"/>
              <a:gd name="connsiteX79" fmla="*/ 2692946 w 2772385"/>
              <a:gd name="connsiteY79" fmla="*/ 1460657 h 3788731"/>
              <a:gd name="connsiteX80" fmla="*/ 2636848 w 2772385"/>
              <a:gd name="connsiteY80" fmla="*/ 1354071 h 3788731"/>
              <a:gd name="connsiteX81" fmla="*/ 2479772 w 2772385"/>
              <a:gd name="connsiteY81" fmla="*/ 798699 h 3788731"/>
              <a:gd name="connsiteX82" fmla="*/ 2737825 w 2772385"/>
              <a:gd name="connsiteY82" fmla="*/ 675283 h 3788731"/>
              <a:gd name="connsiteX83" fmla="*/ 2709775 w 2772385"/>
              <a:gd name="connsiteY83" fmla="*/ 434061 h 3788731"/>
              <a:gd name="connsiteX84" fmla="*/ 2625628 w 2772385"/>
              <a:gd name="connsiteY84" fmla="*/ 86253 h 3788731"/>
              <a:gd name="connsiteX0" fmla="*/ 2625628 w 2772385"/>
              <a:gd name="connsiteY0" fmla="*/ 86253 h 3788731"/>
              <a:gd name="connsiteX1" fmla="*/ 2429284 w 2772385"/>
              <a:gd name="connsiteY1" fmla="*/ 2105 h 3788731"/>
              <a:gd name="connsiteX2" fmla="*/ 2188062 w 2772385"/>
              <a:gd name="connsiteY2" fmla="*/ 159180 h 3788731"/>
              <a:gd name="connsiteX3" fmla="*/ 2087086 w 2772385"/>
              <a:gd name="connsiteY3" fmla="*/ 198449 h 3788731"/>
              <a:gd name="connsiteX4" fmla="*/ 2137574 w 2772385"/>
              <a:gd name="connsiteY4" fmla="*/ 288206 h 3788731"/>
              <a:gd name="connsiteX5" fmla="*/ 2025378 w 2772385"/>
              <a:gd name="connsiteY5" fmla="*/ 450890 h 3788731"/>
              <a:gd name="connsiteX6" fmla="*/ 2131966 w 2772385"/>
              <a:gd name="connsiteY6" fmla="*/ 585526 h 3788731"/>
              <a:gd name="connsiteX7" fmla="*/ 2154403 w 2772385"/>
              <a:gd name="connsiteY7" fmla="*/ 708942 h 3788731"/>
              <a:gd name="connsiteX8" fmla="*/ 2025378 w 2772385"/>
              <a:gd name="connsiteY8" fmla="*/ 753820 h 3788731"/>
              <a:gd name="connsiteX9" fmla="*/ 1991719 w 2772385"/>
              <a:gd name="connsiteY9" fmla="*/ 821138 h 3788731"/>
              <a:gd name="connsiteX10" fmla="*/ 1991719 w 2772385"/>
              <a:gd name="connsiteY10" fmla="*/ 708942 h 3788731"/>
              <a:gd name="connsiteX11" fmla="*/ 1941230 w 2772385"/>
              <a:gd name="connsiteY11" fmla="*/ 669673 h 3788731"/>
              <a:gd name="connsiteX12" fmla="*/ 1778546 w 2772385"/>
              <a:gd name="connsiteY12" fmla="*/ 770649 h 3788731"/>
              <a:gd name="connsiteX13" fmla="*/ 1397078 w 2772385"/>
              <a:gd name="connsiteY13" fmla="*/ 579916 h 3788731"/>
              <a:gd name="connsiteX14" fmla="*/ 1660739 w 2772385"/>
              <a:gd name="connsiteY14" fmla="*/ 1129678 h 3788731"/>
              <a:gd name="connsiteX15" fmla="*/ 1795375 w 2772385"/>
              <a:gd name="connsiteY15" fmla="*/ 1225045 h 3788731"/>
              <a:gd name="connsiteX16" fmla="*/ 1643910 w 2772385"/>
              <a:gd name="connsiteY16" fmla="*/ 1449437 h 3788731"/>
              <a:gd name="connsiteX17" fmla="*/ 1722448 w 2772385"/>
              <a:gd name="connsiteY17" fmla="*/ 1668220 h 3788731"/>
              <a:gd name="connsiteX18" fmla="*/ 1812205 w 2772385"/>
              <a:gd name="connsiteY18" fmla="*/ 1662611 h 3788731"/>
              <a:gd name="connsiteX19" fmla="*/ 1621470 w 2772385"/>
              <a:gd name="connsiteY19" fmla="*/ 1858954 h 3788731"/>
              <a:gd name="connsiteX20" fmla="*/ 909024 w 2772385"/>
              <a:gd name="connsiteY20" fmla="*/ 1578463 h 3788731"/>
              <a:gd name="connsiteX21" fmla="*/ 454629 w 2772385"/>
              <a:gd name="connsiteY21" fmla="*/ 2605060 h 3788731"/>
              <a:gd name="connsiteX22" fmla="*/ 258286 w 2772385"/>
              <a:gd name="connsiteY22" fmla="*/ 2812623 h 3788731"/>
              <a:gd name="connsiteX23" fmla="*/ 39503 w 2772385"/>
              <a:gd name="connsiteY23" fmla="*/ 2857501 h 3788731"/>
              <a:gd name="connsiteX24" fmla="*/ 28282 w 2772385"/>
              <a:gd name="connsiteY24" fmla="*/ 2975307 h 3788731"/>
              <a:gd name="connsiteX25" fmla="*/ 258285 w 2772385"/>
              <a:gd name="connsiteY25" fmla="*/ 3087504 h 3788731"/>
              <a:gd name="connsiteX26" fmla="*/ 527559 w 2772385"/>
              <a:gd name="connsiteY26" fmla="*/ 2986527 h 3788731"/>
              <a:gd name="connsiteX27" fmla="*/ 465849 w 2772385"/>
              <a:gd name="connsiteY27" fmla="*/ 3115553 h 3788731"/>
              <a:gd name="connsiteX28" fmla="*/ 566825 w 2772385"/>
              <a:gd name="connsiteY28" fmla="*/ 3160431 h 3788731"/>
              <a:gd name="connsiteX29" fmla="*/ 376092 w 2772385"/>
              <a:gd name="connsiteY29" fmla="*/ 3620436 h 3788731"/>
              <a:gd name="connsiteX30" fmla="*/ 190968 w 2772385"/>
              <a:gd name="connsiteY30" fmla="*/ 3665315 h 3788731"/>
              <a:gd name="connsiteX31" fmla="*/ 258286 w 2772385"/>
              <a:gd name="connsiteY31" fmla="*/ 3766291 h 3788731"/>
              <a:gd name="connsiteX32" fmla="*/ 549996 w 2772385"/>
              <a:gd name="connsiteY32" fmla="*/ 3788731 h 3788731"/>
              <a:gd name="connsiteX33" fmla="*/ 583655 w 2772385"/>
              <a:gd name="connsiteY33" fmla="*/ 3581168 h 3788731"/>
              <a:gd name="connsiteX34" fmla="*/ 639753 w 2772385"/>
              <a:gd name="connsiteY34" fmla="*/ 3575558 h 3788731"/>
              <a:gd name="connsiteX35" fmla="*/ 684632 w 2772385"/>
              <a:gd name="connsiteY35" fmla="*/ 3698974 h 3788731"/>
              <a:gd name="connsiteX36" fmla="*/ 768779 w 2772385"/>
              <a:gd name="connsiteY36" fmla="*/ 3704584 h 3788731"/>
              <a:gd name="connsiteX37" fmla="*/ 774389 w 2772385"/>
              <a:gd name="connsiteY37" fmla="*/ 3474581 h 3788731"/>
              <a:gd name="connsiteX38" fmla="*/ 740730 w 2772385"/>
              <a:gd name="connsiteY38" fmla="*/ 3205310 h 3788731"/>
              <a:gd name="connsiteX39" fmla="*/ 897805 w 2772385"/>
              <a:gd name="connsiteY39" fmla="*/ 2627499 h 3788731"/>
              <a:gd name="connsiteX40" fmla="*/ 1161466 w 2772385"/>
              <a:gd name="connsiteY40" fmla="*/ 2520912 h 3788731"/>
              <a:gd name="connsiteX41" fmla="*/ 1526104 w 2772385"/>
              <a:gd name="connsiteY41" fmla="*/ 2627499 h 3788731"/>
              <a:gd name="connsiteX42" fmla="*/ 1587812 w 2772385"/>
              <a:gd name="connsiteY42" fmla="*/ 2627499 h 3788731"/>
              <a:gd name="connsiteX43" fmla="*/ 1643910 w 2772385"/>
              <a:gd name="connsiteY43" fmla="*/ 2728476 h 3788731"/>
              <a:gd name="connsiteX44" fmla="*/ 1795375 w 2772385"/>
              <a:gd name="connsiteY44" fmla="*/ 2762134 h 3788731"/>
              <a:gd name="connsiteX45" fmla="*/ 1806595 w 2772385"/>
              <a:gd name="connsiteY45" fmla="*/ 2795793 h 3788731"/>
              <a:gd name="connsiteX46" fmla="*/ 1767326 w 2772385"/>
              <a:gd name="connsiteY46" fmla="*/ 2997747 h 3788731"/>
              <a:gd name="connsiteX47" fmla="*/ 1744887 w 2772385"/>
              <a:gd name="connsiteY47" fmla="*/ 3323116 h 3788731"/>
              <a:gd name="connsiteX48" fmla="*/ 1537324 w 2772385"/>
              <a:gd name="connsiteY48" fmla="*/ 3345555 h 3788731"/>
              <a:gd name="connsiteX49" fmla="*/ 1200735 w 2772385"/>
              <a:gd name="connsiteY49" fmla="*/ 3396044 h 3788731"/>
              <a:gd name="connsiteX50" fmla="*/ 1172686 w 2772385"/>
              <a:gd name="connsiteY50" fmla="*/ 3468971 h 3788731"/>
              <a:gd name="connsiteX51" fmla="*/ 1110978 w 2772385"/>
              <a:gd name="connsiteY51" fmla="*/ 3497020 h 3788731"/>
              <a:gd name="connsiteX52" fmla="*/ 1139027 w 2772385"/>
              <a:gd name="connsiteY52" fmla="*/ 3631656 h 3788731"/>
              <a:gd name="connsiteX53" fmla="*/ 1279272 w 2772385"/>
              <a:gd name="connsiteY53" fmla="*/ 3637266 h 3788731"/>
              <a:gd name="connsiteX54" fmla="*/ 1273662 w 2772385"/>
              <a:gd name="connsiteY54" fmla="*/ 3485801 h 3788731"/>
              <a:gd name="connsiteX55" fmla="*/ 1453176 w 2772385"/>
              <a:gd name="connsiteY55" fmla="*/ 3497020 h 3788731"/>
              <a:gd name="connsiteX56" fmla="*/ 1425127 w 2772385"/>
              <a:gd name="connsiteY56" fmla="*/ 3575558 h 3788731"/>
              <a:gd name="connsiteX57" fmla="*/ 1397078 w 2772385"/>
              <a:gd name="connsiteY57" fmla="*/ 3637266 h 3788731"/>
              <a:gd name="connsiteX58" fmla="*/ 1312931 w 2772385"/>
              <a:gd name="connsiteY58" fmla="*/ 3654095 h 3788731"/>
              <a:gd name="connsiteX59" fmla="*/ 1447567 w 2772385"/>
              <a:gd name="connsiteY59" fmla="*/ 3777511 h 3788731"/>
              <a:gd name="connsiteX60" fmla="*/ 1514884 w 2772385"/>
              <a:gd name="connsiteY60" fmla="*/ 3642876 h 3788731"/>
              <a:gd name="connsiteX61" fmla="*/ 1817814 w 2772385"/>
              <a:gd name="connsiteY61" fmla="*/ 3541899 h 3788731"/>
              <a:gd name="connsiteX62" fmla="*/ 2154403 w 2772385"/>
              <a:gd name="connsiteY62" fmla="*/ 3614826 h 3788731"/>
              <a:gd name="connsiteX63" fmla="*/ 2109525 w 2772385"/>
              <a:gd name="connsiteY63" fmla="*/ 3715803 h 3788731"/>
              <a:gd name="connsiteX64" fmla="*/ 2204892 w 2772385"/>
              <a:gd name="connsiteY64" fmla="*/ 3783121 h 3788731"/>
              <a:gd name="connsiteX65" fmla="*/ 2277819 w 2772385"/>
              <a:gd name="connsiteY65" fmla="*/ 3732633 h 3788731"/>
              <a:gd name="connsiteX66" fmla="*/ 2266600 w 2772385"/>
              <a:gd name="connsiteY66" fmla="*/ 3637266 h 3788731"/>
              <a:gd name="connsiteX67" fmla="*/ 2446114 w 2772385"/>
              <a:gd name="connsiteY67" fmla="*/ 3558728 h 3788731"/>
              <a:gd name="connsiteX68" fmla="*/ 2429284 w 2772385"/>
              <a:gd name="connsiteY68" fmla="*/ 3384824 h 3788731"/>
              <a:gd name="connsiteX69" fmla="*/ 1924401 w 2772385"/>
              <a:gd name="connsiteY69" fmla="*/ 3356775 h 3788731"/>
              <a:gd name="connsiteX70" fmla="*/ 1913181 w 2772385"/>
              <a:gd name="connsiteY70" fmla="*/ 3031406 h 3788731"/>
              <a:gd name="connsiteX71" fmla="*/ 1879522 w 2772385"/>
              <a:gd name="connsiteY71" fmla="*/ 3014576 h 3788731"/>
              <a:gd name="connsiteX72" fmla="*/ 1901962 w 2772385"/>
              <a:gd name="connsiteY72" fmla="*/ 2835062 h 3788731"/>
              <a:gd name="connsiteX73" fmla="*/ 1857083 w 2772385"/>
              <a:gd name="connsiteY73" fmla="*/ 2773354 h 3788731"/>
              <a:gd name="connsiteX74" fmla="*/ 2103915 w 2772385"/>
              <a:gd name="connsiteY74" fmla="*/ 2717256 h 3788731"/>
              <a:gd name="connsiteX75" fmla="*/ 2126354 w 2772385"/>
              <a:gd name="connsiteY75" fmla="*/ 2588230 h 3788731"/>
              <a:gd name="connsiteX76" fmla="*/ 2367576 w 2772385"/>
              <a:gd name="connsiteY76" fmla="*/ 2621889 h 3788731"/>
              <a:gd name="connsiteX77" fmla="*/ 2591969 w 2772385"/>
              <a:gd name="connsiteY77" fmla="*/ 2032858 h 3788731"/>
              <a:gd name="connsiteX78" fmla="*/ 2547090 w 2772385"/>
              <a:gd name="connsiteY78" fmla="*/ 1948711 h 3788731"/>
              <a:gd name="connsiteX79" fmla="*/ 2692946 w 2772385"/>
              <a:gd name="connsiteY79" fmla="*/ 1460657 h 3788731"/>
              <a:gd name="connsiteX80" fmla="*/ 2636848 w 2772385"/>
              <a:gd name="connsiteY80" fmla="*/ 1354071 h 3788731"/>
              <a:gd name="connsiteX81" fmla="*/ 2479772 w 2772385"/>
              <a:gd name="connsiteY81" fmla="*/ 798699 h 3788731"/>
              <a:gd name="connsiteX82" fmla="*/ 2737825 w 2772385"/>
              <a:gd name="connsiteY82" fmla="*/ 675283 h 3788731"/>
              <a:gd name="connsiteX83" fmla="*/ 2709775 w 2772385"/>
              <a:gd name="connsiteY83" fmla="*/ 434061 h 3788731"/>
              <a:gd name="connsiteX84" fmla="*/ 2625628 w 2772385"/>
              <a:gd name="connsiteY84" fmla="*/ 86253 h 3788731"/>
              <a:gd name="connsiteX0" fmla="*/ 2625628 w 2772385"/>
              <a:gd name="connsiteY0" fmla="*/ 86253 h 3788731"/>
              <a:gd name="connsiteX1" fmla="*/ 2429284 w 2772385"/>
              <a:gd name="connsiteY1" fmla="*/ 2105 h 3788731"/>
              <a:gd name="connsiteX2" fmla="*/ 2188062 w 2772385"/>
              <a:gd name="connsiteY2" fmla="*/ 159180 h 3788731"/>
              <a:gd name="connsiteX3" fmla="*/ 2087086 w 2772385"/>
              <a:gd name="connsiteY3" fmla="*/ 198449 h 3788731"/>
              <a:gd name="connsiteX4" fmla="*/ 2137574 w 2772385"/>
              <a:gd name="connsiteY4" fmla="*/ 288206 h 3788731"/>
              <a:gd name="connsiteX5" fmla="*/ 2025378 w 2772385"/>
              <a:gd name="connsiteY5" fmla="*/ 450890 h 3788731"/>
              <a:gd name="connsiteX6" fmla="*/ 2131966 w 2772385"/>
              <a:gd name="connsiteY6" fmla="*/ 585526 h 3788731"/>
              <a:gd name="connsiteX7" fmla="*/ 2154403 w 2772385"/>
              <a:gd name="connsiteY7" fmla="*/ 708942 h 3788731"/>
              <a:gd name="connsiteX8" fmla="*/ 2025378 w 2772385"/>
              <a:gd name="connsiteY8" fmla="*/ 753820 h 3788731"/>
              <a:gd name="connsiteX9" fmla="*/ 1991719 w 2772385"/>
              <a:gd name="connsiteY9" fmla="*/ 821138 h 3788731"/>
              <a:gd name="connsiteX10" fmla="*/ 1991719 w 2772385"/>
              <a:gd name="connsiteY10" fmla="*/ 708942 h 3788731"/>
              <a:gd name="connsiteX11" fmla="*/ 1941230 w 2772385"/>
              <a:gd name="connsiteY11" fmla="*/ 669673 h 3788731"/>
              <a:gd name="connsiteX12" fmla="*/ 1778546 w 2772385"/>
              <a:gd name="connsiteY12" fmla="*/ 770649 h 3788731"/>
              <a:gd name="connsiteX13" fmla="*/ 1397078 w 2772385"/>
              <a:gd name="connsiteY13" fmla="*/ 579916 h 3788731"/>
              <a:gd name="connsiteX14" fmla="*/ 1660739 w 2772385"/>
              <a:gd name="connsiteY14" fmla="*/ 1129678 h 3788731"/>
              <a:gd name="connsiteX15" fmla="*/ 1795375 w 2772385"/>
              <a:gd name="connsiteY15" fmla="*/ 1225045 h 3788731"/>
              <a:gd name="connsiteX16" fmla="*/ 1643910 w 2772385"/>
              <a:gd name="connsiteY16" fmla="*/ 1449437 h 3788731"/>
              <a:gd name="connsiteX17" fmla="*/ 1722448 w 2772385"/>
              <a:gd name="connsiteY17" fmla="*/ 1668220 h 3788731"/>
              <a:gd name="connsiteX18" fmla="*/ 1812205 w 2772385"/>
              <a:gd name="connsiteY18" fmla="*/ 1662611 h 3788731"/>
              <a:gd name="connsiteX19" fmla="*/ 1621470 w 2772385"/>
              <a:gd name="connsiteY19" fmla="*/ 1858954 h 3788731"/>
              <a:gd name="connsiteX20" fmla="*/ 909024 w 2772385"/>
              <a:gd name="connsiteY20" fmla="*/ 1578463 h 3788731"/>
              <a:gd name="connsiteX21" fmla="*/ 454629 w 2772385"/>
              <a:gd name="connsiteY21" fmla="*/ 2605060 h 3788731"/>
              <a:gd name="connsiteX22" fmla="*/ 258286 w 2772385"/>
              <a:gd name="connsiteY22" fmla="*/ 2812623 h 3788731"/>
              <a:gd name="connsiteX23" fmla="*/ 39503 w 2772385"/>
              <a:gd name="connsiteY23" fmla="*/ 2857501 h 3788731"/>
              <a:gd name="connsiteX24" fmla="*/ 28282 w 2772385"/>
              <a:gd name="connsiteY24" fmla="*/ 2975307 h 3788731"/>
              <a:gd name="connsiteX25" fmla="*/ 258285 w 2772385"/>
              <a:gd name="connsiteY25" fmla="*/ 3087504 h 3788731"/>
              <a:gd name="connsiteX26" fmla="*/ 527559 w 2772385"/>
              <a:gd name="connsiteY26" fmla="*/ 2986527 h 3788731"/>
              <a:gd name="connsiteX27" fmla="*/ 488288 w 2772385"/>
              <a:gd name="connsiteY27" fmla="*/ 3154821 h 3788731"/>
              <a:gd name="connsiteX28" fmla="*/ 566825 w 2772385"/>
              <a:gd name="connsiteY28" fmla="*/ 3160431 h 3788731"/>
              <a:gd name="connsiteX29" fmla="*/ 376092 w 2772385"/>
              <a:gd name="connsiteY29" fmla="*/ 3620436 h 3788731"/>
              <a:gd name="connsiteX30" fmla="*/ 190968 w 2772385"/>
              <a:gd name="connsiteY30" fmla="*/ 3665315 h 3788731"/>
              <a:gd name="connsiteX31" fmla="*/ 258286 w 2772385"/>
              <a:gd name="connsiteY31" fmla="*/ 3766291 h 3788731"/>
              <a:gd name="connsiteX32" fmla="*/ 549996 w 2772385"/>
              <a:gd name="connsiteY32" fmla="*/ 3788731 h 3788731"/>
              <a:gd name="connsiteX33" fmla="*/ 583655 w 2772385"/>
              <a:gd name="connsiteY33" fmla="*/ 3581168 h 3788731"/>
              <a:gd name="connsiteX34" fmla="*/ 639753 w 2772385"/>
              <a:gd name="connsiteY34" fmla="*/ 3575558 h 3788731"/>
              <a:gd name="connsiteX35" fmla="*/ 684632 w 2772385"/>
              <a:gd name="connsiteY35" fmla="*/ 3698974 h 3788731"/>
              <a:gd name="connsiteX36" fmla="*/ 768779 w 2772385"/>
              <a:gd name="connsiteY36" fmla="*/ 3704584 h 3788731"/>
              <a:gd name="connsiteX37" fmla="*/ 774389 w 2772385"/>
              <a:gd name="connsiteY37" fmla="*/ 3474581 h 3788731"/>
              <a:gd name="connsiteX38" fmla="*/ 740730 w 2772385"/>
              <a:gd name="connsiteY38" fmla="*/ 3205310 h 3788731"/>
              <a:gd name="connsiteX39" fmla="*/ 897805 w 2772385"/>
              <a:gd name="connsiteY39" fmla="*/ 2627499 h 3788731"/>
              <a:gd name="connsiteX40" fmla="*/ 1161466 w 2772385"/>
              <a:gd name="connsiteY40" fmla="*/ 2520912 h 3788731"/>
              <a:gd name="connsiteX41" fmla="*/ 1526104 w 2772385"/>
              <a:gd name="connsiteY41" fmla="*/ 2627499 h 3788731"/>
              <a:gd name="connsiteX42" fmla="*/ 1587812 w 2772385"/>
              <a:gd name="connsiteY42" fmla="*/ 2627499 h 3788731"/>
              <a:gd name="connsiteX43" fmla="*/ 1643910 w 2772385"/>
              <a:gd name="connsiteY43" fmla="*/ 2728476 h 3788731"/>
              <a:gd name="connsiteX44" fmla="*/ 1795375 w 2772385"/>
              <a:gd name="connsiteY44" fmla="*/ 2762134 h 3788731"/>
              <a:gd name="connsiteX45" fmla="*/ 1806595 w 2772385"/>
              <a:gd name="connsiteY45" fmla="*/ 2795793 h 3788731"/>
              <a:gd name="connsiteX46" fmla="*/ 1767326 w 2772385"/>
              <a:gd name="connsiteY46" fmla="*/ 2997747 h 3788731"/>
              <a:gd name="connsiteX47" fmla="*/ 1744887 w 2772385"/>
              <a:gd name="connsiteY47" fmla="*/ 3323116 h 3788731"/>
              <a:gd name="connsiteX48" fmla="*/ 1537324 w 2772385"/>
              <a:gd name="connsiteY48" fmla="*/ 3345555 h 3788731"/>
              <a:gd name="connsiteX49" fmla="*/ 1200735 w 2772385"/>
              <a:gd name="connsiteY49" fmla="*/ 3396044 h 3788731"/>
              <a:gd name="connsiteX50" fmla="*/ 1172686 w 2772385"/>
              <a:gd name="connsiteY50" fmla="*/ 3468971 h 3788731"/>
              <a:gd name="connsiteX51" fmla="*/ 1110978 w 2772385"/>
              <a:gd name="connsiteY51" fmla="*/ 3497020 h 3788731"/>
              <a:gd name="connsiteX52" fmla="*/ 1139027 w 2772385"/>
              <a:gd name="connsiteY52" fmla="*/ 3631656 h 3788731"/>
              <a:gd name="connsiteX53" fmla="*/ 1279272 w 2772385"/>
              <a:gd name="connsiteY53" fmla="*/ 3637266 h 3788731"/>
              <a:gd name="connsiteX54" fmla="*/ 1273662 w 2772385"/>
              <a:gd name="connsiteY54" fmla="*/ 3485801 h 3788731"/>
              <a:gd name="connsiteX55" fmla="*/ 1453176 w 2772385"/>
              <a:gd name="connsiteY55" fmla="*/ 3497020 h 3788731"/>
              <a:gd name="connsiteX56" fmla="*/ 1425127 w 2772385"/>
              <a:gd name="connsiteY56" fmla="*/ 3575558 h 3788731"/>
              <a:gd name="connsiteX57" fmla="*/ 1397078 w 2772385"/>
              <a:gd name="connsiteY57" fmla="*/ 3637266 h 3788731"/>
              <a:gd name="connsiteX58" fmla="*/ 1312931 w 2772385"/>
              <a:gd name="connsiteY58" fmla="*/ 3654095 h 3788731"/>
              <a:gd name="connsiteX59" fmla="*/ 1447567 w 2772385"/>
              <a:gd name="connsiteY59" fmla="*/ 3777511 h 3788731"/>
              <a:gd name="connsiteX60" fmla="*/ 1514884 w 2772385"/>
              <a:gd name="connsiteY60" fmla="*/ 3642876 h 3788731"/>
              <a:gd name="connsiteX61" fmla="*/ 1817814 w 2772385"/>
              <a:gd name="connsiteY61" fmla="*/ 3541899 h 3788731"/>
              <a:gd name="connsiteX62" fmla="*/ 2154403 w 2772385"/>
              <a:gd name="connsiteY62" fmla="*/ 3614826 h 3788731"/>
              <a:gd name="connsiteX63" fmla="*/ 2109525 w 2772385"/>
              <a:gd name="connsiteY63" fmla="*/ 3715803 h 3788731"/>
              <a:gd name="connsiteX64" fmla="*/ 2204892 w 2772385"/>
              <a:gd name="connsiteY64" fmla="*/ 3783121 h 3788731"/>
              <a:gd name="connsiteX65" fmla="*/ 2277819 w 2772385"/>
              <a:gd name="connsiteY65" fmla="*/ 3732633 h 3788731"/>
              <a:gd name="connsiteX66" fmla="*/ 2266600 w 2772385"/>
              <a:gd name="connsiteY66" fmla="*/ 3637266 h 3788731"/>
              <a:gd name="connsiteX67" fmla="*/ 2446114 w 2772385"/>
              <a:gd name="connsiteY67" fmla="*/ 3558728 h 3788731"/>
              <a:gd name="connsiteX68" fmla="*/ 2429284 w 2772385"/>
              <a:gd name="connsiteY68" fmla="*/ 3384824 h 3788731"/>
              <a:gd name="connsiteX69" fmla="*/ 1924401 w 2772385"/>
              <a:gd name="connsiteY69" fmla="*/ 3356775 h 3788731"/>
              <a:gd name="connsiteX70" fmla="*/ 1913181 w 2772385"/>
              <a:gd name="connsiteY70" fmla="*/ 3031406 h 3788731"/>
              <a:gd name="connsiteX71" fmla="*/ 1879522 w 2772385"/>
              <a:gd name="connsiteY71" fmla="*/ 3014576 h 3788731"/>
              <a:gd name="connsiteX72" fmla="*/ 1901962 w 2772385"/>
              <a:gd name="connsiteY72" fmla="*/ 2835062 h 3788731"/>
              <a:gd name="connsiteX73" fmla="*/ 1857083 w 2772385"/>
              <a:gd name="connsiteY73" fmla="*/ 2773354 h 3788731"/>
              <a:gd name="connsiteX74" fmla="*/ 2103915 w 2772385"/>
              <a:gd name="connsiteY74" fmla="*/ 2717256 h 3788731"/>
              <a:gd name="connsiteX75" fmla="*/ 2126354 w 2772385"/>
              <a:gd name="connsiteY75" fmla="*/ 2588230 h 3788731"/>
              <a:gd name="connsiteX76" fmla="*/ 2367576 w 2772385"/>
              <a:gd name="connsiteY76" fmla="*/ 2621889 h 3788731"/>
              <a:gd name="connsiteX77" fmla="*/ 2591969 w 2772385"/>
              <a:gd name="connsiteY77" fmla="*/ 2032858 h 3788731"/>
              <a:gd name="connsiteX78" fmla="*/ 2547090 w 2772385"/>
              <a:gd name="connsiteY78" fmla="*/ 1948711 h 3788731"/>
              <a:gd name="connsiteX79" fmla="*/ 2692946 w 2772385"/>
              <a:gd name="connsiteY79" fmla="*/ 1460657 h 3788731"/>
              <a:gd name="connsiteX80" fmla="*/ 2636848 w 2772385"/>
              <a:gd name="connsiteY80" fmla="*/ 1354071 h 3788731"/>
              <a:gd name="connsiteX81" fmla="*/ 2479772 w 2772385"/>
              <a:gd name="connsiteY81" fmla="*/ 798699 h 3788731"/>
              <a:gd name="connsiteX82" fmla="*/ 2737825 w 2772385"/>
              <a:gd name="connsiteY82" fmla="*/ 675283 h 3788731"/>
              <a:gd name="connsiteX83" fmla="*/ 2709775 w 2772385"/>
              <a:gd name="connsiteY83" fmla="*/ 434061 h 3788731"/>
              <a:gd name="connsiteX84" fmla="*/ 2625628 w 2772385"/>
              <a:gd name="connsiteY84" fmla="*/ 86253 h 3788731"/>
              <a:gd name="connsiteX0" fmla="*/ 2625628 w 2772385"/>
              <a:gd name="connsiteY0" fmla="*/ 86253 h 3788731"/>
              <a:gd name="connsiteX1" fmla="*/ 2429284 w 2772385"/>
              <a:gd name="connsiteY1" fmla="*/ 2105 h 3788731"/>
              <a:gd name="connsiteX2" fmla="*/ 2188062 w 2772385"/>
              <a:gd name="connsiteY2" fmla="*/ 159180 h 3788731"/>
              <a:gd name="connsiteX3" fmla="*/ 2087086 w 2772385"/>
              <a:gd name="connsiteY3" fmla="*/ 198449 h 3788731"/>
              <a:gd name="connsiteX4" fmla="*/ 2137574 w 2772385"/>
              <a:gd name="connsiteY4" fmla="*/ 288206 h 3788731"/>
              <a:gd name="connsiteX5" fmla="*/ 2025378 w 2772385"/>
              <a:gd name="connsiteY5" fmla="*/ 450890 h 3788731"/>
              <a:gd name="connsiteX6" fmla="*/ 2131966 w 2772385"/>
              <a:gd name="connsiteY6" fmla="*/ 585526 h 3788731"/>
              <a:gd name="connsiteX7" fmla="*/ 2154403 w 2772385"/>
              <a:gd name="connsiteY7" fmla="*/ 708942 h 3788731"/>
              <a:gd name="connsiteX8" fmla="*/ 2025378 w 2772385"/>
              <a:gd name="connsiteY8" fmla="*/ 753820 h 3788731"/>
              <a:gd name="connsiteX9" fmla="*/ 1991719 w 2772385"/>
              <a:gd name="connsiteY9" fmla="*/ 821138 h 3788731"/>
              <a:gd name="connsiteX10" fmla="*/ 1991719 w 2772385"/>
              <a:gd name="connsiteY10" fmla="*/ 708942 h 3788731"/>
              <a:gd name="connsiteX11" fmla="*/ 1941230 w 2772385"/>
              <a:gd name="connsiteY11" fmla="*/ 669673 h 3788731"/>
              <a:gd name="connsiteX12" fmla="*/ 1778546 w 2772385"/>
              <a:gd name="connsiteY12" fmla="*/ 770649 h 3788731"/>
              <a:gd name="connsiteX13" fmla="*/ 1397078 w 2772385"/>
              <a:gd name="connsiteY13" fmla="*/ 579916 h 3788731"/>
              <a:gd name="connsiteX14" fmla="*/ 1660739 w 2772385"/>
              <a:gd name="connsiteY14" fmla="*/ 1129678 h 3788731"/>
              <a:gd name="connsiteX15" fmla="*/ 1795375 w 2772385"/>
              <a:gd name="connsiteY15" fmla="*/ 1225045 h 3788731"/>
              <a:gd name="connsiteX16" fmla="*/ 1643910 w 2772385"/>
              <a:gd name="connsiteY16" fmla="*/ 1449437 h 3788731"/>
              <a:gd name="connsiteX17" fmla="*/ 1722448 w 2772385"/>
              <a:gd name="connsiteY17" fmla="*/ 1668220 h 3788731"/>
              <a:gd name="connsiteX18" fmla="*/ 1812205 w 2772385"/>
              <a:gd name="connsiteY18" fmla="*/ 1662611 h 3788731"/>
              <a:gd name="connsiteX19" fmla="*/ 1621470 w 2772385"/>
              <a:gd name="connsiteY19" fmla="*/ 1858954 h 3788731"/>
              <a:gd name="connsiteX20" fmla="*/ 909024 w 2772385"/>
              <a:gd name="connsiteY20" fmla="*/ 1578463 h 3788731"/>
              <a:gd name="connsiteX21" fmla="*/ 454629 w 2772385"/>
              <a:gd name="connsiteY21" fmla="*/ 2605060 h 3788731"/>
              <a:gd name="connsiteX22" fmla="*/ 258286 w 2772385"/>
              <a:gd name="connsiteY22" fmla="*/ 2812623 h 3788731"/>
              <a:gd name="connsiteX23" fmla="*/ 39503 w 2772385"/>
              <a:gd name="connsiteY23" fmla="*/ 2857501 h 3788731"/>
              <a:gd name="connsiteX24" fmla="*/ 28282 w 2772385"/>
              <a:gd name="connsiteY24" fmla="*/ 2975307 h 3788731"/>
              <a:gd name="connsiteX25" fmla="*/ 258285 w 2772385"/>
              <a:gd name="connsiteY25" fmla="*/ 3087504 h 3788731"/>
              <a:gd name="connsiteX26" fmla="*/ 527559 w 2772385"/>
              <a:gd name="connsiteY26" fmla="*/ 2986527 h 3788731"/>
              <a:gd name="connsiteX27" fmla="*/ 488288 w 2772385"/>
              <a:gd name="connsiteY27" fmla="*/ 3154821 h 3788731"/>
              <a:gd name="connsiteX28" fmla="*/ 561215 w 2772385"/>
              <a:gd name="connsiteY28" fmla="*/ 3194090 h 3788731"/>
              <a:gd name="connsiteX29" fmla="*/ 376092 w 2772385"/>
              <a:gd name="connsiteY29" fmla="*/ 3620436 h 3788731"/>
              <a:gd name="connsiteX30" fmla="*/ 190968 w 2772385"/>
              <a:gd name="connsiteY30" fmla="*/ 3665315 h 3788731"/>
              <a:gd name="connsiteX31" fmla="*/ 258286 w 2772385"/>
              <a:gd name="connsiteY31" fmla="*/ 3766291 h 3788731"/>
              <a:gd name="connsiteX32" fmla="*/ 549996 w 2772385"/>
              <a:gd name="connsiteY32" fmla="*/ 3788731 h 3788731"/>
              <a:gd name="connsiteX33" fmla="*/ 583655 w 2772385"/>
              <a:gd name="connsiteY33" fmla="*/ 3581168 h 3788731"/>
              <a:gd name="connsiteX34" fmla="*/ 639753 w 2772385"/>
              <a:gd name="connsiteY34" fmla="*/ 3575558 h 3788731"/>
              <a:gd name="connsiteX35" fmla="*/ 684632 w 2772385"/>
              <a:gd name="connsiteY35" fmla="*/ 3698974 h 3788731"/>
              <a:gd name="connsiteX36" fmla="*/ 768779 w 2772385"/>
              <a:gd name="connsiteY36" fmla="*/ 3704584 h 3788731"/>
              <a:gd name="connsiteX37" fmla="*/ 774389 w 2772385"/>
              <a:gd name="connsiteY37" fmla="*/ 3474581 h 3788731"/>
              <a:gd name="connsiteX38" fmla="*/ 740730 w 2772385"/>
              <a:gd name="connsiteY38" fmla="*/ 3205310 h 3788731"/>
              <a:gd name="connsiteX39" fmla="*/ 897805 w 2772385"/>
              <a:gd name="connsiteY39" fmla="*/ 2627499 h 3788731"/>
              <a:gd name="connsiteX40" fmla="*/ 1161466 w 2772385"/>
              <a:gd name="connsiteY40" fmla="*/ 2520912 h 3788731"/>
              <a:gd name="connsiteX41" fmla="*/ 1526104 w 2772385"/>
              <a:gd name="connsiteY41" fmla="*/ 2627499 h 3788731"/>
              <a:gd name="connsiteX42" fmla="*/ 1587812 w 2772385"/>
              <a:gd name="connsiteY42" fmla="*/ 2627499 h 3788731"/>
              <a:gd name="connsiteX43" fmla="*/ 1643910 w 2772385"/>
              <a:gd name="connsiteY43" fmla="*/ 2728476 h 3788731"/>
              <a:gd name="connsiteX44" fmla="*/ 1795375 w 2772385"/>
              <a:gd name="connsiteY44" fmla="*/ 2762134 h 3788731"/>
              <a:gd name="connsiteX45" fmla="*/ 1806595 w 2772385"/>
              <a:gd name="connsiteY45" fmla="*/ 2795793 h 3788731"/>
              <a:gd name="connsiteX46" fmla="*/ 1767326 w 2772385"/>
              <a:gd name="connsiteY46" fmla="*/ 2997747 h 3788731"/>
              <a:gd name="connsiteX47" fmla="*/ 1744887 w 2772385"/>
              <a:gd name="connsiteY47" fmla="*/ 3323116 h 3788731"/>
              <a:gd name="connsiteX48" fmla="*/ 1537324 w 2772385"/>
              <a:gd name="connsiteY48" fmla="*/ 3345555 h 3788731"/>
              <a:gd name="connsiteX49" fmla="*/ 1200735 w 2772385"/>
              <a:gd name="connsiteY49" fmla="*/ 3396044 h 3788731"/>
              <a:gd name="connsiteX50" fmla="*/ 1172686 w 2772385"/>
              <a:gd name="connsiteY50" fmla="*/ 3468971 h 3788731"/>
              <a:gd name="connsiteX51" fmla="*/ 1110978 w 2772385"/>
              <a:gd name="connsiteY51" fmla="*/ 3497020 h 3788731"/>
              <a:gd name="connsiteX52" fmla="*/ 1139027 w 2772385"/>
              <a:gd name="connsiteY52" fmla="*/ 3631656 h 3788731"/>
              <a:gd name="connsiteX53" fmla="*/ 1279272 w 2772385"/>
              <a:gd name="connsiteY53" fmla="*/ 3637266 h 3788731"/>
              <a:gd name="connsiteX54" fmla="*/ 1273662 w 2772385"/>
              <a:gd name="connsiteY54" fmla="*/ 3485801 h 3788731"/>
              <a:gd name="connsiteX55" fmla="*/ 1453176 w 2772385"/>
              <a:gd name="connsiteY55" fmla="*/ 3497020 h 3788731"/>
              <a:gd name="connsiteX56" fmla="*/ 1425127 w 2772385"/>
              <a:gd name="connsiteY56" fmla="*/ 3575558 h 3788731"/>
              <a:gd name="connsiteX57" fmla="*/ 1397078 w 2772385"/>
              <a:gd name="connsiteY57" fmla="*/ 3637266 h 3788731"/>
              <a:gd name="connsiteX58" fmla="*/ 1312931 w 2772385"/>
              <a:gd name="connsiteY58" fmla="*/ 3654095 h 3788731"/>
              <a:gd name="connsiteX59" fmla="*/ 1447567 w 2772385"/>
              <a:gd name="connsiteY59" fmla="*/ 3777511 h 3788731"/>
              <a:gd name="connsiteX60" fmla="*/ 1514884 w 2772385"/>
              <a:gd name="connsiteY60" fmla="*/ 3642876 h 3788731"/>
              <a:gd name="connsiteX61" fmla="*/ 1817814 w 2772385"/>
              <a:gd name="connsiteY61" fmla="*/ 3541899 h 3788731"/>
              <a:gd name="connsiteX62" fmla="*/ 2154403 w 2772385"/>
              <a:gd name="connsiteY62" fmla="*/ 3614826 h 3788731"/>
              <a:gd name="connsiteX63" fmla="*/ 2109525 w 2772385"/>
              <a:gd name="connsiteY63" fmla="*/ 3715803 h 3788731"/>
              <a:gd name="connsiteX64" fmla="*/ 2204892 w 2772385"/>
              <a:gd name="connsiteY64" fmla="*/ 3783121 h 3788731"/>
              <a:gd name="connsiteX65" fmla="*/ 2277819 w 2772385"/>
              <a:gd name="connsiteY65" fmla="*/ 3732633 h 3788731"/>
              <a:gd name="connsiteX66" fmla="*/ 2266600 w 2772385"/>
              <a:gd name="connsiteY66" fmla="*/ 3637266 h 3788731"/>
              <a:gd name="connsiteX67" fmla="*/ 2446114 w 2772385"/>
              <a:gd name="connsiteY67" fmla="*/ 3558728 h 3788731"/>
              <a:gd name="connsiteX68" fmla="*/ 2429284 w 2772385"/>
              <a:gd name="connsiteY68" fmla="*/ 3384824 h 3788731"/>
              <a:gd name="connsiteX69" fmla="*/ 1924401 w 2772385"/>
              <a:gd name="connsiteY69" fmla="*/ 3356775 h 3788731"/>
              <a:gd name="connsiteX70" fmla="*/ 1913181 w 2772385"/>
              <a:gd name="connsiteY70" fmla="*/ 3031406 h 3788731"/>
              <a:gd name="connsiteX71" fmla="*/ 1879522 w 2772385"/>
              <a:gd name="connsiteY71" fmla="*/ 3014576 h 3788731"/>
              <a:gd name="connsiteX72" fmla="*/ 1901962 w 2772385"/>
              <a:gd name="connsiteY72" fmla="*/ 2835062 h 3788731"/>
              <a:gd name="connsiteX73" fmla="*/ 1857083 w 2772385"/>
              <a:gd name="connsiteY73" fmla="*/ 2773354 h 3788731"/>
              <a:gd name="connsiteX74" fmla="*/ 2103915 w 2772385"/>
              <a:gd name="connsiteY74" fmla="*/ 2717256 h 3788731"/>
              <a:gd name="connsiteX75" fmla="*/ 2126354 w 2772385"/>
              <a:gd name="connsiteY75" fmla="*/ 2588230 h 3788731"/>
              <a:gd name="connsiteX76" fmla="*/ 2367576 w 2772385"/>
              <a:gd name="connsiteY76" fmla="*/ 2621889 h 3788731"/>
              <a:gd name="connsiteX77" fmla="*/ 2591969 w 2772385"/>
              <a:gd name="connsiteY77" fmla="*/ 2032858 h 3788731"/>
              <a:gd name="connsiteX78" fmla="*/ 2547090 w 2772385"/>
              <a:gd name="connsiteY78" fmla="*/ 1948711 h 3788731"/>
              <a:gd name="connsiteX79" fmla="*/ 2692946 w 2772385"/>
              <a:gd name="connsiteY79" fmla="*/ 1460657 h 3788731"/>
              <a:gd name="connsiteX80" fmla="*/ 2636848 w 2772385"/>
              <a:gd name="connsiteY80" fmla="*/ 1354071 h 3788731"/>
              <a:gd name="connsiteX81" fmla="*/ 2479772 w 2772385"/>
              <a:gd name="connsiteY81" fmla="*/ 798699 h 3788731"/>
              <a:gd name="connsiteX82" fmla="*/ 2737825 w 2772385"/>
              <a:gd name="connsiteY82" fmla="*/ 675283 h 3788731"/>
              <a:gd name="connsiteX83" fmla="*/ 2709775 w 2772385"/>
              <a:gd name="connsiteY83" fmla="*/ 434061 h 3788731"/>
              <a:gd name="connsiteX84" fmla="*/ 2625628 w 2772385"/>
              <a:gd name="connsiteY84" fmla="*/ 86253 h 3788731"/>
              <a:gd name="connsiteX0" fmla="*/ 2625628 w 2772385"/>
              <a:gd name="connsiteY0" fmla="*/ 86253 h 3788731"/>
              <a:gd name="connsiteX1" fmla="*/ 2429284 w 2772385"/>
              <a:gd name="connsiteY1" fmla="*/ 2105 h 3788731"/>
              <a:gd name="connsiteX2" fmla="*/ 2188062 w 2772385"/>
              <a:gd name="connsiteY2" fmla="*/ 159180 h 3788731"/>
              <a:gd name="connsiteX3" fmla="*/ 2087086 w 2772385"/>
              <a:gd name="connsiteY3" fmla="*/ 198449 h 3788731"/>
              <a:gd name="connsiteX4" fmla="*/ 2137574 w 2772385"/>
              <a:gd name="connsiteY4" fmla="*/ 288206 h 3788731"/>
              <a:gd name="connsiteX5" fmla="*/ 2025378 w 2772385"/>
              <a:gd name="connsiteY5" fmla="*/ 450890 h 3788731"/>
              <a:gd name="connsiteX6" fmla="*/ 2131966 w 2772385"/>
              <a:gd name="connsiteY6" fmla="*/ 585526 h 3788731"/>
              <a:gd name="connsiteX7" fmla="*/ 2154403 w 2772385"/>
              <a:gd name="connsiteY7" fmla="*/ 708942 h 3788731"/>
              <a:gd name="connsiteX8" fmla="*/ 2025378 w 2772385"/>
              <a:gd name="connsiteY8" fmla="*/ 753820 h 3788731"/>
              <a:gd name="connsiteX9" fmla="*/ 1991719 w 2772385"/>
              <a:gd name="connsiteY9" fmla="*/ 821138 h 3788731"/>
              <a:gd name="connsiteX10" fmla="*/ 1991719 w 2772385"/>
              <a:gd name="connsiteY10" fmla="*/ 708942 h 3788731"/>
              <a:gd name="connsiteX11" fmla="*/ 1941230 w 2772385"/>
              <a:gd name="connsiteY11" fmla="*/ 669673 h 3788731"/>
              <a:gd name="connsiteX12" fmla="*/ 1778546 w 2772385"/>
              <a:gd name="connsiteY12" fmla="*/ 770649 h 3788731"/>
              <a:gd name="connsiteX13" fmla="*/ 1397078 w 2772385"/>
              <a:gd name="connsiteY13" fmla="*/ 579916 h 3788731"/>
              <a:gd name="connsiteX14" fmla="*/ 1660739 w 2772385"/>
              <a:gd name="connsiteY14" fmla="*/ 1129678 h 3788731"/>
              <a:gd name="connsiteX15" fmla="*/ 1795375 w 2772385"/>
              <a:gd name="connsiteY15" fmla="*/ 1225045 h 3788731"/>
              <a:gd name="connsiteX16" fmla="*/ 1643910 w 2772385"/>
              <a:gd name="connsiteY16" fmla="*/ 1449437 h 3788731"/>
              <a:gd name="connsiteX17" fmla="*/ 1722448 w 2772385"/>
              <a:gd name="connsiteY17" fmla="*/ 1668220 h 3788731"/>
              <a:gd name="connsiteX18" fmla="*/ 1812205 w 2772385"/>
              <a:gd name="connsiteY18" fmla="*/ 1662611 h 3788731"/>
              <a:gd name="connsiteX19" fmla="*/ 1621470 w 2772385"/>
              <a:gd name="connsiteY19" fmla="*/ 1858954 h 3788731"/>
              <a:gd name="connsiteX20" fmla="*/ 909024 w 2772385"/>
              <a:gd name="connsiteY20" fmla="*/ 1578463 h 3788731"/>
              <a:gd name="connsiteX21" fmla="*/ 454629 w 2772385"/>
              <a:gd name="connsiteY21" fmla="*/ 2605060 h 3788731"/>
              <a:gd name="connsiteX22" fmla="*/ 258286 w 2772385"/>
              <a:gd name="connsiteY22" fmla="*/ 2812623 h 3788731"/>
              <a:gd name="connsiteX23" fmla="*/ 39503 w 2772385"/>
              <a:gd name="connsiteY23" fmla="*/ 2857501 h 3788731"/>
              <a:gd name="connsiteX24" fmla="*/ 28282 w 2772385"/>
              <a:gd name="connsiteY24" fmla="*/ 2975307 h 3788731"/>
              <a:gd name="connsiteX25" fmla="*/ 258285 w 2772385"/>
              <a:gd name="connsiteY25" fmla="*/ 3087504 h 3788731"/>
              <a:gd name="connsiteX26" fmla="*/ 527559 w 2772385"/>
              <a:gd name="connsiteY26" fmla="*/ 2986527 h 3788731"/>
              <a:gd name="connsiteX27" fmla="*/ 488288 w 2772385"/>
              <a:gd name="connsiteY27" fmla="*/ 3154821 h 3788731"/>
              <a:gd name="connsiteX28" fmla="*/ 561215 w 2772385"/>
              <a:gd name="connsiteY28" fmla="*/ 3194090 h 3788731"/>
              <a:gd name="connsiteX29" fmla="*/ 381702 w 2772385"/>
              <a:gd name="connsiteY29" fmla="*/ 3592387 h 3788731"/>
              <a:gd name="connsiteX30" fmla="*/ 190968 w 2772385"/>
              <a:gd name="connsiteY30" fmla="*/ 3665315 h 3788731"/>
              <a:gd name="connsiteX31" fmla="*/ 258286 w 2772385"/>
              <a:gd name="connsiteY31" fmla="*/ 3766291 h 3788731"/>
              <a:gd name="connsiteX32" fmla="*/ 549996 w 2772385"/>
              <a:gd name="connsiteY32" fmla="*/ 3788731 h 3788731"/>
              <a:gd name="connsiteX33" fmla="*/ 583655 w 2772385"/>
              <a:gd name="connsiteY33" fmla="*/ 3581168 h 3788731"/>
              <a:gd name="connsiteX34" fmla="*/ 639753 w 2772385"/>
              <a:gd name="connsiteY34" fmla="*/ 3575558 h 3788731"/>
              <a:gd name="connsiteX35" fmla="*/ 684632 w 2772385"/>
              <a:gd name="connsiteY35" fmla="*/ 3698974 h 3788731"/>
              <a:gd name="connsiteX36" fmla="*/ 768779 w 2772385"/>
              <a:gd name="connsiteY36" fmla="*/ 3704584 h 3788731"/>
              <a:gd name="connsiteX37" fmla="*/ 774389 w 2772385"/>
              <a:gd name="connsiteY37" fmla="*/ 3474581 h 3788731"/>
              <a:gd name="connsiteX38" fmla="*/ 740730 w 2772385"/>
              <a:gd name="connsiteY38" fmla="*/ 3205310 h 3788731"/>
              <a:gd name="connsiteX39" fmla="*/ 897805 w 2772385"/>
              <a:gd name="connsiteY39" fmla="*/ 2627499 h 3788731"/>
              <a:gd name="connsiteX40" fmla="*/ 1161466 w 2772385"/>
              <a:gd name="connsiteY40" fmla="*/ 2520912 h 3788731"/>
              <a:gd name="connsiteX41" fmla="*/ 1526104 w 2772385"/>
              <a:gd name="connsiteY41" fmla="*/ 2627499 h 3788731"/>
              <a:gd name="connsiteX42" fmla="*/ 1587812 w 2772385"/>
              <a:gd name="connsiteY42" fmla="*/ 2627499 h 3788731"/>
              <a:gd name="connsiteX43" fmla="*/ 1643910 w 2772385"/>
              <a:gd name="connsiteY43" fmla="*/ 2728476 h 3788731"/>
              <a:gd name="connsiteX44" fmla="*/ 1795375 w 2772385"/>
              <a:gd name="connsiteY44" fmla="*/ 2762134 h 3788731"/>
              <a:gd name="connsiteX45" fmla="*/ 1806595 w 2772385"/>
              <a:gd name="connsiteY45" fmla="*/ 2795793 h 3788731"/>
              <a:gd name="connsiteX46" fmla="*/ 1767326 w 2772385"/>
              <a:gd name="connsiteY46" fmla="*/ 2997747 h 3788731"/>
              <a:gd name="connsiteX47" fmla="*/ 1744887 w 2772385"/>
              <a:gd name="connsiteY47" fmla="*/ 3323116 h 3788731"/>
              <a:gd name="connsiteX48" fmla="*/ 1537324 w 2772385"/>
              <a:gd name="connsiteY48" fmla="*/ 3345555 h 3788731"/>
              <a:gd name="connsiteX49" fmla="*/ 1200735 w 2772385"/>
              <a:gd name="connsiteY49" fmla="*/ 3396044 h 3788731"/>
              <a:gd name="connsiteX50" fmla="*/ 1172686 w 2772385"/>
              <a:gd name="connsiteY50" fmla="*/ 3468971 h 3788731"/>
              <a:gd name="connsiteX51" fmla="*/ 1110978 w 2772385"/>
              <a:gd name="connsiteY51" fmla="*/ 3497020 h 3788731"/>
              <a:gd name="connsiteX52" fmla="*/ 1139027 w 2772385"/>
              <a:gd name="connsiteY52" fmla="*/ 3631656 h 3788731"/>
              <a:gd name="connsiteX53" fmla="*/ 1279272 w 2772385"/>
              <a:gd name="connsiteY53" fmla="*/ 3637266 h 3788731"/>
              <a:gd name="connsiteX54" fmla="*/ 1273662 w 2772385"/>
              <a:gd name="connsiteY54" fmla="*/ 3485801 h 3788731"/>
              <a:gd name="connsiteX55" fmla="*/ 1453176 w 2772385"/>
              <a:gd name="connsiteY55" fmla="*/ 3497020 h 3788731"/>
              <a:gd name="connsiteX56" fmla="*/ 1425127 w 2772385"/>
              <a:gd name="connsiteY56" fmla="*/ 3575558 h 3788731"/>
              <a:gd name="connsiteX57" fmla="*/ 1397078 w 2772385"/>
              <a:gd name="connsiteY57" fmla="*/ 3637266 h 3788731"/>
              <a:gd name="connsiteX58" fmla="*/ 1312931 w 2772385"/>
              <a:gd name="connsiteY58" fmla="*/ 3654095 h 3788731"/>
              <a:gd name="connsiteX59" fmla="*/ 1447567 w 2772385"/>
              <a:gd name="connsiteY59" fmla="*/ 3777511 h 3788731"/>
              <a:gd name="connsiteX60" fmla="*/ 1514884 w 2772385"/>
              <a:gd name="connsiteY60" fmla="*/ 3642876 h 3788731"/>
              <a:gd name="connsiteX61" fmla="*/ 1817814 w 2772385"/>
              <a:gd name="connsiteY61" fmla="*/ 3541899 h 3788731"/>
              <a:gd name="connsiteX62" fmla="*/ 2154403 w 2772385"/>
              <a:gd name="connsiteY62" fmla="*/ 3614826 h 3788731"/>
              <a:gd name="connsiteX63" fmla="*/ 2109525 w 2772385"/>
              <a:gd name="connsiteY63" fmla="*/ 3715803 h 3788731"/>
              <a:gd name="connsiteX64" fmla="*/ 2204892 w 2772385"/>
              <a:gd name="connsiteY64" fmla="*/ 3783121 h 3788731"/>
              <a:gd name="connsiteX65" fmla="*/ 2277819 w 2772385"/>
              <a:gd name="connsiteY65" fmla="*/ 3732633 h 3788731"/>
              <a:gd name="connsiteX66" fmla="*/ 2266600 w 2772385"/>
              <a:gd name="connsiteY66" fmla="*/ 3637266 h 3788731"/>
              <a:gd name="connsiteX67" fmla="*/ 2446114 w 2772385"/>
              <a:gd name="connsiteY67" fmla="*/ 3558728 h 3788731"/>
              <a:gd name="connsiteX68" fmla="*/ 2429284 w 2772385"/>
              <a:gd name="connsiteY68" fmla="*/ 3384824 h 3788731"/>
              <a:gd name="connsiteX69" fmla="*/ 1924401 w 2772385"/>
              <a:gd name="connsiteY69" fmla="*/ 3356775 h 3788731"/>
              <a:gd name="connsiteX70" fmla="*/ 1913181 w 2772385"/>
              <a:gd name="connsiteY70" fmla="*/ 3031406 h 3788731"/>
              <a:gd name="connsiteX71" fmla="*/ 1879522 w 2772385"/>
              <a:gd name="connsiteY71" fmla="*/ 3014576 h 3788731"/>
              <a:gd name="connsiteX72" fmla="*/ 1901962 w 2772385"/>
              <a:gd name="connsiteY72" fmla="*/ 2835062 h 3788731"/>
              <a:gd name="connsiteX73" fmla="*/ 1857083 w 2772385"/>
              <a:gd name="connsiteY73" fmla="*/ 2773354 h 3788731"/>
              <a:gd name="connsiteX74" fmla="*/ 2103915 w 2772385"/>
              <a:gd name="connsiteY74" fmla="*/ 2717256 h 3788731"/>
              <a:gd name="connsiteX75" fmla="*/ 2126354 w 2772385"/>
              <a:gd name="connsiteY75" fmla="*/ 2588230 h 3788731"/>
              <a:gd name="connsiteX76" fmla="*/ 2367576 w 2772385"/>
              <a:gd name="connsiteY76" fmla="*/ 2621889 h 3788731"/>
              <a:gd name="connsiteX77" fmla="*/ 2591969 w 2772385"/>
              <a:gd name="connsiteY77" fmla="*/ 2032858 h 3788731"/>
              <a:gd name="connsiteX78" fmla="*/ 2547090 w 2772385"/>
              <a:gd name="connsiteY78" fmla="*/ 1948711 h 3788731"/>
              <a:gd name="connsiteX79" fmla="*/ 2692946 w 2772385"/>
              <a:gd name="connsiteY79" fmla="*/ 1460657 h 3788731"/>
              <a:gd name="connsiteX80" fmla="*/ 2636848 w 2772385"/>
              <a:gd name="connsiteY80" fmla="*/ 1354071 h 3788731"/>
              <a:gd name="connsiteX81" fmla="*/ 2479772 w 2772385"/>
              <a:gd name="connsiteY81" fmla="*/ 798699 h 3788731"/>
              <a:gd name="connsiteX82" fmla="*/ 2737825 w 2772385"/>
              <a:gd name="connsiteY82" fmla="*/ 675283 h 3788731"/>
              <a:gd name="connsiteX83" fmla="*/ 2709775 w 2772385"/>
              <a:gd name="connsiteY83" fmla="*/ 434061 h 3788731"/>
              <a:gd name="connsiteX84" fmla="*/ 2625628 w 2772385"/>
              <a:gd name="connsiteY84" fmla="*/ 86253 h 3788731"/>
              <a:gd name="connsiteX0" fmla="*/ 2625628 w 2772385"/>
              <a:gd name="connsiteY0" fmla="*/ 86253 h 3811169"/>
              <a:gd name="connsiteX1" fmla="*/ 2429284 w 2772385"/>
              <a:gd name="connsiteY1" fmla="*/ 2105 h 3811169"/>
              <a:gd name="connsiteX2" fmla="*/ 2188062 w 2772385"/>
              <a:gd name="connsiteY2" fmla="*/ 159180 h 3811169"/>
              <a:gd name="connsiteX3" fmla="*/ 2087086 w 2772385"/>
              <a:gd name="connsiteY3" fmla="*/ 198449 h 3811169"/>
              <a:gd name="connsiteX4" fmla="*/ 2137574 w 2772385"/>
              <a:gd name="connsiteY4" fmla="*/ 288206 h 3811169"/>
              <a:gd name="connsiteX5" fmla="*/ 2025378 w 2772385"/>
              <a:gd name="connsiteY5" fmla="*/ 450890 h 3811169"/>
              <a:gd name="connsiteX6" fmla="*/ 2131966 w 2772385"/>
              <a:gd name="connsiteY6" fmla="*/ 585526 h 3811169"/>
              <a:gd name="connsiteX7" fmla="*/ 2154403 w 2772385"/>
              <a:gd name="connsiteY7" fmla="*/ 708942 h 3811169"/>
              <a:gd name="connsiteX8" fmla="*/ 2025378 w 2772385"/>
              <a:gd name="connsiteY8" fmla="*/ 753820 h 3811169"/>
              <a:gd name="connsiteX9" fmla="*/ 1991719 w 2772385"/>
              <a:gd name="connsiteY9" fmla="*/ 821138 h 3811169"/>
              <a:gd name="connsiteX10" fmla="*/ 1991719 w 2772385"/>
              <a:gd name="connsiteY10" fmla="*/ 708942 h 3811169"/>
              <a:gd name="connsiteX11" fmla="*/ 1941230 w 2772385"/>
              <a:gd name="connsiteY11" fmla="*/ 669673 h 3811169"/>
              <a:gd name="connsiteX12" fmla="*/ 1778546 w 2772385"/>
              <a:gd name="connsiteY12" fmla="*/ 770649 h 3811169"/>
              <a:gd name="connsiteX13" fmla="*/ 1397078 w 2772385"/>
              <a:gd name="connsiteY13" fmla="*/ 579916 h 3811169"/>
              <a:gd name="connsiteX14" fmla="*/ 1660739 w 2772385"/>
              <a:gd name="connsiteY14" fmla="*/ 1129678 h 3811169"/>
              <a:gd name="connsiteX15" fmla="*/ 1795375 w 2772385"/>
              <a:gd name="connsiteY15" fmla="*/ 1225045 h 3811169"/>
              <a:gd name="connsiteX16" fmla="*/ 1643910 w 2772385"/>
              <a:gd name="connsiteY16" fmla="*/ 1449437 h 3811169"/>
              <a:gd name="connsiteX17" fmla="*/ 1722448 w 2772385"/>
              <a:gd name="connsiteY17" fmla="*/ 1668220 h 3811169"/>
              <a:gd name="connsiteX18" fmla="*/ 1812205 w 2772385"/>
              <a:gd name="connsiteY18" fmla="*/ 1662611 h 3811169"/>
              <a:gd name="connsiteX19" fmla="*/ 1621470 w 2772385"/>
              <a:gd name="connsiteY19" fmla="*/ 1858954 h 3811169"/>
              <a:gd name="connsiteX20" fmla="*/ 909024 w 2772385"/>
              <a:gd name="connsiteY20" fmla="*/ 1578463 h 3811169"/>
              <a:gd name="connsiteX21" fmla="*/ 454629 w 2772385"/>
              <a:gd name="connsiteY21" fmla="*/ 2605060 h 3811169"/>
              <a:gd name="connsiteX22" fmla="*/ 258286 w 2772385"/>
              <a:gd name="connsiteY22" fmla="*/ 2812623 h 3811169"/>
              <a:gd name="connsiteX23" fmla="*/ 39503 w 2772385"/>
              <a:gd name="connsiteY23" fmla="*/ 2857501 h 3811169"/>
              <a:gd name="connsiteX24" fmla="*/ 28282 w 2772385"/>
              <a:gd name="connsiteY24" fmla="*/ 2975307 h 3811169"/>
              <a:gd name="connsiteX25" fmla="*/ 258285 w 2772385"/>
              <a:gd name="connsiteY25" fmla="*/ 3087504 h 3811169"/>
              <a:gd name="connsiteX26" fmla="*/ 527559 w 2772385"/>
              <a:gd name="connsiteY26" fmla="*/ 2986527 h 3811169"/>
              <a:gd name="connsiteX27" fmla="*/ 488288 w 2772385"/>
              <a:gd name="connsiteY27" fmla="*/ 3154821 h 3811169"/>
              <a:gd name="connsiteX28" fmla="*/ 561215 w 2772385"/>
              <a:gd name="connsiteY28" fmla="*/ 3194090 h 3811169"/>
              <a:gd name="connsiteX29" fmla="*/ 381702 w 2772385"/>
              <a:gd name="connsiteY29" fmla="*/ 3592387 h 3811169"/>
              <a:gd name="connsiteX30" fmla="*/ 190968 w 2772385"/>
              <a:gd name="connsiteY30" fmla="*/ 3665315 h 3811169"/>
              <a:gd name="connsiteX31" fmla="*/ 280726 w 2772385"/>
              <a:gd name="connsiteY31" fmla="*/ 3811169 h 3811169"/>
              <a:gd name="connsiteX32" fmla="*/ 549996 w 2772385"/>
              <a:gd name="connsiteY32" fmla="*/ 3788731 h 3811169"/>
              <a:gd name="connsiteX33" fmla="*/ 583655 w 2772385"/>
              <a:gd name="connsiteY33" fmla="*/ 3581168 h 3811169"/>
              <a:gd name="connsiteX34" fmla="*/ 639753 w 2772385"/>
              <a:gd name="connsiteY34" fmla="*/ 3575558 h 3811169"/>
              <a:gd name="connsiteX35" fmla="*/ 684632 w 2772385"/>
              <a:gd name="connsiteY35" fmla="*/ 3698974 h 3811169"/>
              <a:gd name="connsiteX36" fmla="*/ 768779 w 2772385"/>
              <a:gd name="connsiteY36" fmla="*/ 3704584 h 3811169"/>
              <a:gd name="connsiteX37" fmla="*/ 774389 w 2772385"/>
              <a:gd name="connsiteY37" fmla="*/ 3474581 h 3811169"/>
              <a:gd name="connsiteX38" fmla="*/ 740730 w 2772385"/>
              <a:gd name="connsiteY38" fmla="*/ 3205310 h 3811169"/>
              <a:gd name="connsiteX39" fmla="*/ 897805 w 2772385"/>
              <a:gd name="connsiteY39" fmla="*/ 2627499 h 3811169"/>
              <a:gd name="connsiteX40" fmla="*/ 1161466 w 2772385"/>
              <a:gd name="connsiteY40" fmla="*/ 2520912 h 3811169"/>
              <a:gd name="connsiteX41" fmla="*/ 1526104 w 2772385"/>
              <a:gd name="connsiteY41" fmla="*/ 2627499 h 3811169"/>
              <a:gd name="connsiteX42" fmla="*/ 1587812 w 2772385"/>
              <a:gd name="connsiteY42" fmla="*/ 2627499 h 3811169"/>
              <a:gd name="connsiteX43" fmla="*/ 1643910 w 2772385"/>
              <a:gd name="connsiteY43" fmla="*/ 2728476 h 3811169"/>
              <a:gd name="connsiteX44" fmla="*/ 1795375 w 2772385"/>
              <a:gd name="connsiteY44" fmla="*/ 2762134 h 3811169"/>
              <a:gd name="connsiteX45" fmla="*/ 1806595 w 2772385"/>
              <a:gd name="connsiteY45" fmla="*/ 2795793 h 3811169"/>
              <a:gd name="connsiteX46" fmla="*/ 1767326 w 2772385"/>
              <a:gd name="connsiteY46" fmla="*/ 2997747 h 3811169"/>
              <a:gd name="connsiteX47" fmla="*/ 1744887 w 2772385"/>
              <a:gd name="connsiteY47" fmla="*/ 3323116 h 3811169"/>
              <a:gd name="connsiteX48" fmla="*/ 1537324 w 2772385"/>
              <a:gd name="connsiteY48" fmla="*/ 3345555 h 3811169"/>
              <a:gd name="connsiteX49" fmla="*/ 1200735 w 2772385"/>
              <a:gd name="connsiteY49" fmla="*/ 3396044 h 3811169"/>
              <a:gd name="connsiteX50" fmla="*/ 1172686 w 2772385"/>
              <a:gd name="connsiteY50" fmla="*/ 3468971 h 3811169"/>
              <a:gd name="connsiteX51" fmla="*/ 1110978 w 2772385"/>
              <a:gd name="connsiteY51" fmla="*/ 3497020 h 3811169"/>
              <a:gd name="connsiteX52" fmla="*/ 1139027 w 2772385"/>
              <a:gd name="connsiteY52" fmla="*/ 3631656 h 3811169"/>
              <a:gd name="connsiteX53" fmla="*/ 1279272 w 2772385"/>
              <a:gd name="connsiteY53" fmla="*/ 3637266 h 3811169"/>
              <a:gd name="connsiteX54" fmla="*/ 1273662 w 2772385"/>
              <a:gd name="connsiteY54" fmla="*/ 3485801 h 3811169"/>
              <a:gd name="connsiteX55" fmla="*/ 1453176 w 2772385"/>
              <a:gd name="connsiteY55" fmla="*/ 3497020 h 3811169"/>
              <a:gd name="connsiteX56" fmla="*/ 1425127 w 2772385"/>
              <a:gd name="connsiteY56" fmla="*/ 3575558 h 3811169"/>
              <a:gd name="connsiteX57" fmla="*/ 1397078 w 2772385"/>
              <a:gd name="connsiteY57" fmla="*/ 3637266 h 3811169"/>
              <a:gd name="connsiteX58" fmla="*/ 1312931 w 2772385"/>
              <a:gd name="connsiteY58" fmla="*/ 3654095 h 3811169"/>
              <a:gd name="connsiteX59" fmla="*/ 1447567 w 2772385"/>
              <a:gd name="connsiteY59" fmla="*/ 3777511 h 3811169"/>
              <a:gd name="connsiteX60" fmla="*/ 1514884 w 2772385"/>
              <a:gd name="connsiteY60" fmla="*/ 3642876 h 3811169"/>
              <a:gd name="connsiteX61" fmla="*/ 1817814 w 2772385"/>
              <a:gd name="connsiteY61" fmla="*/ 3541899 h 3811169"/>
              <a:gd name="connsiteX62" fmla="*/ 2154403 w 2772385"/>
              <a:gd name="connsiteY62" fmla="*/ 3614826 h 3811169"/>
              <a:gd name="connsiteX63" fmla="*/ 2109525 w 2772385"/>
              <a:gd name="connsiteY63" fmla="*/ 3715803 h 3811169"/>
              <a:gd name="connsiteX64" fmla="*/ 2204892 w 2772385"/>
              <a:gd name="connsiteY64" fmla="*/ 3783121 h 3811169"/>
              <a:gd name="connsiteX65" fmla="*/ 2277819 w 2772385"/>
              <a:gd name="connsiteY65" fmla="*/ 3732633 h 3811169"/>
              <a:gd name="connsiteX66" fmla="*/ 2266600 w 2772385"/>
              <a:gd name="connsiteY66" fmla="*/ 3637266 h 3811169"/>
              <a:gd name="connsiteX67" fmla="*/ 2446114 w 2772385"/>
              <a:gd name="connsiteY67" fmla="*/ 3558728 h 3811169"/>
              <a:gd name="connsiteX68" fmla="*/ 2429284 w 2772385"/>
              <a:gd name="connsiteY68" fmla="*/ 3384824 h 3811169"/>
              <a:gd name="connsiteX69" fmla="*/ 1924401 w 2772385"/>
              <a:gd name="connsiteY69" fmla="*/ 3356775 h 3811169"/>
              <a:gd name="connsiteX70" fmla="*/ 1913181 w 2772385"/>
              <a:gd name="connsiteY70" fmla="*/ 3031406 h 3811169"/>
              <a:gd name="connsiteX71" fmla="*/ 1879522 w 2772385"/>
              <a:gd name="connsiteY71" fmla="*/ 3014576 h 3811169"/>
              <a:gd name="connsiteX72" fmla="*/ 1901962 w 2772385"/>
              <a:gd name="connsiteY72" fmla="*/ 2835062 h 3811169"/>
              <a:gd name="connsiteX73" fmla="*/ 1857083 w 2772385"/>
              <a:gd name="connsiteY73" fmla="*/ 2773354 h 3811169"/>
              <a:gd name="connsiteX74" fmla="*/ 2103915 w 2772385"/>
              <a:gd name="connsiteY74" fmla="*/ 2717256 h 3811169"/>
              <a:gd name="connsiteX75" fmla="*/ 2126354 w 2772385"/>
              <a:gd name="connsiteY75" fmla="*/ 2588230 h 3811169"/>
              <a:gd name="connsiteX76" fmla="*/ 2367576 w 2772385"/>
              <a:gd name="connsiteY76" fmla="*/ 2621889 h 3811169"/>
              <a:gd name="connsiteX77" fmla="*/ 2591969 w 2772385"/>
              <a:gd name="connsiteY77" fmla="*/ 2032858 h 3811169"/>
              <a:gd name="connsiteX78" fmla="*/ 2547090 w 2772385"/>
              <a:gd name="connsiteY78" fmla="*/ 1948711 h 3811169"/>
              <a:gd name="connsiteX79" fmla="*/ 2692946 w 2772385"/>
              <a:gd name="connsiteY79" fmla="*/ 1460657 h 3811169"/>
              <a:gd name="connsiteX80" fmla="*/ 2636848 w 2772385"/>
              <a:gd name="connsiteY80" fmla="*/ 1354071 h 3811169"/>
              <a:gd name="connsiteX81" fmla="*/ 2479772 w 2772385"/>
              <a:gd name="connsiteY81" fmla="*/ 798699 h 3811169"/>
              <a:gd name="connsiteX82" fmla="*/ 2737825 w 2772385"/>
              <a:gd name="connsiteY82" fmla="*/ 675283 h 3811169"/>
              <a:gd name="connsiteX83" fmla="*/ 2709775 w 2772385"/>
              <a:gd name="connsiteY83" fmla="*/ 434061 h 3811169"/>
              <a:gd name="connsiteX84" fmla="*/ 2625628 w 2772385"/>
              <a:gd name="connsiteY84" fmla="*/ 86253 h 3811169"/>
              <a:gd name="connsiteX0" fmla="*/ 2625628 w 2772385"/>
              <a:gd name="connsiteY0" fmla="*/ 86253 h 3811169"/>
              <a:gd name="connsiteX1" fmla="*/ 2429284 w 2772385"/>
              <a:gd name="connsiteY1" fmla="*/ 2105 h 3811169"/>
              <a:gd name="connsiteX2" fmla="*/ 2188062 w 2772385"/>
              <a:gd name="connsiteY2" fmla="*/ 159180 h 3811169"/>
              <a:gd name="connsiteX3" fmla="*/ 2087086 w 2772385"/>
              <a:gd name="connsiteY3" fmla="*/ 198449 h 3811169"/>
              <a:gd name="connsiteX4" fmla="*/ 2137574 w 2772385"/>
              <a:gd name="connsiteY4" fmla="*/ 288206 h 3811169"/>
              <a:gd name="connsiteX5" fmla="*/ 2025378 w 2772385"/>
              <a:gd name="connsiteY5" fmla="*/ 450890 h 3811169"/>
              <a:gd name="connsiteX6" fmla="*/ 2131966 w 2772385"/>
              <a:gd name="connsiteY6" fmla="*/ 585526 h 3811169"/>
              <a:gd name="connsiteX7" fmla="*/ 2154403 w 2772385"/>
              <a:gd name="connsiteY7" fmla="*/ 708942 h 3811169"/>
              <a:gd name="connsiteX8" fmla="*/ 2025378 w 2772385"/>
              <a:gd name="connsiteY8" fmla="*/ 753820 h 3811169"/>
              <a:gd name="connsiteX9" fmla="*/ 1991719 w 2772385"/>
              <a:gd name="connsiteY9" fmla="*/ 821138 h 3811169"/>
              <a:gd name="connsiteX10" fmla="*/ 1991719 w 2772385"/>
              <a:gd name="connsiteY10" fmla="*/ 708942 h 3811169"/>
              <a:gd name="connsiteX11" fmla="*/ 1941230 w 2772385"/>
              <a:gd name="connsiteY11" fmla="*/ 669673 h 3811169"/>
              <a:gd name="connsiteX12" fmla="*/ 1778546 w 2772385"/>
              <a:gd name="connsiteY12" fmla="*/ 770649 h 3811169"/>
              <a:gd name="connsiteX13" fmla="*/ 1397078 w 2772385"/>
              <a:gd name="connsiteY13" fmla="*/ 579916 h 3811169"/>
              <a:gd name="connsiteX14" fmla="*/ 1660739 w 2772385"/>
              <a:gd name="connsiteY14" fmla="*/ 1129678 h 3811169"/>
              <a:gd name="connsiteX15" fmla="*/ 1795375 w 2772385"/>
              <a:gd name="connsiteY15" fmla="*/ 1225045 h 3811169"/>
              <a:gd name="connsiteX16" fmla="*/ 1643910 w 2772385"/>
              <a:gd name="connsiteY16" fmla="*/ 1449437 h 3811169"/>
              <a:gd name="connsiteX17" fmla="*/ 1722448 w 2772385"/>
              <a:gd name="connsiteY17" fmla="*/ 1668220 h 3811169"/>
              <a:gd name="connsiteX18" fmla="*/ 1812205 w 2772385"/>
              <a:gd name="connsiteY18" fmla="*/ 1662611 h 3811169"/>
              <a:gd name="connsiteX19" fmla="*/ 1621470 w 2772385"/>
              <a:gd name="connsiteY19" fmla="*/ 1858954 h 3811169"/>
              <a:gd name="connsiteX20" fmla="*/ 909024 w 2772385"/>
              <a:gd name="connsiteY20" fmla="*/ 1578463 h 3811169"/>
              <a:gd name="connsiteX21" fmla="*/ 454629 w 2772385"/>
              <a:gd name="connsiteY21" fmla="*/ 2605060 h 3811169"/>
              <a:gd name="connsiteX22" fmla="*/ 258286 w 2772385"/>
              <a:gd name="connsiteY22" fmla="*/ 2812623 h 3811169"/>
              <a:gd name="connsiteX23" fmla="*/ 39503 w 2772385"/>
              <a:gd name="connsiteY23" fmla="*/ 2857501 h 3811169"/>
              <a:gd name="connsiteX24" fmla="*/ 28282 w 2772385"/>
              <a:gd name="connsiteY24" fmla="*/ 2975307 h 3811169"/>
              <a:gd name="connsiteX25" fmla="*/ 258285 w 2772385"/>
              <a:gd name="connsiteY25" fmla="*/ 3087504 h 3811169"/>
              <a:gd name="connsiteX26" fmla="*/ 527559 w 2772385"/>
              <a:gd name="connsiteY26" fmla="*/ 2986527 h 3811169"/>
              <a:gd name="connsiteX27" fmla="*/ 488288 w 2772385"/>
              <a:gd name="connsiteY27" fmla="*/ 3154821 h 3811169"/>
              <a:gd name="connsiteX28" fmla="*/ 561215 w 2772385"/>
              <a:gd name="connsiteY28" fmla="*/ 3194090 h 3811169"/>
              <a:gd name="connsiteX29" fmla="*/ 381702 w 2772385"/>
              <a:gd name="connsiteY29" fmla="*/ 3592387 h 3811169"/>
              <a:gd name="connsiteX30" fmla="*/ 213407 w 2772385"/>
              <a:gd name="connsiteY30" fmla="*/ 3743852 h 3811169"/>
              <a:gd name="connsiteX31" fmla="*/ 280726 w 2772385"/>
              <a:gd name="connsiteY31" fmla="*/ 3811169 h 3811169"/>
              <a:gd name="connsiteX32" fmla="*/ 549996 w 2772385"/>
              <a:gd name="connsiteY32" fmla="*/ 3788731 h 3811169"/>
              <a:gd name="connsiteX33" fmla="*/ 583655 w 2772385"/>
              <a:gd name="connsiteY33" fmla="*/ 3581168 h 3811169"/>
              <a:gd name="connsiteX34" fmla="*/ 639753 w 2772385"/>
              <a:gd name="connsiteY34" fmla="*/ 3575558 h 3811169"/>
              <a:gd name="connsiteX35" fmla="*/ 684632 w 2772385"/>
              <a:gd name="connsiteY35" fmla="*/ 3698974 h 3811169"/>
              <a:gd name="connsiteX36" fmla="*/ 768779 w 2772385"/>
              <a:gd name="connsiteY36" fmla="*/ 3704584 h 3811169"/>
              <a:gd name="connsiteX37" fmla="*/ 774389 w 2772385"/>
              <a:gd name="connsiteY37" fmla="*/ 3474581 h 3811169"/>
              <a:gd name="connsiteX38" fmla="*/ 740730 w 2772385"/>
              <a:gd name="connsiteY38" fmla="*/ 3205310 h 3811169"/>
              <a:gd name="connsiteX39" fmla="*/ 897805 w 2772385"/>
              <a:gd name="connsiteY39" fmla="*/ 2627499 h 3811169"/>
              <a:gd name="connsiteX40" fmla="*/ 1161466 w 2772385"/>
              <a:gd name="connsiteY40" fmla="*/ 2520912 h 3811169"/>
              <a:gd name="connsiteX41" fmla="*/ 1526104 w 2772385"/>
              <a:gd name="connsiteY41" fmla="*/ 2627499 h 3811169"/>
              <a:gd name="connsiteX42" fmla="*/ 1587812 w 2772385"/>
              <a:gd name="connsiteY42" fmla="*/ 2627499 h 3811169"/>
              <a:gd name="connsiteX43" fmla="*/ 1643910 w 2772385"/>
              <a:gd name="connsiteY43" fmla="*/ 2728476 h 3811169"/>
              <a:gd name="connsiteX44" fmla="*/ 1795375 w 2772385"/>
              <a:gd name="connsiteY44" fmla="*/ 2762134 h 3811169"/>
              <a:gd name="connsiteX45" fmla="*/ 1806595 w 2772385"/>
              <a:gd name="connsiteY45" fmla="*/ 2795793 h 3811169"/>
              <a:gd name="connsiteX46" fmla="*/ 1767326 w 2772385"/>
              <a:gd name="connsiteY46" fmla="*/ 2997747 h 3811169"/>
              <a:gd name="connsiteX47" fmla="*/ 1744887 w 2772385"/>
              <a:gd name="connsiteY47" fmla="*/ 3323116 h 3811169"/>
              <a:gd name="connsiteX48" fmla="*/ 1537324 w 2772385"/>
              <a:gd name="connsiteY48" fmla="*/ 3345555 h 3811169"/>
              <a:gd name="connsiteX49" fmla="*/ 1200735 w 2772385"/>
              <a:gd name="connsiteY49" fmla="*/ 3396044 h 3811169"/>
              <a:gd name="connsiteX50" fmla="*/ 1172686 w 2772385"/>
              <a:gd name="connsiteY50" fmla="*/ 3468971 h 3811169"/>
              <a:gd name="connsiteX51" fmla="*/ 1110978 w 2772385"/>
              <a:gd name="connsiteY51" fmla="*/ 3497020 h 3811169"/>
              <a:gd name="connsiteX52" fmla="*/ 1139027 w 2772385"/>
              <a:gd name="connsiteY52" fmla="*/ 3631656 h 3811169"/>
              <a:gd name="connsiteX53" fmla="*/ 1279272 w 2772385"/>
              <a:gd name="connsiteY53" fmla="*/ 3637266 h 3811169"/>
              <a:gd name="connsiteX54" fmla="*/ 1273662 w 2772385"/>
              <a:gd name="connsiteY54" fmla="*/ 3485801 h 3811169"/>
              <a:gd name="connsiteX55" fmla="*/ 1453176 w 2772385"/>
              <a:gd name="connsiteY55" fmla="*/ 3497020 h 3811169"/>
              <a:gd name="connsiteX56" fmla="*/ 1425127 w 2772385"/>
              <a:gd name="connsiteY56" fmla="*/ 3575558 h 3811169"/>
              <a:gd name="connsiteX57" fmla="*/ 1397078 w 2772385"/>
              <a:gd name="connsiteY57" fmla="*/ 3637266 h 3811169"/>
              <a:gd name="connsiteX58" fmla="*/ 1312931 w 2772385"/>
              <a:gd name="connsiteY58" fmla="*/ 3654095 h 3811169"/>
              <a:gd name="connsiteX59" fmla="*/ 1447567 w 2772385"/>
              <a:gd name="connsiteY59" fmla="*/ 3777511 h 3811169"/>
              <a:gd name="connsiteX60" fmla="*/ 1514884 w 2772385"/>
              <a:gd name="connsiteY60" fmla="*/ 3642876 h 3811169"/>
              <a:gd name="connsiteX61" fmla="*/ 1817814 w 2772385"/>
              <a:gd name="connsiteY61" fmla="*/ 3541899 h 3811169"/>
              <a:gd name="connsiteX62" fmla="*/ 2154403 w 2772385"/>
              <a:gd name="connsiteY62" fmla="*/ 3614826 h 3811169"/>
              <a:gd name="connsiteX63" fmla="*/ 2109525 w 2772385"/>
              <a:gd name="connsiteY63" fmla="*/ 3715803 h 3811169"/>
              <a:gd name="connsiteX64" fmla="*/ 2204892 w 2772385"/>
              <a:gd name="connsiteY64" fmla="*/ 3783121 h 3811169"/>
              <a:gd name="connsiteX65" fmla="*/ 2277819 w 2772385"/>
              <a:gd name="connsiteY65" fmla="*/ 3732633 h 3811169"/>
              <a:gd name="connsiteX66" fmla="*/ 2266600 w 2772385"/>
              <a:gd name="connsiteY66" fmla="*/ 3637266 h 3811169"/>
              <a:gd name="connsiteX67" fmla="*/ 2446114 w 2772385"/>
              <a:gd name="connsiteY67" fmla="*/ 3558728 h 3811169"/>
              <a:gd name="connsiteX68" fmla="*/ 2429284 w 2772385"/>
              <a:gd name="connsiteY68" fmla="*/ 3384824 h 3811169"/>
              <a:gd name="connsiteX69" fmla="*/ 1924401 w 2772385"/>
              <a:gd name="connsiteY69" fmla="*/ 3356775 h 3811169"/>
              <a:gd name="connsiteX70" fmla="*/ 1913181 w 2772385"/>
              <a:gd name="connsiteY70" fmla="*/ 3031406 h 3811169"/>
              <a:gd name="connsiteX71" fmla="*/ 1879522 w 2772385"/>
              <a:gd name="connsiteY71" fmla="*/ 3014576 h 3811169"/>
              <a:gd name="connsiteX72" fmla="*/ 1901962 w 2772385"/>
              <a:gd name="connsiteY72" fmla="*/ 2835062 h 3811169"/>
              <a:gd name="connsiteX73" fmla="*/ 1857083 w 2772385"/>
              <a:gd name="connsiteY73" fmla="*/ 2773354 h 3811169"/>
              <a:gd name="connsiteX74" fmla="*/ 2103915 w 2772385"/>
              <a:gd name="connsiteY74" fmla="*/ 2717256 h 3811169"/>
              <a:gd name="connsiteX75" fmla="*/ 2126354 w 2772385"/>
              <a:gd name="connsiteY75" fmla="*/ 2588230 h 3811169"/>
              <a:gd name="connsiteX76" fmla="*/ 2367576 w 2772385"/>
              <a:gd name="connsiteY76" fmla="*/ 2621889 h 3811169"/>
              <a:gd name="connsiteX77" fmla="*/ 2591969 w 2772385"/>
              <a:gd name="connsiteY77" fmla="*/ 2032858 h 3811169"/>
              <a:gd name="connsiteX78" fmla="*/ 2547090 w 2772385"/>
              <a:gd name="connsiteY78" fmla="*/ 1948711 h 3811169"/>
              <a:gd name="connsiteX79" fmla="*/ 2692946 w 2772385"/>
              <a:gd name="connsiteY79" fmla="*/ 1460657 h 3811169"/>
              <a:gd name="connsiteX80" fmla="*/ 2636848 w 2772385"/>
              <a:gd name="connsiteY80" fmla="*/ 1354071 h 3811169"/>
              <a:gd name="connsiteX81" fmla="*/ 2479772 w 2772385"/>
              <a:gd name="connsiteY81" fmla="*/ 798699 h 3811169"/>
              <a:gd name="connsiteX82" fmla="*/ 2737825 w 2772385"/>
              <a:gd name="connsiteY82" fmla="*/ 675283 h 3811169"/>
              <a:gd name="connsiteX83" fmla="*/ 2709775 w 2772385"/>
              <a:gd name="connsiteY83" fmla="*/ 434061 h 3811169"/>
              <a:gd name="connsiteX84" fmla="*/ 2625628 w 2772385"/>
              <a:gd name="connsiteY84" fmla="*/ 86253 h 3811169"/>
              <a:gd name="connsiteX0" fmla="*/ 2625628 w 2772385"/>
              <a:gd name="connsiteY0" fmla="*/ 86253 h 3811169"/>
              <a:gd name="connsiteX1" fmla="*/ 2429284 w 2772385"/>
              <a:gd name="connsiteY1" fmla="*/ 2105 h 3811169"/>
              <a:gd name="connsiteX2" fmla="*/ 2188062 w 2772385"/>
              <a:gd name="connsiteY2" fmla="*/ 159180 h 3811169"/>
              <a:gd name="connsiteX3" fmla="*/ 2087086 w 2772385"/>
              <a:gd name="connsiteY3" fmla="*/ 198449 h 3811169"/>
              <a:gd name="connsiteX4" fmla="*/ 2137574 w 2772385"/>
              <a:gd name="connsiteY4" fmla="*/ 288206 h 3811169"/>
              <a:gd name="connsiteX5" fmla="*/ 2025378 w 2772385"/>
              <a:gd name="connsiteY5" fmla="*/ 450890 h 3811169"/>
              <a:gd name="connsiteX6" fmla="*/ 2131966 w 2772385"/>
              <a:gd name="connsiteY6" fmla="*/ 585526 h 3811169"/>
              <a:gd name="connsiteX7" fmla="*/ 2154403 w 2772385"/>
              <a:gd name="connsiteY7" fmla="*/ 708942 h 3811169"/>
              <a:gd name="connsiteX8" fmla="*/ 2025378 w 2772385"/>
              <a:gd name="connsiteY8" fmla="*/ 753820 h 3811169"/>
              <a:gd name="connsiteX9" fmla="*/ 1991719 w 2772385"/>
              <a:gd name="connsiteY9" fmla="*/ 821138 h 3811169"/>
              <a:gd name="connsiteX10" fmla="*/ 1991719 w 2772385"/>
              <a:gd name="connsiteY10" fmla="*/ 708942 h 3811169"/>
              <a:gd name="connsiteX11" fmla="*/ 1941230 w 2772385"/>
              <a:gd name="connsiteY11" fmla="*/ 669673 h 3811169"/>
              <a:gd name="connsiteX12" fmla="*/ 1778546 w 2772385"/>
              <a:gd name="connsiteY12" fmla="*/ 770649 h 3811169"/>
              <a:gd name="connsiteX13" fmla="*/ 1397078 w 2772385"/>
              <a:gd name="connsiteY13" fmla="*/ 579916 h 3811169"/>
              <a:gd name="connsiteX14" fmla="*/ 1660739 w 2772385"/>
              <a:gd name="connsiteY14" fmla="*/ 1129678 h 3811169"/>
              <a:gd name="connsiteX15" fmla="*/ 1795375 w 2772385"/>
              <a:gd name="connsiteY15" fmla="*/ 1225045 h 3811169"/>
              <a:gd name="connsiteX16" fmla="*/ 1643910 w 2772385"/>
              <a:gd name="connsiteY16" fmla="*/ 1449437 h 3811169"/>
              <a:gd name="connsiteX17" fmla="*/ 1722448 w 2772385"/>
              <a:gd name="connsiteY17" fmla="*/ 1668220 h 3811169"/>
              <a:gd name="connsiteX18" fmla="*/ 1812205 w 2772385"/>
              <a:gd name="connsiteY18" fmla="*/ 1662611 h 3811169"/>
              <a:gd name="connsiteX19" fmla="*/ 1621470 w 2772385"/>
              <a:gd name="connsiteY19" fmla="*/ 1858954 h 3811169"/>
              <a:gd name="connsiteX20" fmla="*/ 909024 w 2772385"/>
              <a:gd name="connsiteY20" fmla="*/ 1578463 h 3811169"/>
              <a:gd name="connsiteX21" fmla="*/ 454629 w 2772385"/>
              <a:gd name="connsiteY21" fmla="*/ 2605060 h 3811169"/>
              <a:gd name="connsiteX22" fmla="*/ 258286 w 2772385"/>
              <a:gd name="connsiteY22" fmla="*/ 2812623 h 3811169"/>
              <a:gd name="connsiteX23" fmla="*/ 39503 w 2772385"/>
              <a:gd name="connsiteY23" fmla="*/ 2857501 h 3811169"/>
              <a:gd name="connsiteX24" fmla="*/ 28282 w 2772385"/>
              <a:gd name="connsiteY24" fmla="*/ 2975307 h 3811169"/>
              <a:gd name="connsiteX25" fmla="*/ 258285 w 2772385"/>
              <a:gd name="connsiteY25" fmla="*/ 3087504 h 3811169"/>
              <a:gd name="connsiteX26" fmla="*/ 527559 w 2772385"/>
              <a:gd name="connsiteY26" fmla="*/ 2986527 h 3811169"/>
              <a:gd name="connsiteX27" fmla="*/ 488288 w 2772385"/>
              <a:gd name="connsiteY27" fmla="*/ 3154821 h 3811169"/>
              <a:gd name="connsiteX28" fmla="*/ 561215 w 2772385"/>
              <a:gd name="connsiteY28" fmla="*/ 3194090 h 3811169"/>
              <a:gd name="connsiteX29" fmla="*/ 381702 w 2772385"/>
              <a:gd name="connsiteY29" fmla="*/ 3592387 h 3811169"/>
              <a:gd name="connsiteX30" fmla="*/ 224627 w 2772385"/>
              <a:gd name="connsiteY30" fmla="*/ 3682144 h 3811169"/>
              <a:gd name="connsiteX31" fmla="*/ 280726 w 2772385"/>
              <a:gd name="connsiteY31" fmla="*/ 3811169 h 3811169"/>
              <a:gd name="connsiteX32" fmla="*/ 549996 w 2772385"/>
              <a:gd name="connsiteY32" fmla="*/ 3788731 h 3811169"/>
              <a:gd name="connsiteX33" fmla="*/ 583655 w 2772385"/>
              <a:gd name="connsiteY33" fmla="*/ 3581168 h 3811169"/>
              <a:gd name="connsiteX34" fmla="*/ 639753 w 2772385"/>
              <a:gd name="connsiteY34" fmla="*/ 3575558 h 3811169"/>
              <a:gd name="connsiteX35" fmla="*/ 684632 w 2772385"/>
              <a:gd name="connsiteY35" fmla="*/ 3698974 h 3811169"/>
              <a:gd name="connsiteX36" fmla="*/ 768779 w 2772385"/>
              <a:gd name="connsiteY36" fmla="*/ 3704584 h 3811169"/>
              <a:gd name="connsiteX37" fmla="*/ 774389 w 2772385"/>
              <a:gd name="connsiteY37" fmla="*/ 3474581 h 3811169"/>
              <a:gd name="connsiteX38" fmla="*/ 740730 w 2772385"/>
              <a:gd name="connsiteY38" fmla="*/ 3205310 h 3811169"/>
              <a:gd name="connsiteX39" fmla="*/ 897805 w 2772385"/>
              <a:gd name="connsiteY39" fmla="*/ 2627499 h 3811169"/>
              <a:gd name="connsiteX40" fmla="*/ 1161466 w 2772385"/>
              <a:gd name="connsiteY40" fmla="*/ 2520912 h 3811169"/>
              <a:gd name="connsiteX41" fmla="*/ 1526104 w 2772385"/>
              <a:gd name="connsiteY41" fmla="*/ 2627499 h 3811169"/>
              <a:gd name="connsiteX42" fmla="*/ 1587812 w 2772385"/>
              <a:gd name="connsiteY42" fmla="*/ 2627499 h 3811169"/>
              <a:gd name="connsiteX43" fmla="*/ 1643910 w 2772385"/>
              <a:gd name="connsiteY43" fmla="*/ 2728476 h 3811169"/>
              <a:gd name="connsiteX44" fmla="*/ 1795375 w 2772385"/>
              <a:gd name="connsiteY44" fmla="*/ 2762134 h 3811169"/>
              <a:gd name="connsiteX45" fmla="*/ 1806595 w 2772385"/>
              <a:gd name="connsiteY45" fmla="*/ 2795793 h 3811169"/>
              <a:gd name="connsiteX46" fmla="*/ 1767326 w 2772385"/>
              <a:gd name="connsiteY46" fmla="*/ 2997747 h 3811169"/>
              <a:gd name="connsiteX47" fmla="*/ 1744887 w 2772385"/>
              <a:gd name="connsiteY47" fmla="*/ 3323116 h 3811169"/>
              <a:gd name="connsiteX48" fmla="*/ 1537324 w 2772385"/>
              <a:gd name="connsiteY48" fmla="*/ 3345555 h 3811169"/>
              <a:gd name="connsiteX49" fmla="*/ 1200735 w 2772385"/>
              <a:gd name="connsiteY49" fmla="*/ 3396044 h 3811169"/>
              <a:gd name="connsiteX50" fmla="*/ 1172686 w 2772385"/>
              <a:gd name="connsiteY50" fmla="*/ 3468971 h 3811169"/>
              <a:gd name="connsiteX51" fmla="*/ 1110978 w 2772385"/>
              <a:gd name="connsiteY51" fmla="*/ 3497020 h 3811169"/>
              <a:gd name="connsiteX52" fmla="*/ 1139027 w 2772385"/>
              <a:gd name="connsiteY52" fmla="*/ 3631656 h 3811169"/>
              <a:gd name="connsiteX53" fmla="*/ 1279272 w 2772385"/>
              <a:gd name="connsiteY53" fmla="*/ 3637266 h 3811169"/>
              <a:gd name="connsiteX54" fmla="*/ 1273662 w 2772385"/>
              <a:gd name="connsiteY54" fmla="*/ 3485801 h 3811169"/>
              <a:gd name="connsiteX55" fmla="*/ 1453176 w 2772385"/>
              <a:gd name="connsiteY55" fmla="*/ 3497020 h 3811169"/>
              <a:gd name="connsiteX56" fmla="*/ 1425127 w 2772385"/>
              <a:gd name="connsiteY56" fmla="*/ 3575558 h 3811169"/>
              <a:gd name="connsiteX57" fmla="*/ 1397078 w 2772385"/>
              <a:gd name="connsiteY57" fmla="*/ 3637266 h 3811169"/>
              <a:gd name="connsiteX58" fmla="*/ 1312931 w 2772385"/>
              <a:gd name="connsiteY58" fmla="*/ 3654095 h 3811169"/>
              <a:gd name="connsiteX59" fmla="*/ 1447567 w 2772385"/>
              <a:gd name="connsiteY59" fmla="*/ 3777511 h 3811169"/>
              <a:gd name="connsiteX60" fmla="*/ 1514884 w 2772385"/>
              <a:gd name="connsiteY60" fmla="*/ 3642876 h 3811169"/>
              <a:gd name="connsiteX61" fmla="*/ 1817814 w 2772385"/>
              <a:gd name="connsiteY61" fmla="*/ 3541899 h 3811169"/>
              <a:gd name="connsiteX62" fmla="*/ 2154403 w 2772385"/>
              <a:gd name="connsiteY62" fmla="*/ 3614826 h 3811169"/>
              <a:gd name="connsiteX63" fmla="*/ 2109525 w 2772385"/>
              <a:gd name="connsiteY63" fmla="*/ 3715803 h 3811169"/>
              <a:gd name="connsiteX64" fmla="*/ 2204892 w 2772385"/>
              <a:gd name="connsiteY64" fmla="*/ 3783121 h 3811169"/>
              <a:gd name="connsiteX65" fmla="*/ 2277819 w 2772385"/>
              <a:gd name="connsiteY65" fmla="*/ 3732633 h 3811169"/>
              <a:gd name="connsiteX66" fmla="*/ 2266600 w 2772385"/>
              <a:gd name="connsiteY66" fmla="*/ 3637266 h 3811169"/>
              <a:gd name="connsiteX67" fmla="*/ 2446114 w 2772385"/>
              <a:gd name="connsiteY67" fmla="*/ 3558728 h 3811169"/>
              <a:gd name="connsiteX68" fmla="*/ 2429284 w 2772385"/>
              <a:gd name="connsiteY68" fmla="*/ 3384824 h 3811169"/>
              <a:gd name="connsiteX69" fmla="*/ 1924401 w 2772385"/>
              <a:gd name="connsiteY69" fmla="*/ 3356775 h 3811169"/>
              <a:gd name="connsiteX70" fmla="*/ 1913181 w 2772385"/>
              <a:gd name="connsiteY70" fmla="*/ 3031406 h 3811169"/>
              <a:gd name="connsiteX71" fmla="*/ 1879522 w 2772385"/>
              <a:gd name="connsiteY71" fmla="*/ 3014576 h 3811169"/>
              <a:gd name="connsiteX72" fmla="*/ 1901962 w 2772385"/>
              <a:gd name="connsiteY72" fmla="*/ 2835062 h 3811169"/>
              <a:gd name="connsiteX73" fmla="*/ 1857083 w 2772385"/>
              <a:gd name="connsiteY73" fmla="*/ 2773354 h 3811169"/>
              <a:gd name="connsiteX74" fmla="*/ 2103915 w 2772385"/>
              <a:gd name="connsiteY74" fmla="*/ 2717256 h 3811169"/>
              <a:gd name="connsiteX75" fmla="*/ 2126354 w 2772385"/>
              <a:gd name="connsiteY75" fmla="*/ 2588230 h 3811169"/>
              <a:gd name="connsiteX76" fmla="*/ 2367576 w 2772385"/>
              <a:gd name="connsiteY76" fmla="*/ 2621889 h 3811169"/>
              <a:gd name="connsiteX77" fmla="*/ 2591969 w 2772385"/>
              <a:gd name="connsiteY77" fmla="*/ 2032858 h 3811169"/>
              <a:gd name="connsiteX78" fmla="*/ 2547090 w 2772385"/>
              <a:gd name="connsiteY78" fmla="*/ 1948711 h 3811169"/>
              <a:gd name="connsiteX79" fmla="*/ 2692946 w 2772385"/>
              <a:gd name="connsiteY79" fmla="*/ 1460657 h 3811169"/>
              <a:gd name="connsiteX80" fmla="*/ 2636848 w 2772385"/>
              <a:gd name="connsiteY80" fmla="*/ 1354071 h 3811169"/>
              <a:gd name="connsiteX81" fmla="*/ 2479772 w 2772385"/>
              <a:gd name="connsiteY81" fmla="*/ 798699 h 3811169"/>
              <a:gd name="connsiteX82" fmla="*/ 2737825 w 2772385"/>
              <a:gd name="connsiteY82" fmla="*/ 675283 h 3811169"/>
              <a:gd name="connsiteX83" fmla="*/ 2709775 w 2772385"/>
              <a:gd name="connsiteY83" fmla="*/ 434061 h 3811169"/>
              <a:gd name="connsiteX84" fmla="*/ 2625628 w 2772385"/>
              <a:gd name="connsiteY84" fmla="*/ 86253 h 3811169"/>
              <a:gd name="connsiteX0" fmla="*/ 2625628 w 2772385"/>
              <a:gd name="connsiteY0" fmla="*/ 86253 h 3811169"/>
              <a:gd name="connsiteX1" fmla="*/ 2429284 w 2772385"/>
              <a:gd name="connsiteY1" fmla="*/ 2105 h 3811169"/>
              <a:gd name="connsiteX2" fmla="*/ 2188062 w 2772385"/>
              <a:gd name="connsiteY2" fmla="*/ 159180 h 3811169"/>
              <a:gd name="connsiteX3" fmla="*/ 2087086 w 2772385"/>
              <a:gd name="connsiteY3" fmla="*/ 198449 h 3811169"/>
              <a:gd name="connsiteX4" fmla="*/ 2137574 w 2772385"/>
              <a:gd name="connsiteY4" fmla="*/ 288206 h 3811169"/>
              <a:gd name="connsiteX5" fmla="*/ 2025378 w 2772385"/>
              <a:gd name="connsiteY5" fmla="*/ 450890 h 3811169"/>
              <a:gd name="connsiteX6" fmla="*/ 2131966 w 2772385"/>
              <a:gd name="connsiteY6" fmla="*/ 585526 h 3811169"/>
              <a:gd name="connsiteX7" fmla="*/ 2154403 w 2772385"/>
              <a:gd name="connsiteY7" fmla="*/ 708942 h 3811169"/>
              <a:gd name="connsiteX8" fmla="*/ 2025378 w 2772385"/>
              <a:gd name="connsiteY8" fmla="*/ 753820 h 3811169"/>
              <a:gd name="connsiteX9" fmla="*/ 1991719 w 2772385"/>
              <a:gd name="connsiteY9" fmla="*/ 821138 h 3811169"/>
              <a:gd name="connsiteX10" fmla="*/ 1991719 w 2772385"/>
              <a:gd name="connsiteY10" fmla="*/ 708942 h 3811169"/>
              <a:gd name="connsiteX11" fmla="*/ 1941230 w 2772385"/>
              <a:gd name="connsiteY11" fmla="*/ 669673 h 3811169"/>
              <a:gd name="connsiteX12" fmla="*/ 1778546 w 2772385"/>
              <a:gd name="connsiteY12" fmla="*/ 770649 h 3811169"/>
              <a:gd name="connsiteX13" fmla="*/ 1397078 w 2772385"/>
              <a:gd name="connsiteY13" fmla="*/ 579916 h 3811169"/>
              <a:gd name="connsiteX14" fmla="*/ 1660739 w 2772385"/>
              <a:gd name="connsiteY14" fmla="*/ 1129678 h 3811169"/>
              <a:gd name="connsiteX15" fmla="*/ 1795375 w 2772385"/>
              <a:gd name="connsiteY15" fmla="*/ 1225045 h 3811169"/>
              <a:gd name="connsiteX16" fmla="*/ 1643910 w 2772385"/>
              <a:gd name="connsiteY16" fmla="*/ 1449437 h 3811169"/>
              <a:gd name="connsiteX17" fmla="*/ 1722448 w 2772385"/>
              <a:gd name="connsiteY17" fmla="*/ 1668220 h 3811169"/>
              <a:gd name="connsiteX18" fmla="*/ 1812205 w 2772385"/>
              <a:gd name="connsiteY18" fmla="*/ 1662611 h 3811169"/>
              <a:gd name="connsiteX19" fmla="*/ 1621470 w 2772385"/>
              <a:gd name="connsiteY19" fmla="*/ 1858954 h 3811169"/>
              <a:gd name="connsiteX20" fmla="*/ 909024 w 2772385"/>
              <a:gd name="connsiteY20" fmla="*/ 1578463 h 3811169"/>
              <a:gd name="connsiteX21" fmla="*/ 454629 w 2772385"/>
              <a:gd name="connsiteY21" fmla="*/ 2605060 h 3811169"/>
              <a:gd name="connsiteX22" fmla="*/ 258286 w 2772385"/>
              <a:gd name="connsiteY22" fmla="*/ 2812623 h 3811169"/>
              <a:gd name="connsiteX23" fmla="*/ 39503 w 2772385"/>
              <a:gd name="connsiteY23" fmla="*/ 2857501 h 3811169"/>
              <a:gd name="connsiteX24" fmla="*/ 28282 w 2772385"/>
              <a:gd name="connsiteY24" fmla="*/ 2975307 h 3811169"/>
              <a:gd name="connsiteX25" fmla="*/ 258285 w 2772385"/>
              <a:gd name="connsiteY25" fmla="*/ 3087504 h 3811169"/>
              <a:gd name="connsiteX26" fmla="*/ 527559 w 2772385"/>
              <a:gd name="connsiteY26" fmla="*/ 2986527 h 3811169"/>
              <a:gd name="connsiteX27" fmla="*/ 488288 w 2772385"/>
              <a:gd name="connsiteY27" fmla="*/ 3154821 h 3811169"/>
              <a:gd name="connsiteX28" fmla="*/ 561215 w 2772385"/>
              <a:gd name="connsiteY28" fmla="*/ 3194090 h 3811169"/>
              <a:gd name="connsiteX29" fmla="*/ 381702 w 2772385"/>
              <a:gd name="connsiteY29" fmla="*/ 3592387 h 3811169"/>
              <a:gd name="connsiteX30" fmla="*/ 224627 w 2772385"/>
              <a:gd name="connsiteY30" fmla="*/ 3682144 h 3811169"/>
              <a:gd name="connsiteX31" fmla="*/ 280726 w 2772385"/>
              <a:gd name="connsiteY31" fmla="*/ 3811169 h 3811169"/>
              <a:gd name="connsiteX32" fmla="*/ 549996 w 2772385"/>
              <a:gd name="connsiteY32" fmla="*/ 3788731 h 3811169"/>
              <a:gd name="connsiteX33" fmla="*/ 583655 w 2772385"/>
              <a:gd name="connsiteY33" fmla="*/ 3581168 h 3811169"/>
              <a:gd name="connsiteX34" fmla="*/ 639753 w 2772385"/>
              <a:gd name="connsiteY34" fmla="*/ 3575558 h 3811169"/>
              <a:gd name="connsiteX35" fmla="*/ 684632 w 2772385"/>
              <a:gd name="connsiteY35" fmla="*/ 3698974 h 3811169"/>
              <a:gd name="connsiteX36" fmla="*/ 768779 w 2772385"/>
              <a:gd name="connsiteY36" fmla="*/ 3704584 h 3811169"/>
              <a:gd name="connsiteX37" fmla="*/ 774389 w 2772385"/>
              <a:gd name="connsiteY37" fmla="*/ 3474581 h 3811169"/>
              <a:gd name="connsiteX38" fmla="*/ 740730 w 2772385"/>
              <a:gd name="connsiteY38" fmla="*/ 3205310 h 3811169"/>
              <a:gd name="connsiteX39" fmla="*/ 897805 w 2772385"/>
              <a:gd name="connsiteY39" fmla="*/ 2627499 h 3811169"/>
              <a:gd name="connsiteX40" fmla="*/ 1161466 w 2772385"/>
              <a:gd name="connsiteY40" fmla="*/ 2520912 h 3811169"/>
              <a:gd name="connsiteX41" fmla="*/ 1526104 w 2772385"/>
              <a:gd name="connsiteY41" fmla="*/ 2627499 h 3811169"/>
              <a:gd name="connsiteX42" fmla="*/ 1587812 w 2772385"/>
              <a:gd name="connsiteY42" fmla="*/ 2627499 h 3811169"/>
              <a:gd name="connsiteX43" fmla="*/ 1643910 w 2772385"/>
              <a:gd name="connsiteY43" fmla="*/ 2728476 h 3811169"/>
              <a:gd name="connsiteX44" fmla="*/ 1795375 w 2772385"/>
              <a:gd name="connsiteY44" fmla="*/ 2762134 h 3811169"/>
              <a:gd name="connsiteX45" fmla="*/ 1806595 w 2772385"/>
              <a:gd name="connsiteY45" fmla="*/ 2795793 h 3811169"/>
              <a:gd name="connsiteX46" fmla="*/ 1767326 w 2772385"/>
              <a:gd name="connsiteY46" fmla="*/ 2997747 h 3811169"/>
              <a:gd name="connsiteX47" fmla="*/ 1744887 w 2772385"/>
              <a:gd name="connsiteY47" fmla="*/ 3323116 h 3811169"/>
              <a:gd name="connsiteX48" fmla="*/ 1537324 w 2772385"/>
              <a:gd name="connsiteY48" fmla="*/ 3345555 h 3811169"/>
              <a:gd name="connsiteX49" fmla="*/ 1200735 w 2772385"/>
              <a:gd name="connsiteY49" fmla="*/ 3396044 h 3811169"/>
              <a:gd name="connsiteX50" fmla="*/ 1172686 w 2772385"/>
              <a:gd name="connsiteY50" fmla="*/ 3468971 h 3811169"/>
              <a:gd name="connsiteX51" fmla="*/ 1110978 w 2772385"/>
              <a:gd name="connsiteY51" fmla="*/ 3497020 h 3811169"/>
              <a:gd name="connsiteX52" fmla="*/ 1139027 w 2772385"/>
              <a:gd name="connsiteY52" fmla="*/ 3631656 h 3811169"/>
              <a:gd name="connsiteX53" fmla="*/ 1279272 w 2772385"/>
              <a:gd name="connsiteY53" fmla="*/ 3637266 h 3811169"/>
              <a:gd name="connsiteX54" fmla="*/ 1273662 w 2772385"/>
              <a:gd name="connsiteY54" fmla="*/ 3485801 h 3811169"/>
              <a:gd name="connsiteX55" fmla="*/ 1453176 w 2772385"/>
              <a:gd name="connsiteY55" fmla="*/ 3497020 h 3811169"/>
              <a:gd name="connsiteX56" fmla="*/ 1425127 w 2772385"/>
              <a:gd name="connsiteY56" fmla="*/ 3575558 h 3811169"/>
              <a:gd name="connsiteX57" fmla="*/ 1397078 w 2772385"/>
              <a:gd name="connsiteY57" fmla="*/ 3637266 h 3811169"/>
              <a:gd name="connsiteX58" fmla="*/ 1312931 w 2772385"/>
              <a:gd name="connsiteY58" fmla="*/ 3654095 h 3811169"/>
              <a:gd name="connsiteX59" fmla="*/ 1447567 w 2772385"/>
              <a:gd name="connsiteY59" fmla="*/ 3777511 h 3811169"/>
              <a:gd name="connsiteX60" fmla="*/ 1514884 w 2772385"/>
              <a:gd name="connsiteY60" fmla="*/ 3642876 h 3811169"/>
              <a:gd name="connsiteX61" fmla="*/ 1817814 w 2772385"/>
              <a:gd name="connsiteY61" fmla="*/ 3541899 h 3811169"/>
              <a:gd name="connsiteX62" fmla="*/ 2154403 w 2772385"/>
              <a:gd name="connsiteY62" fmla="*/ 3614826 h 3811169"/>
              <a:gd name="connsiteX63" fmla="*/ 2109525 w 2772385"/>
              <a:gd name="connsiteY63" fmla="*/ 3715803 h 3811169"/>
              <a:gd name="connsiteX64" fmla="*/ 2204892 w 2772385"/>
              <a:gd name="connsiteY64" fmla="*/ 3783121 h 3811169"/>
              <a:gd name="connsiteX65" fmla="*/ 2277819 w 2772385"/>
              <a:gd name="connsiteY65" fmla="*/ 3732633 h 3811169"/>
              <a:gd name="connsiteX66" fmla="*/ 2266600 w 2772385"/>
              <a:gd name="connsiteY66" fmla="*/ 3637266 h 3811169"/>
              <a:gd name="connsiteX67" fmla="*/ 2446114 w 2772385"/>
              <a:gd name="connsiteY67" fmla="*/ 3558728 h 3811169"/>
              <a:gd name="connsiteX68" fmla="*/ 2429284 w 2772385"/>
              <a:gd name="connsiteY68" fmla="*/ 3384824 h 3811169"/>
              <a:gd name="connsiteX69" fmla="*/ 1924401 w 2772385"/>
              <a:gd name="connsiteY69" fmla="*/ 3356775 h 3811169"/>
              <a:gd name="connsiteX70" fmla="*/ 1913181 w 2772385"/>
              <a:gd name="connsiteY70" fmla="*/ 3031406 h 3811169"/>
              <a:gd name="connsiteX71" fmla="*/ 1879522 w 2772385"/>
              <a:gd name="connsiteY71" fmla="*/ 3014576 h 3811169"/>
              <a:gd name="connsiteX72" fmla="*/ 1901962 w 2772385"/>
              <a:gd name="connsiteY72" fmla="*/ 2835062 h 3811169"/>
              <a:gd name="connsiteX73" fmla="*/ 1857083 w 2772385"/>
              <a:gd name="connsiteY73" fmla="*/ 2773354 h 3811169"/>
              <a:gd name="connsiteX74" fmla="*/ 2103915 w 2772385"/>
              <a:gd name="connsiteY74" fmla="*/ 2717256 h 3811169"/>
              <a:gd name="connsiteX75" fmla="*/ 2126354 w 2772385"/>
              <a:gd name="connsiteY75" fmla="*/ 2588230 h 3811169"/>
              <a:gd name="connsiteX76" fmla="*/ 2367576 w 2772385"/>
              <a:gd name="connsiteY76" fmla="*/ 2621889 h 3811169"/>
              <a:gd name="connsiteX77" fmla="*/ 2591969 w 2772385"/>
              <a:gd name="connsiteY77" fmla="*/ 2032858 h 3811169"/>
              <a:gd name="connsiteX78" fmla="*/ 2547090 w 2772385"/>
              <a:gd name="connsiteY78" fmla="*/ 1948711 h 3811169"/>
              <a:gd name="connsiteX79" fmla="*/ 2692946 w 2772385"/>
              <a:gd name="connsiteY79" fmla="*/ 1460657 h 3811169"/>
              <a:gd name="connsiteX80" fmla="*/ 2636848 w 2772385"/>
              <a:gd name="connsiteY80" fmla="*/ 1354071 h 3811169"/>
              <a:gd name="connsiteX81" fmla="*/ 2479772 w 2772385"/>
              <a:gd name="connsiteY81" fmla="*/ 798699 h 3811169"/>
              <a:gd name="connsiteX82" fmla="*/ 2737825 w 2772385"/>
              <a:gd name="connsiteY82" fmla="*/ 675283 h 3811169"/>
              <a:gd name="connsiteX83" fmla="*/ 2709775 w 2772385"/>
              <a:gd name="connsiteY83" fmla="*/ 434061 h 3811169"/>
              <a:gd name="connsiteX84" fmla="*/ 2625628 w 2772385"/>
              <a:gd name="connsiteY84" fmla="*/ 86253 h 3811169"/>
              <a:gd name="connsiteX0" fmla="*/ 2625628 w 2772385"/>
              <a:gd name="connsiteY0" fmla="*/ 86253 h 3811169"/>
              <a:gd name="connsiteX1" fmla="*/ 2429284 w 2772385"/>
              <a:gd name="connsiteY1" fmla="*/ 2105 h 3811169"/>
              <a:gd name="connsiteX2" fmla="*/ 2188062 w 2772385"/>
              <a:gd name="connsiteY2" fmla="*/ 159180 h 3811169"/>
              <a:gd name="connsiteX3" fmla="*/ 2087086 w 2772385"/>
              <a:gd name="connsiteY3" fmla="*/ 198449 h 3811169"/>
              <a:gd name="connsiteX4" fmla="*/ 2137574 w 2772385"/>
              <a:gd name="connsiteY4" fmla="*/ 288206 h 3811169"/>
              <a:gd name="connsiteX5" fmla="*/ 2025378 w 2772385"/>
              <a:gd name="connsiteY5" fmla="*/ 450890 h 3811169"/>
              <a:gd name="connsiteX6" fmla="*/ 2131966 w 2772385"/>
              <a:gd name="connsiteY6" fmla="*/ 585526 h 3811169"/>
              <a:gd name="connsiteX7" fmla="*/ 2154403 w 2772385"/>
              <a:gd name="connsiteY7" fmla="*/ 708942 h 3811169"/>
              <a:gd name="connsiteX8" fmla="*/ 2025378 w 2772385"/>
              <a:gd name="connsiteY8" fmla="*/ 753820 h 3811169"/>
              <a:gd name="connsiteX9" fmla="*/ 1991719 w 2772385"/>
              <a:gd name="connsiteY9" fmla="*/ 821138 h 3811169"/>
              <a:gd name="connsiteX10" fmla="*/ 1991719 w 2772385"/>
              <a:gd name="connsiteY10" fmla="*/ 708942 h 3811169"/>
              <a:gd name="connsiteX11" fmla="*/ 1941230 w 2772385"/>
              <a:gd name="connsiteY11" fmla="*/ 669673 h 3811169"/>
              <a:gd name="connsiteX12" fmla="*/ 1778546 w 2772385"/>
              <a:gd name="connsiteY12" fmla="*/ 770649 h 3811169"/>
              <a:gd name="connsiteX13" fmla="*/ 1397078 w 2772385"/>
              <a:gd name="connsiteY13" fmla="*/ 579916 h 3811169"/>
              <a:gd name="connsiteX14" fmla="*/ 1660739 w 2772385"/>
              <a:gd name="connsiteY14" fmla="*/ 1129678 h 3811169"/>
              <a:gd name="connsiteX15" fmla="*/ 1795375 w 2772385"/>
              <a:gd name="connsiteY15" fmla="*/ 1225045 h 3811169"/>
              <a:gd name="connsiteX16" fmla="*/ 1643910 w 2772385"/>
              <a:gd name="connsiteY16" fmla="*/ 1449437 h 3811169"/>
              <a:gd name="connsiteX17" fmla="*/ 1722448 w 2772385"/>
              <a:gd name="connsiteY17" fmla="*/ 1668220 h 3811169"/>
              <a:gd name="connsiteX18" fmla="*/ 1812205 w 2772385"/>
              <a:gd name="connsiteY18" fmla="*/ 1662611 h 3811169"/>
              <a:gd name="connsiteX19" fmla="*/ 1621470 w 2772385"/>
              <a:gd name="connsiteY19" fmla="*/ 1858954 h 3811169"/>
              <a:gd name="connsiteX20" fmla="*/ 909024 w 2772385"/>
              <a:gd name="connsiteY20" fmla="*/ 1578463 h 3811169"/>
              <a:gd name="connsiteX21" fmla="*/ 454629 w 2772385"/>
              <a:gd name="connsiteY21" fmla="*/ 2605060 h 3811169"/>
              <a:gd name="connsiteX22" fmla="*/ 258286 w 2772385"/>
              <a:gd name="connsiteY22" fmla="*/ 2812623 h 3811169"/>
              <a:gd name="connsiteX23" fmla="*/ 39503 w 2772385"/>
              <a:gd name="connsiteY23" fmla="*/ 2857501 h 3811169"/>
              <a:gd name="connsiteX24" fmla="*/ 28282 w 2772385"/>
              <a:gd name="connsiteY24" fmla="*/ 2975307 h 3811169"/>
              <a:gd name="connsiteX25" fmla="*/ 258285 w 2772385"/>
              <a:gd name="connsiteY25" fmla="*/ 3087504 h 3811169"/>
              <a:gd name="connsiteX26" fmla="*/ 527559 w 2772385"/>
              <a:gd name="connsiteY26" fmla="*/ 2986527 h 3811169"/>
              <a:gd name="connsiteX27" fmla="*/ 488288 w 2772385"/>
              <a:gd name="connsiteY27" fmla="*/ 3154821 h 3811169"/>
              <a:gd name="connsiteX28" fmla="*/ 561215 w 2772385"/>
              <a:gd name="connsiteY28" fmla="*/ 3194090 h 3811169"/>
              <a:gd name="connsiteX29" fmla="*/ 381702 w 2772385"/>
              <a:gd name="connsiteY29" fmla="*/ 3592387 h 3811169"/>
              <a:gd name="connsiteX30" fmla="*/ 213408 w 2772385"/>
              <a:gd name="connsiteY30" fmla="*/ 3698973 h 3811169"/>
              <a:gd name="connsiteX31" fmla="*/ 280726 w 2772385"/>
              <a:gd name="connsiteY31" fmla="*/ 3811169 h 3811169"/>
              <a:gd name="connsiteX32" fmla="*/ 549996 w 2772385"/>
              <a:gd name="connsiteY32" fmla="*/ 3788731 h 3811169"/>
              <a:gd name="connsiteX33" fmla="*/ 583655 w 2772385"/>
              <a:gd name="connsiteY33" fmla="*/ 3581168 h 3811169"/>
              <a:gd name="connsiteX34" fmla="*/ 639753 w 2772385"/>
              <a:gd name="connsiteY34" fmla="*/ 3575558 h 3811169"/>
              <a:gd name="connsiteX35" fmla="*/ 684632 w 2772385"/>
              <a:gd name="connsiteY35" fmla="*/ 3698974 h 3811169"/>
              <a:gd name="connsiteX36" fmla="*/ 768779 w 2772385"/>
              <a:gd name="connsiteY36" fmla="*/ 3704584 h 3811169"/>
              <a:gd name="connsiteX37" fmla="*/ 774389 w 2772385"/>
              <a:gd name="connsiteY37" fmla="*/ 3474581 h 3811169"/>
              <a:gd name="connsiteX38" fmla="*/ 740730 w 2772385"/>
              <a:gd name="connsiteY38" fmla="*/ 3205310 h 3811169"/>
              <a:gd name="connsiteX39" fmla="*/ 897805 w 2772385"/>
              <a:gd name="connsiteY39" fmla="*/ 2627499 h 3811169"/>
              <a:gd name="connsiteX40" fmla="*/ 1161466 w 2772385"/>
              <a:gd name="connsiteY40" fmla="*/ 2520912 h 3811169"/>
              <a:gd name="connsiteX41" fmla="*/ 1526104 w 2772385"/>
              <a:gd name="connsiteY41" fmla="*/ 2627499 h 3811169"/>
              <a:gd name="connsiteX42" fmla="*/ 1587812 w 2772385"/>
              <a:gd name="connsiteY42" fmla="*/ 2627499 h 3811169"/>
              <a:gd name="connsiteX43" fmla="*/ 1643910 w 2772385"/>
              <a:gd name="connsiteY43" fmla="*/ 2728476 h 3811169"/>
              <a:gd name="connsiteX44" fmla="*/ 1795375 w 2772385"/>
              <a:gd name="connsiteY44" fmla="*/ 2762134 h 3811169"/>
              <a:gd name="connsiteX45" fmla="*/ 1806595 w 2772385"/>
              <a:gd name="connsiteY45" fmla="*/ 2795793 h 3811169"/>
              <a:gd name="connsiteX46" fmla="*/ 1767326 w 2772385"/>
              <a:gd name="connsiteY46" fmla="*/ 2997747 h 3811169"/>
              <a:gd name="connsiteX47" fmla="*/ 1744887 w 2772385"/>
              <a:gd name="connsiteY47" fmla="*/ 3323116 h 3811169"/>
              <a:gd name="connsiteX48" fmla="*/ 1537324 w 2772385"/>
              <a:gd name="connsiteY48" fmla="*/ 3345555 h 3811169"/>
              <a:gd name="connsiteX49" fmla="*/ 1200735 w 2772385"/>
              <a:gd name="connsiteY49" fmla="*/ 3396044 h 3811169"/>
              <a:gd name="connsiteX50" fmla="*/ 1172686 w 2772385"/>
              <a:gd name="connsiteY50" fmla="*/ 3468971 h 3811169"/>
              <a:gd name="connsiteX51" fmla="*/ 1110978 w 2772385"/>
              <a:gd name="connsiteY51" fmla="*/ 3497020 h 3811169"/>
              <a:gd name="connsiteX52" fmla="*/ 1139027 w 2772385"/>
              <a:gd name="connsiteY52" fmla="*/ 3631656 h 3811169"/>
              <a:gd name="connsiteX53" fmla="*/ 1279272 w 2772385"/>
              <a:gd name="connsiteY53" fmla="*/ 3637266 h 3811169"/>
              <a:gd name="connsiteX54" fmla="*/ 1273662 w 2772385"/>
              <a:gd name="connsiteY54" fmla="*/ 3485801 h 3811169"/>
              <a:gd name="connsiteX55" fmla="*/ 1453176 w 2772385"/>
              <a:gd name="connsiteY55" fmla="*/ 3497020 h 3811169"/>
              <a:gd name="connsiteX56" fmla="*/ 1425127 w 2772385"/>
              <a:gd name="connsiteY56" fmla="*/ 3575558 h 3811169"/>
              <a:gd name="connsiteX57" fmla="*/ 1397078 w 2772385"/>
              <a:gd name="connsiteY57" fmla="*/ 3637266 h 3811169"/>
              <a:gd name="connsiteX58" fmla="*/ 1312931 w 2772385"/>
              <a:gd name="connsiteY58" fmla="*/ 3654095 h 3811169"/>
              <a:gd name="connsiteX59" fmla="*/ 1447567 w 2772385"/>
              <a:gd name="connsiteY59" fmla="*/ 3777511 h 3811169"/>
              <a:gd name="connsiteX60" fmla="*/ 1514884 w 2772385"/>
              <a:gd name="connsiteY60" fmla="*/ 3642876 h 3811169"/>
              <a:gd name="connsiteX61" fmla="*/ 1817814 w 2772385"/>
              <a:gd name="connsiteY61" fmla="*/ 3541899 h 3811169"/>
              <a:gd name="connsiteX62" fmla="*/ 2154403 w 2772385"/>
              <a:gd name="connsiteY62" fmla="*/ 3614826 h 3811169"/>
              <a:gd name="connsiteX63" fmla="*/ 2109525 w 2772385"/>
              <a:gd name="connsiteY63" fmla="*/ 3715803 h 3811169"/>
              <a:gd name="connsiteX64" fmla="*/ 2204892 w 2772385"/>
              <a:gd name="connsiteY64" fmla="*/ 3783121 h 3811169"/>
              <a:gd name="connsiteX65" fmla="*/ 2277819 w 2772385"/>
              <a:gd name="connsiteY65" fmla="*/ 3732633 h 3811169"/>
              <a:gd name="connsiteX66" fmla="*/ 2266600 w 2772385"/>
              <a:gd name="connsiteY66" fmla="*/ 3637266 h 3811169"/>
              <a:gd name="connsiteX67" fmla="*/ 2446114 w 2772385"/>
              <a:gd name="connsiteY67" fmla="*/ 3558728 h 3811169"/>
              <a:gd name="connsiteX68" fmla="*/ 2429284 w 2772385"/>
              <a:gd name="connsiteY68" fmla="*/ 3384824 h 3811169"/>
              <a:gd name="connsiteX69" fmla="*/ 1924401 w 2772385"/>
              <a:gd name="connsiteY69" fmla="*/ 3356775 h 3811169"/>
              <a:gd name="connsiteX70" fmla="*/ 1913181 w 2772385"/>
              <a:gd name="connsiteY70" fmla="*/ 3031406 h 3811169"/>
              <a:gd name="connsiteX71" fmla="*/ 1879522 w 2772385"/>
              <a:gd name="connsiteY71" fmla="*/ 3014576 h 3811169"/>
              <a:gd name="connsiteX72" fmla="*/ 1901962 w 2772385"/>
              <a:gd name="connsiteY72" fmla="*/ 2835062 h 3811169"/>
              <a:gd name="connsiteX73" fmla="*/ 1857083 w 2772385"/>
              <a:gd name="connsiteY73" fmla="*/ 2773354 h 3811169"/>
              <a:gd name="connsiteX74" fmla="*/ 2103915 w 2772385"/>
              <a:gd name="connsiteY74" fmla="*/ 2717256 h 3811169"/>
              <a:gd name="connsiteX75" fmla="*/ 2126354 w 2772385"/>
              <a:gd name="connsiteY75" fmla="*/ 2588230 h 3811169"/>
              <a:gd name="connsiteX76" fmla="*/ 2367576 w 2772385"/>
              <a:gd name="connsiteY76" fmla="*/ 2621889 h 3811169"/>
              <a:gd name="connsiteX77" fmla="*/ 2591969 w 2772385"/>
              <a:gd name="connsiteY77" fmla="*/ 2032858 h 3811169"/>
              <a:gd name="connsiteX78" fmla="*/ 2547090 w 2772385"/>
              <a:gd name="connsiteY78" fmla="*/ 1948711 h 3811169"/>
              <a:gd name="connsiteX79" fmla="*/ 2692946 w 2772385"/>
              <a:gd name="connsiteY79" fmla="*/ 1460657 h 3811169"/>
              <a:gd name="connsiteX80" fmla="*/ 2636848 w 2772385"/>
              <a:gd name="connsiteY80" fmla="*/ 1354071 h 3811169"/>
              <a:gd name="connsiteX81" fmla="*/ 2479772 w 2772385"/>
              <a:gd name="connsiteY81" fmla="*/ 798699 h 3811169"/>
              <a:gd name="connsiteX82" fmla="*/ 2737825 w 2772385"/>
              <a:gd name="connsiteY82" fmla="*/ 675283 h 3811169"/>
              <a:gd name="connsiteX83" fmla="*/ 2709775 w 2772385"/>
              <a:gd name="connsiteY83" fmla="*/ 434061 h 3811169"/>
              <a:gd name="connsiteX84" fmla="*/ 2625628 w 2772385"/>
              <a:gd name="connsiteY84" fmla="*/ 86253 h 3811169"/>
              <a:gd name="connsiteX0" fmla="*/ 2625628 w 2772385"/>
              <a:gd name="connsiteY0" fmla="*/ 86253 h 3811169"/>
              <a:gd name="connsiteX1" fmla="*/ 2429284 w 2772385"/>
              <a:gd name="connsiteY1" fmla="*/ 2105 h 3811169"/>
              <a:gd name="connsiteX2" fmla="*/ 2188062 w 2772385"/>
              <a:gd name="connsiteY2" fmla="*/ 159180 h 3811169"/>
              <a:gd name="connsiteX3" fmla="*/ 2087086 w 2772385"/>
              <a:gd name="connsiteY3" fmla="*/ 198449 h 3811169"/>
              <a:gd name="connsiteX4" fmla="*/ 2137574 w 2772385"/>
              <a:gd name="connsiteY4" fmla="*/ 288206 h 3811169"/>
              <a:gd name="connsiteX5" fmla="*/ 2025378 w 2772385"/>
              <a:gd name="connsiteY5" fmla="*/ 450890 h 3811169"/>
              <a:gd name="connsiteX6" fmla="*/ 2131966 w 2772385"/>
              <a:gd name="connsiteY6" fmla="*/ 585526 h 3811169"/>
              <a:gd name="connsiteX7" fmla="*/ 2154403 w 2772385"/>
              <a:gd name="connsiteY7" fmla="*/ 708942 h 3811169"/>
              <a:gd name="connsiteX8" fmla="*/ 2025378 w 2772385"/>
              <a:gd name="connsiteY8" fmla="*/ 753820 h 3811169"/>
              <a:gd name="connsiteX9" fmla="*/ 1991719 w 2772385"/>
              <a:gd name="connsiteY9" fmla="*/ 821138 h 3811169"/>
              <a:gd name="connsiteX10" fmla="*/ 1991719 w 2772385"/>
              <a:gd name="connsiteY10" fmla="*/ 708942 h 3811169"/>
              <a:gd name="connsiteX11" fmla="*/ 1941230 w 2772385"/>
              <a:gd name="connsiteY11" fmla="*/ 669673 h 3811169"/>
              <a:gd name="connsiteX12" fmla="*/ 1778546 w 2772385"/>
              <a:gd name="connsiteY12" fmla="*/ 770649 h 3811169"/>
              <a:gd name="connsiteX13" fmla="*/ 1397078 w 2772385"/>
              <a:gd name="connsiteY13" fmla="*/ 579916 h 3811169"/>
              <a:gd name="connsiteX14" fmla="*/ 1660739 w 2772385"/>
              <a:gd name="connsiteY14" fmla="*/ 1129678 h 3811169"/>
              <a:gd name="connsiteX15" fmla="*/ 1795375 w 2772385"/>
              <a:gd name="connsiteY15" fmla="*/ 1225045 h 3811169"/>
              <a:gd name="connsiteX16" fmla="*/ 1643910 w 2772385"/>
              <a:gd name="connsiteY16" fmla="*/ 1449437 h 3811169"/>
              <a:gd name="connsiteX17" fmla="*/ 1722448 w 2772385"/>
              <a:gd name="connsiteY17" fmla="*/ 1668220 h 3811169"/>
              <a:gd name="connsiteX18" fmla="*/ 1812205 w 2772385"/>
              <a:gd name="connsiteY18" fmla="*/ 1662611 h 3811169"/>
              <a:gd name="connsiteX19" fmla="*/ 1621470 w 2772385"/>
              <a:gd name="connsiteY19" fmla="*/ 1858954 h 3811169"/>
              <a:gd name="connsiteX20" fmla="*/ 909024 w 2772385"/>
              <a:gd name="connsiteY20" fmla="*/ 1578463 h 3811169"/>
              <a:gd name="connsiteX21" fmla="*/ 454629 w 2772385"/>
              <a:gd name="connsiteY21" fmla="*/ 2605060 h 3811169"/>
              <a:gd name="connsiteX22" fmla="*/ 258286 w 2772385"/>
              <a:gd name="connsiteY22" fmla="*/ 2812623 h 3811169"/>
              <a:gd name="connsiteX23" fmla="*/ 39503 w 2772385"/>
              <a:gd name="connsiteY23" fmla="*/ 2857501 h 3811169"/>
              <a:gd name="connsiteX24" fmla="*/ 28282 w 2772385"/>
              <a:gd name="connsiteY24" fmla="*/ 2975307 h 3811169"/>
              <a:gd name="connsiteX25" fmla="*/ 258285 w 2772385"/>
              <a:gd name="connsiteY25" fmla="*/ 3087504 h 3811169"/>
              <a:gd name="connsiteX26" fmla="*/ 527559 w 2772385"/>
              <a:gd name="connsiteY26" fmla="*/ 2986527 h 3811169"/>
              <a:gd name="connsiteX27" fmla="*/ 488288 w 2772385"/>
              <a:gd name="connsiteY27" fmla="*/ 3154821 h 3811169"/>
              <a:gd name="connsiteX28" fmla="*/ 561215 w 2772385"/>
              <a:gd name="connsiteY28" fmla="*/ 3194090 h 3811169"/>
              <a:gd name="connsiteX29" fmla="*/ 381702 w 2772385"/>
              <a:gd name="connsiteY29" fmla="*/ 3592387 h 3811169"/>
              <a:gd name="connsiteX30" fmla="*/ 213408 w 2772385"/>
              <a:gd name="connsiteY30" fmla="*/ 3698973 h 3811169"/>
              <a:gd name="connsiteX31" fmla="*/ 280726 w 2772385"/>
              <a:gd name="connsiteY31" fmla="*/ 3811169 h 3811169"/>
              <a:gd name="connsiteX32" fmla="*/ 549996 w 2772385"/>
              <a:gd name="connsiteY32" fmla="*/ 3788731 h 3811169"/>
              <a:gd name="connsiteX33" fmla="*/ 583655 w 2772385"/>
              <a:gd name="connsiteY33" fmla="*/ 3581168 h 3811169"/>
              <a:gd name="connsiteX34" fmla="*/ 639753 w 2772385"/>
              <a:gd name="connsiteY34" fmla="*/ 3575558 h 3811169"/>
              <a:gd name="connsiteX35" fmla="*/ 684632 w 2772385"/>
              <a:gd name="connsiteY35" fmla="*/ 3698974 h 3811169"/>
              <a:gd name="connsiteX36" fmla="*/ 768779 w 2772385"/>
              <a:gd name="connsiteY36" fmla="*/ 3704584 h 3811169"/>
              <a:gd name="connsiteX37" fmla="*/ 774389 w 2772385"/>
              <a:gd name="connsiteY37" fmla="*/ 3474581 h 3811169"/>
              <a:gd name="connsiteX38" fmla="*/ 740730 w 2772385"/>
              <a:gd name="connsiteY38" fmla="*/ 3205310 h 3811169"/>
              <a:gd name="connsiteX39" fmla="*/ 897805 w 2772385"/>
              <a:gd name="connsiteY39" fmla="*/ 2627499 h 3811169"/>
              <a:gd name="connsiteX40" fmla="*/ 1161466 w 2772385"/>
              <a:gd name="connsiteY40" fmla="*/ 2520912 h 3811169"/>
              <a:gd name="connsiteX41" fmla="*/ 1526104 w 2772385"/>
              <a:gd name="connsiteY41" fmla="*/ 2627499 h 3811169"/>
              <a:gd name="connsiteX42" fmla="*/ 1587812 w 2772385"/>
              <a:gd name="connsiteY42" fmla="*/ 2627499 h 3811169"/>
              <a:gd name="connsiteX43" fmla="*/ 1643910 w 2772385"/>
              <a:gd name="connsiteY43" fmla="*/ 2728476 h 3811169"/>
              <a:gd name="connsiteX44" fmla="*/ 1795375 w 2772385"/>
              <a:gd name="connsiteY44" fmla="*/ 2762134 h 3811169"/>
              <a:gd name="connsiteX45" fmla="*/ 1806595 w 2772385"/>
              <a:gd name="connsiteY45" fmla="*/ 2795793 h 3811169"/>
              <a:gd name="connsiteX46" fmla="*/ 1767326 w 2772385"/>
              <a:gd name="connsiteY46" fmla="*/ 2997747 h 3811169"/>
              <a:gd name="connsiteX47" fmla="*/ 1744887 w 2772385"/>
              <a:gd name="connsiteY47" fmla="*/ 3323116 h 3811169"/>
              <a:gd name="connsiteX48" fmla="*/ 1537324 w 2772385"/>
              <a:gd name="connsiteY48" fmla="*/ 3345555 h 3811169"/>
              <a:gd name="connsiteX49" fmla="*/ 1200735 w 2772385"/>
              <a:gd name="connsiteY49" fmla="*/ 3396044 h 3811169"/>
              <a:gd name="connsiteX50" fmla="*/ 1172686 w 2772385"/>
              <a:gd name="connsiteY50" fmla="*/ 3468971 h 3811169"/>
              <a:gd name="connsiteX51" fmla="*/ 1110978 w 2772385"/>
              <a:gd name="connsiteY51" fmla="*/ 3497020 h 3811169"/>
              <a:gd name="connsiteX52" fmla="*/ 1139027 w 2772385"/>
              <a:gd name="connsiteY52" fmla="*/ 3631656 h 3811169"/>
              <a:gd name="connsiteX53" fmla="*/ 1279272 w 2772385"/>
              <a:gd name="connsiteY53" fmla="*/ 3637266 h 3811169"/>
              <a:gd name="connsiteX54" fmla="*/ 1273662 w 2772385"/>
              <a:gd name="connsiteY54" fmla="*/ 3485801 h 3811169"/>
              <a:gd name="connsiteX55" fmla="*/ 1453176 w 2772385"/>
              <a:gd name="connsiteY55" fmla="*/ 3497020 h 3811169"/>
              <a:gd name="connsiteX56" fmla="*/ 1425127 w 2772385"/>
              <a:gd name="connsiteY56" fmla="*/ 3575558 h 3811169"/>
              <a:gd name="connsiteX57" fmla="*/ 1397078 w 2772385"/>
              <a:gd name="connsiteY57" fmla="*/ 3637266 h 3811169"/>
              <a:gd name="connsiteX58" fmla="*/ 1312931 w 2772385"/>
              <a:gd name="connsiteY58" fmla="*/ 3654095 h 3811169"/>
              <a:gd name="connsiteX59" fmla="*/ 1447567 w 2772385"/>
              <a:gd name="connsiteY59" fmla="*/ 3777511 h 3811169"/>
              <a:gd name="connsiteX60" fmla="*/ 1514884 w 2772385"/>
              <a:gd name="connsiteY60" fmla="*/ 3642876 h 3811169"/>
              <a:gd name="connsiteX61" fmla="*/ 1817814 w 2772385"/>
              <a:gd name="connsiteY61" fmla="*/ 3541899 h 3811169"/>
              <a:gd name="connsiteX62" fmla="*/ 2154403 w 2772385"/>
              <a:gd name="connsiteY62" fmla="*/ 3614826 h 3811169"/>
              <a:gd name="connsiteX63" fmla="*/ 2109525 w 2772385"/>
              <a:gd name="connsiteY63" fmla="*/ 3715803 h 3811169"/>
              <a:gd name="connsiteX64" fmla="*/ 2204892 w 2772385"/>
              <a:gd name="connsiteY64" fmla="*/ 3783121 h 3811169"/>
              <a:gd name="connsiteX65" fmla="*/ 2277819 w 2772385"/>
              <a:gd name="connsiteY65" fmla="*/ 3732633 h 3811169"/>
              <a:gd name="connsiteX66" fmla="*/ 2266600 w 2772385"/>
              <a:gd name="connsiteY66" fmla="*/ 3637266 h 3811169"/>
              <a:gd name="connsiteX67" fmla="*/ 2446114 w 2772385"/>
              <a:gd name="connsiteY67" fmla="*/ 3558728 h 3811169"/>
              <a:gd name="connsiteX68" fmla="*/ 2429284 w 2772385"/>
              <a:gd name="connsiteY68" fmla="*/ 3384824 h 3811169"/>
              <a:gd name="connsiteX69" fmla="*/ 1924401 w 2772385"/>
              <a:gd name="connsiteY69" fmla="*/ 3356775 h 3811169"/>
              <a:gd name="connsiteX70" fmla="*/ 1913181 w 2772385"/>
              <a:gd name="connsiteY70" fmla="*/ 3031406 h 3811169"/>
              <a:gd name="connsiteX71" fmla="*/ 1879522 w 2772385"/>
              <a:gd name="connsiteY71" fmla="*/ 3014576 h 3811169"/>
              <a:gd name="connsiteX72" fmla="*/ 1901962 w 2772385"/>
              <a:gd name="connsiteY72" fmla="*/ 2835062 h 3811169"/>
              <a:gd name="connsiteX73" fmla="*/ 1857083 w 2772385"/>
              <a:gd name="connsiteY73" fmla="*/ 2773354 h 3811169"/>
              <a:gd name="connsiteX74" fmla="*/ 2103915 w 2772385"/>
              <a:gd name="connsiteY74" fmla="*/ 2717256 h 3811169"/>
              <a:gd name="connsiteX75" fmla="*/ 2126354 w 2772385"/>
              <a:gd name="connsiteY75" fmla="*/ 2588230 h 3811169"/>
              <a:gd name="connsiteX76" fmla="*/ 2367576 w 2772385"/>
              <a:gd name="connsiteY76" fmla="*/ 2621889 h 3811169"/>
              <a:gd name="connsiteX77" fmla="*/ 2591969 w 2772385"/>
              <a:gd name="connsiteY77" fmla="*/ 2032858 h 3811169"/>
              <a:gd name="connsiteX78" fmla="*/ 2547090 w 2772385"/>
              <a:gd name="connsiteY78" fmla="*/ 1948711 h 3811169"/>
              <a:gd name="connsiteX79" fmla="*/ 2692946 w 2772385"/>
              <a:gd name="connsiteY79" fmla="*/ 1460657 h 3811169"/>
              <a:gd name="connsiteX80" fmla="*/ 2636848 w 2772385"/>
              <a:gd name="connsiteY80" fmla="*/ 1354071 h 3811169"/>
              <a:gd name="connsiteX81" fmla="*/ 2479772 w 2772385"/>
              <a:gd name="connsiteY81" fmla="*/ 798699 h 3811169"/>
              <a:gd name="connsiteX82" fmla="*/ 2737825 w 2772385"/>
              <a:gd name="connsiteY82" fmla="*/ 675283 h 3811169"/>
              <a:gd name="connsiteX83" fmla="*/ 2709775 w 2772385"/>
              <a:gd name="connsiteY83" fmla="*/ 434061 h 3811169"/>
              <a:gd name="connsiteX84" fmla="*/ 2625628 w 2772385"/>
              <a:gd name="connsiteY84" fmla="*/ 86253 h 3811169"/>
              <a:gd name="connsiteX0" fmla="*/ 2625628 w 2772385"/>
              <a:gd name="connsiteY0" fmla="*/ 86253 h 3811169"/>
              <a:gd name="connsiteX1" fmla="*/ 2429284 w 2772385"/>
              <a:gd name="connsiteY1" fmla="*/ 2105 h 3811169"/>
              <a:gd name="connsiteX2" fmla="*/ 2188062 w 2772385"/>
              <a:gd name="connsiteY2" fmla="*/ 159180 h 3811169"/>
              <a:gd name="connsiteX3" fmla="*/ 2087086 w 2772385"/>
              <a:gd name="connsiteY3" fmla="*/ 198449 h 3811169"/>
              <a:gd name="connsiteX4" fmla="*/ 2137574 w 2772385"/>
              <a:gd name="connsiteY4" fmla="*/ 288206 h 3811169"/>
              <a:gd name="connsiteX5" fmla="*/ 2025378 w 2772385"/>
              <a:gd name="connsiteY5" fmla="*/ 450890 h 3811169"/>
              <a:gd name="connsiteX6" fmla="*/ 2131966 w 2772385"/>
              <a:gd name="connsiteY6" fmla="*/ 585526 h 3811169"/>
              <a:gd name="connsiteX7" fmla="*/ 2154403 w 2772385"/>
              <a:gd name="connsiteY7" fmla="*/ 708942 h 3811169"/>
              <a:gd name="connsiteX8" fmla="*/ 2025378 w 2772385"/>
              <a:gd name="connsiteY8" fmla="*/ 753820 h 3811169"/>
              <a:gd name="connsiteX9" fmla="*/ 1991719 w 2772385"/>
              <a:gd name="connsiteY9" fmla="*/ 821138 h 3811169"/>
              <a:gd name="connsiteX10" fmla="*/ 1991719 w 2772385"/>
              <a:gd name="connsiteY10" fmla="*/ 708942 h 3811169"/>
              <a:gd name="connsiteX11" fmla="*/ 1941230 w 2772385"/>
              <a:gd name="connsiteY11" fmla="*/ 669673 h 3811169"/>
              <a:gd name="connsiteX12" fmla="*/ 1778546 w 2772385"/>
              <a:gd name="connsiteY12" fmla="*/ 770649 h 3811169"/>
              <a:gd name="connsiteX13" fmla="*/ 1397078 w 2772385"/>
              <a:gd name="connsiteY13" fmla="*/ 579916 h 3811169"/>
              <a:gd name="connsiteX14" fmla="*/ 1660739 w 2772385"/>
              <a:gd name="connsiteY14" fmla="*/ 1129678 h 3811169"/>
              <a:gd name="connsiteX15" fmla="*/ 1795375 w 2772385"/>
              <a:gd name="connsiteY15" fmla="*/ 1225045 h 3811169"/>
              <a:gd name="connsiteX16" fmla="*/ 1643910 w 2772385"/>
              <a:gd name="connsiteY16" fmla="*/ 1449437 h 3811169"/>
              <a:gd name="connsiteX17" fmla="*/ 1722448 w 2772385"/>
              <a:gd name="connsiteY17" fmla="*/ 1668220 h 3811169"/>
              <a:gd name="connsiteX18" fmla="*/ 1812205 w 2772385"/>
              <a:gd name="connsiteY18" fmla="*/ 1662611 h 3811169"/>
              <a:gd name="connsiteX19" fmla="*/ 1621470 w 2772385"/>
              <a:gd name="connsiteY19" fmla="*/ 1858954 h 3811169"/>
              <a:gd name="connsiteX20" fmla="*/ 909024 w 2772385"/>
              <a:gd name="connsiteY20" fmla="*/ 1578463 h 3811169"/>
              <a:gd name="connsiteX21" fmla="*/ 454629 w 2772385"/>
              <a:gd name="connsiteY21" fmla="*/ 2605060 h 3811169"/>
              <a:gd name="connsiteX22" fmla="*/ 258286 w 2772385"/>
              <a:gd name="connsiteY22" fmla="*/ 2812623 h 3811169"/>
              <a:gd name="connsiteX23" fmla="*/ 39503 w 2772385"/>
              <a:gd name="connsiteY23" fmla="*/ 2857501 h 3811169"/>
              <a:gd name="connsiteX24" fmla="*/ 28282 w 2772385"/>
              <a:gd name="connsiteY24" fmla="*/ 2975307 h 3811169"/>
              <a:gd name="connsiteX25" fmla="*/ 258285 w 2772385"/>
              <a:gd name="connsiteY25" fmla="*/ 3087504 h 3811169"/>
              <a:gd name="connsiteX26" fmla="*/ 527559 w 2772385"/>
              <a:gd name="connsiteY26" fmla="*/ 2986527 h 3811169"/>
              <a:gd name="connsiteX27" fmla="*/ 488288 w 2772385"/>
              <a:gd name="connsiteY27" fmla="*/ 3154821 h 3811169"/>
              <a:gd name="connsiteX28" fmla="*/ 561215 w 2772385"/>
              <a:gd name="connsiteY28" fmla="*/ 3194090 h 3811169"/>
              <a:gd name="connsiteX29" fmla="*/ 381702 w 2772385"/>
              <a:gd name="connsiteY29" fmla="*/ 3592387 h 3811169"/>
              <a:gd name="connsiteX30" fmla="*/ 213408 w 2772385"/>
              <a:gd name="connsiteY30" fmla="*/ 3698973 h 3811169"/>
              <a:gd name="connsiteX31" fmla="*/ 280726 w 2772385"/>
              <a:gd name="connsiteY31" fmla="*/ 3811169 h 3811169"/>
              <a:gd name="connsiteX32" fmla="*/ 549996 w 2772385"/>
              <a:gd name="connsiteY32" fmla="*/ 3788731 h 3811169"/>
              <a:gd name="connsiteX33" fmla="*/ 583655 w 2772385"/>
              <a:gd name="connsiteY33" fmla="*/ 3581168 h 3811169"/>
              <a:gd name="connsiteX34" fmla="*/ 639753 w 2772385"/>
              <a:gd name="connsiteY34" fmla="*/ 3575558 h 3811169"/>
              <a:gd name="connsiteX35" fmla="*/ 684632 w 2772385"/>
              <a:gd name="connsiteY35" fmla="*/ 3698974 h 3811169"/>
              <a:gd name="connsiteX36" fmla="*/ 768779 w 2772385"/>
              <a:gd name="connsiteY36" fmla="*/ 3704584 h 3811169"/>
              <a:gd name="connsiteX37" fmla="*/ 774389 w 2772385"/>
              <a:gd name="connsiteY37" fmla="*/ 3474581 h 3811169"/>
              <a:gd name="connsiteX38" fmla="*/ 740730 w 2772385"/>
              <a:gd name="connsiteY38" fmla="*/ 3205310 h 3811169"/>
              <a:gd name="connsiteX39" fmla="*/ 897805 w 2772385"/>
              <a:gd name="connsiteY39" fmla="*/ 2627499 h 3811169"/>
              <a:gd name="connsiteX40" fmla="*/ 1161466 w 2772385"/>
              <a:gd name="connsiteY40" fmla="*/ 2520912 h 3811169"/>
              <a:gd name="connsiteX41" fmla="*/ 1526104 w 2772385"/>
              <a:gd name="connsiteY41" fmla="*/ 2627499 h 3811169"/>
              <a:gd name="connsiteX42" fmla="*/ 1587812 w 2772385"/>
              <a:gd name="connsiteY42" fmla="*/ 2627499 h 3811169"/>
              <a:gd name="connsiteX43" fmla="*/ 1643910 w 2772385"/>
              <a:gd name="connsiteY43" fmla="*/ 2728476 h 3811169"/>
              <a:gd name="connsiteX44" fmla="*/ 1795375 w 2772385"/>
              <a:gd name="connsiteY44" fmla="*/ 2762134 h 3811169"/>
              <a:gd name="connsiteX45" fmla="*/ 1806595 w 2772385"/>
              <a:gd name="connsiteY45" fmla="*/ 2795793 h 3811169"/>
              <a:gd name="connsiteX46" fmla="*/ 1767326 w 2772385"/>
              <a:gd name="connsiteY46" fmla="*/ 2997747 h 3811169"/>
              <a:gd name="connsiteX47" fmla="*/ 1744887 w 2772385"/>
              <a:gd name="connsiteY47" fmla="*/ 3323116 h 3811169"/>
              <a:gd name="connsiteX48" fmla="*/ 1537324 w 2772385"/>
              <a:gd name="connsiteY48" fmla="*/ 3345555 h 3811169"/>
              <a:gd name="connsiteX49" fmla="*/ 1200735 w 2772385"/>
              <a:gd name="connsiteY49" fmla="*/ 3396044 h 3811169"/>
              <a:gd name="connsiteX50" fmla="*/ 1172686 w 2772385"/>
              <a:gd name="connsiteY50" fmla="*/ 3468971 h 3811169"/>
              <a:gd name="connsiteX51" fmla="*/ 1110978 w 2772385"/>
              <a:gd name="connsiteY51" fmla="*/ 3497020 h 3811169"/>
              <a:gd name="connsiteX52" fmla="*/ 1139027 w 2772385"/>
              <a:gd name="connsiteY52" fmla="*/ 3631656 h 3811169"/>
              <a:gd name="connsiteX53" fmla="*/ 1279272 w 2772385"/>
              <a:gd name="connsiteY53" fmla="*/ 3637266 h 3811169"/>
              <a:gd name="connsiteX54" fmla="*/ 1273662 w 2772385"/>
              <a:gd name="connsiteY54" fmla="*/ 3485801 h 3811169"/>
              <a:gd name="connsiteX55" fmla="*/ 1453176 w 2772385"/>
              <a:gd name="connsiteY55" fmla="*/ 3497020 h 3811169"/>
              <a:gd name="connsiteX56" fmla="*/ 1425127 w 2772385"/>
              <a:gd name="connsiteY56" fmla="*/ 3575558 h 3811169"/>
              <a:gd name="connsiteX57" fmla="*/ 1397078 w 2772385"/>
              <a:gd name="connsiteY57" fmla="*/ 3637266 h 3811169"/>
              <a:gd name="connsiteX58" fmla="*/ 1312931 w 2772385"/>
              <a:gd name="connsiteY58" fmla="*/ 3654095 h 3811169"/>
              <a:gd name="connsiteX59" fmla="*/ 1447567 w 2772385"/>
              <a:gd name="connsiteY59" fmla="*/ 3777511 h 3811169"/>
              <a:gd name="connsiteX60" fmla="*/ 1514884 w 2772385"/>
              <a:gd name="connsiteY60" fmla="*/ 3642876 h 3811169"/>
              <a:gd name="connsiteX61" fmla="*/ 1817814 w 2772385"/>
              <a:gd name="connsiteY61" fmla="*/ 3541899 h 3811169"/>
              <a:gd name="connsiteX62" fmla="*/ 2154403 w 2772385"/>
              <a:gd name="connsiteY62" fmla="*/ 3614826 h 3811169"/>
              <a:gd name="connsiteX63" fmla="*/ 2109525 w 2772385"/>
              <a:gd name="connsiteY63" fmla="*/ 3715803 h 3811169"/>
              <a:gd name="connsiteX64" fmla="*/ 2204892 w 2772385"/>
              <a:gd name="connsiteY64" fmla="*/ 3783121 h 3811169"/>
              <a:gd name="connsiteX65" fmla="*/ 2277819 w 2772385"/>
              <a:gd name="connsiteY65" fmla="*/ 3732633 h 3811169"/>
              <a:gd name="connsiteX66" fmla="*/ 2266600 w 2772385"/>
              <a:gd name="connsiteY66" fmla="*/ 3637266 h 3811169"/>
              <a:gd name="connsiteX67" fmla="*/ 2446114 w 2772385"/>
              <a:gd name="connsiteY67" fmla="*/ 3558728 h 3811169"/>
              <a:gd name="connsiteX68" fmla="*/ 2429284 w 2772385"/>
              <a:gd name="connsiteY68" fmla="*/ 3384824 h 3811169"/>
              <a:gd name="connsiteX69" fmla="*/ 1924401 w 2772385"/>
              <a:gd name="connsiteY69" fmla="*/ 3356775 h 3811169"/>
              <a:gd name="connsiteX70" fmla="*/ 1913181 w 2772385"/>
              <a:gd name="connsiteY70" fmla="*/ 3031406 h 3811169"/>
              <a:gd name="connsiteX71" fmla="*/ 1879522 w 2772385"/>
              <a:gd name="connsiteY71" fmla="*/ 3014576 h 3811169"/>
              <a:gd name="connsiteX72" fmla="*/ 1901962 w 2772385"/>
              <a:gd name="connsiteY72" fmla="*/ 2835062 h 3811169"/>
              <a:gd name="connsiteX73" fmla="*/ 1857083 w 2772385"/>
              <a:gd name="connsiteY73" fmla="*/ 2773354 h 3811169"/>
              <a:gd name="connsiteX74" fmla="*/ 2103915 w 2772385"/>
              <a:gd name="connsiteY74" fmla="*/ 2717256 h 3811169"/>
              <a:gd name="connsiteX75" fmla="*/ 2126354 w 2772385"/>
              <a:gd name="connsiteY75" fmla="*/ 2588230 h 3811169"/>
              <a:gd name="connsiteX76" fmla="*/ 2367576 w 2772385"/>
              <a:gd name="connsiteY76" fmla="*/ 2621889 h 3811169"/>
              <a:gd name="connsiteX77" fmla="*/ 2591969 w 2772385"/>
              <a:gd name="connsiteY77" fmla="*/ 2032858 h 3811169"/>
              <a:gd name="connsiteX78" fmla="*/ 2547090 w 2772385"/>
              <a:gd name="connsiteY78" fmla="*/ 1948711 h 3811169"/>
              <a:gd name="connsiteX79" fmla="*/ 2692946 w 2772385"/>
              <a:gd name="connsiteY79" fmla="*/ 1460657 h 3811169"/>
              <a:gd name="connsiteX80" fmla="*/ 2636848 w 2772385"/>
              <a:gd name="connsiteY80" fmla="*/ 1354071 h 3811169"/>
              <a:gd name="connsiteX81" fmla="*/ 2479772 w 2772385"/>
              <a:gd name="connsiteY81" fmla="*/ 798699 h 3811169"/>
              <a:gd name="connsiteX82" fmla="*/ 2737825 w 2772385"/>
              <a:gd name="connsiteY82" fmla="*/ 675283 h 3811169"/>
              <a:gd name="connsiteX83" fmla="*/ 2709775 w 2772385"/>
              <a:gd name="connsiteY83" fmla="*/ 434061 h 3811169"/>
              <a:gd name="connsiteX84" fmla="*/ 2625628 w 2772385"/>
              <a:gd name="connsiteY84" fmla="*/ 86253 h 3811169"/>
              <a:gd name="connsiteX0" fmla="*/ 2625628 w 2772385"/>
              <a:gd name="connsiteY0" fmla="*/ 86253 h 3811169"/>
              <a:gd name="connsiteX1" fmla="*/ 2429284 w 2772385"/>
              <a:gd name="connsiteY1" fmla="*/ 2105 h 3811169"/>
              <a:gd name="connsiteX2" fmla="*/ 2188062 w 2772385"/>
              <a:gd name="connsiteY2" fmla="*/ 159180 h 3811169"/>
              <a:gd name="connsiteX3" fmla="*/ 2087086 w 2772385"/>
              <a:gd name="connsiteY3" fmla="*/ 198449 h 3811169"/>
              <a:gd name="connsiteX4" fmla="*/ 2137574 w 2772385"/>
              <a:gd name="connsiteY4" fmla="*/ 288206 h 3811169"/>
              <a:gd name="connsiteX5" fmla="*/ 2025378 w 2772385"/>
              <a:gd name="connsiteY5" fmla="*/ 450890 h 3811169"/>
              <a:gd name="connsiteX6" fmla="*/ 2131966 w 2772385"/>
              <a:gd name="connsiteY6" fmla="*/ 585526 h 3811169"/>
              <a:gd name="connsiteX7" fmla="*/ 2154403 w 2772385"/>
              <a:gd name="connsiteY7" fmla="*/ 708942 h 3811169"/>
              <a:gd name="connsiteX8" fmla="*/ 2025378 w 2772385"/>
              <a:gd name="connsiteY8" fmla="*/ 753820 h 3811169"/>
              <a:gd name="connsiteX9" fmla="*/ 1991719 w 2772385"/>
              <a:gd name="connsiteY9" fmla="*/ 821138 h 3811169"/>
              <a:gd name="connsiteX10" fmla="*/ 1991719 w 2772385"/>
              <a:gd name="connsiteY10" fmla="*/ 708942 h 3811169"/>
              <a:gd name="connsiteX11" fmla="*/ 1941230 w 2772385"/>
              <a:gd name="connsiteY11" fmla="*/ 669673 h 3811169"/>
              <a:gd name="connsiteX12" fmla="*/ 1778546 w 2772385"/>
              <a:gd name="connsiteY12" fmla="*/ 770649 h 3811169"/>
              <a:gd name="connsiteX13" fmla="*/ 1397078 w 2772385"/>
              <a:gd name="connsiteY13" fmla="*/ 579916 h 3811169"/>
              <a:gd name="connsiteX14" fmla="*/ 1660739 w 2772385"/>
              <a:gd name="connsiteY14" fmla="*/ 1129678 h 3811169"/>
              <a:gd name="connsiteX15" fmla="*/ 1795375 w 2772385"/>
              <a:gd name="connsiteY15" fmla="*/ 1225045 h 3811169"/>
              <a:gd name="connsiteX16" fmla="*/ 1643910 w 2772385"/>
              <a:gd name="connsiteY16" fmla="*/ 1449437 h 3811169"/>
              <a:gd name="connsiteX17" fmla="*/ 1722448 w 2772385"/>
              <a:gd name="connsiteY17" fmla="*/ 1668220 h 3811169"/>
              <a:gd name="connsiteX18" fmla="*/ 1812205 w 2772385"/>
              <a:gd name="connsiteY18" fmla="*/ 1662611 h 3811169"/>
              <a:gd name="connsiteX19" fmla="*/ 1621470 w 2772385"/>
              <a:gd name="connsiteY19" fmla="*/ 1858954 h 3811169"/>
              <a:gd name="connsiteX20" fmla="*/ 909024 w 2772385"/>
              <a:gd name="connsiteY20" fmla="*/ 1578463 h 3811169"/>
              <a:gd name="connsiteX21" fmla="*/ 454629 w 2772385"/>
              <a:gd name="connsiteY21" fmla="*/ 2605060 h 3811169"/>
              <a:gd name="connsiteX22" fmla="*/ 258286 w 2772385"/>
              <a:gd name="connsiteY22" fmla="*/ 2812623 h 3811169"/>
              <a:gd name="connsiteX23" fmla="*/ 39503 w 2772385"/>
              <a:gd name="connsiteY23" fmla="*/ 2857501 h 3811169"/>
              <a:gd name="connsiteX24" fmla="*/ 28282 w 2772385"/>
              <a:gd name="connsiteY24" fmla="*/ 2975307 h 3811169"/>
              <a:gd name="connsiteX25" fmla="*/ 258285 w 2772385"/>
              <a:gd name="connsiteY25" fmla="*/ 3087504 h 3811169"/>
              <a:gd name="connsiteX26" fmla="*/ 527559 w 2772385"/>
              <a:gd name="connsiteY26" fmla="*/ 2986527 h 3811169"/>
              <a:gd name="connsiteX27" fmla="*/ 488288 w 2772385"/>
              <a:gd name="connsiteY27" fmla="*/ 3154821 h 3811169"/>
              <a:gd name="connsiteX28" fmla="*/ 561215 w 2772385"/>
              <a:gd name="connsiteY28" fmla="*/ 3194090 h 3811169"/>
              <a:gd name="connsiteX29" fmla="*/ 381702 w 2772385"/>
              <a:gd name="connsiteY29" fmla="*/ 3592387 h 3811169"/>
              <a:gd name="connsiteX30" fmla="*/ 213408 w 2772385"/>
              <a:gd name="connsiteY30" fmla="*/ 3698973 h 3811169"/>
              <a:gd name="connsiteX31" fmla="*/ 280726 w 2772385"/>
              <a:gd name="connsiteY31" fmla="*/ 3811169 h 3811169"/>
              <a:gd name="connsiteX32" fmla="*/ 477068 w 2772385"/>
              <a:gd name="connsiteY32" fmla="*/ 3771902 h 3811169"/>
              <a:gd name="connsiteX33" fmla="*/ 583655 w 2772385"/>
              <a:gd name="connsiteY33" fmla="*/ 3581168 h 3811169"/>
              <a:gd name="connsiteX34" fmla="*/ 639753 w 2772385"/>
              <a:gd name="connsiteY34" fmla="*/ 3575558 h 3811169"/>
              <a:gd name="connsiteX35" fmla="*/ 684632 w 2772385"/>
              <a:gd name="connsiteY35" fmla="*/ 3698974 h 3811169"/>
              <a:gd name="connsiteX36" fmla="*/ 768779 w 2772385"/>
              <a:gd name="connsiteY36" fmla="*/ 3704584 h 3811169"/>
              <a:gd name="connsiteX37" fmla="*/ 774389 w 2772385"/>
              <a:gd name="connsiteY37" fmla="*/ 3474581 h 3811169"/>
              <a:gd name="connsiteX38" fmla="*/ 740730 w 2772385"/>
              <a:gd name="connsiteY38" fmla="*/ 3205310 h 3811169"/>
              <a:gd name="connsiteX39" fmla="*/ 897805 w 2772385"/>
              <a:gd name="connsiteY39" fmla="*/ 2627499 h 3811169"/>
              <a:gd name="connsiteX40" fmla="*/ 1161466 w 2772385"/>
              <a:gd name="connsiteY40" fmla="*/ 2520912 h 3811169"/>
              <a:gd name="connsiteX41" fmla="*/ 1526104 w 2772385"/>
              <a:gd name="connsiteY41" fmla="*/ 2627499 h 3811169"/>
              <a:gd name="connsiteX42" fmla="*/ 1587812 w 2772385"/>
              <a:gd name="connsiteY42" fmla="*/ 2627499 h 3811169"/>
              <a:gd name="connsiteX43" fmla="*/ 1643910 w 2772385"/>
              <a:gd name="connsiteY43" fmla="*/ 2728476 h 3811169"/>
              <a:gd name="connsiteX44" fmla="*/ 1795375 w 2772385"/>
              <a:gd name="connsiteY44" fmla="*/ 2762134 h 3811169"/>
              <a:gd name="connsiteX45" fmla="*/ 1806595 w 2772385"/>
              <a:gd name="connsiteY45" fmla="*/ 2795793 h 3811169"/>
              <a:gd name="connsiteX46" fmla="*/ 1767326 w 2772385"/>
              <a:gd name="connsiteY46" fmla="*/ 2997747 h 3811169"/>
              <a:gd name="connsiteX47" fmla="*/ 1744887 w 2772385"/>
              <a:gd name="connsiteY47" fmla="*/ 3323116 h 3811169"/>
              <a:gd name="connsiteX48" fmla="*/ 1537324 w 2772385"/>
              <a:gd name="connsiteY48" fmla="*/ 3345555 h 3811169"/>
              <a:gd name="connsiteX49" fmla="*/ 1200735 w 2772385"/>
              <a:gd name="connsiteY49" fmla="*/ 3396044 h 3811169"/>
              <a:gd name="connsiteX50" fmla="*/ 1172686 w 2772385"/>
              <a:gd name="connsiteY50" fmla="*/ 3468971 h 3811169"/>
              <a:gd name="connsiteX51" fmla="*/ 1110978 w 2772385"/>
              <a:gd name="connsiteY51" fmla="*/ 3497020 h 3811169"/>
              <a:gd name="connsiteX52" fmla="*/ 1139027 w 2772385"/>
              <a:gd name="connsiteY52" fmla="*/ 3631656 h 3811169"/>
              <a:gd name="connsiteX53" fmla="*/ 1279272 w 2772385"/>
              <a:gd name="connsiteY53" fmla="*/ 3637266 h 3811169"/>
              <a:gd name="connsiteX54" fmla="*/ 1273662 w 2772385"/>
              <a:gd name="connsiteY54" fmla="*/ 3485801 h 3811169"/>
              <a:gd name="connsiteX55" fmla="*/ 1453176 w 2772385"/>
              <a:gd name="connsiteY55" fmla="*/ 3497020 h 3811169"/>
              <a:gd name="connsiteX56" fmla="*/ 1425127 w 2772385"/>
              <a:gd name="connsiteY56" fmla="*/ 3575558 h 3811169"/>
              <a:gd name="connsiteX57" fmla="*/ 1397078 w 2772385"/>
              <a:gd name="connsiteY57" fmla="*/ 3637266 h 3811169"/>
              <a:gd name="connsiteX58" fmla="*/ 1312931 w 2772385"/>
              <a:gd name="connsiteY58" fmla="*/ 3654095 h 3811169"/>
              <a:gd name="connsiteX59" fmla="*/ 1447567 w 2772385"/>
              <a:gd name="connsiteY59" fmla="*/ 3777511 h 3811169"/>
              <a:gd name="connsiteX60" fmla="*/ 1514884 w 2772385"/>
              <a:gd name="connsiteY60" fmla="*/ 3642876 h 3811169"/>
              <a:gd name="connsiteX61" fmla="*/ 1817814 w 2772385"/>
              <a:gd name="connsiteY61" fmla="*/ 3541899 h 3811169"/>
              <a:gd name="connsiteX62" fmla="*/ 2154403 w 2772385"/>
              <a:gd name="connsiteY62" fmla="*/ 3614826 h 3811169"/>
              <a:gd name="connsiteX63" fmla="*/ 2109525 w 2772385"/>
              <a:gd name="connsiteY63" fmla="*/ 3715803 h 3811169"/>
              <a:gd name="connsiteX64" fmla="*/ 2204892 w 2772385"/>
              <a:gd name="connsiteY64" fmla="*/ 3783121 h 3811169"/>
              <a:gd name="connsiteX65" fmla="*/ 2277819 w 2772385"/>
              <a:gd name="connsiteY65" fmla="*/ 3732633 h 3811169"/>
              <a:gd name="connsiteX66" fmla="*/ 2266600 w 2772385"/>
              <a:gd name="connsiteY66" fmla="*/ 3637266 h 3811169"/>
              <a:gd name="connsiteX67" fmla="*/ 2446114 w 2772385"/>
              <a:gd name="connsiteY67" fmla="*/ 3558728 h 3811169"/>
              <a:gd name="connsiteX68" fmla="*/ 2429284 w 2772385"/>
              <a:gd name="connsiteY68" fmla="*/ 3384824 h 3811169"/>
              <a:gd name="connsiteX69" fmla="*/ 1924401 w 2772385"/>
              <a:gd name="connsiteY69" fmla="*/ 3356775 h 3811169"/>
              <a:gd name="connsiteX70" fmla="*/ 1913181 w 2772385"/>
              <a:gd name="connsiteY70" fmla="*/ 3031406 h 3811169"/>
              <a:gd name="connsiteX71" fmla="*/ 1879522 w 2772385"/>
              <a:gd name="connsiteY71" fmla="*/ 3014576 h 3811169"/>
              <a:gd name="connsiteX72" fmla="*/ 1901962 w 2772385"/>
              <a:gd name="connsiteY72" fmla="*/ 2835062 h 3811169"/>
              <a:gd name="connsiteX73" fmla="*/ 1857083 w 2772385"/>
              <a:gd name="connsiteY73" fmla="*/ 2773354 h 3811169"/>
              <a:gd name="connsiteX74" fmla="*/ 2103915 w 2772385"/>
              <a:gd name="connsiteY74" fmla="*/ 2717256 h 3811169"/>
              <a:gd name="connsiteX75" fmla="*/ 2126354 w 2772385"/>
              <a:gd name="connsiteY75" fmla="*/ 2588230 h 3811169"/>
              <a:gd name="connsiteX76" fmla="*/ 2367576 w 2772385"/>
              <a:gd name="connsiteY76" fmla="*/ 2621889 h 3811169"/>
              <a:gd name="connsiteX77" fmla="*/ 2591969 w 2772385"/>
              <a:gd name="connsiteY77" fmla="*/ 2032858 h 3811169"/>
              <a:gd name="connsiteX78" fmla="*/ 2547090 w 2772385"/>
              <a:gd name="connsiteY78" fmla="*/ 1948711 h 3811169"/>
              <a:gd name="connsiteX79" fmla="*/ 2692946 w 2772385"/>
              <a:gd name="connsiteY79" fmla="*/ 1460657 h 3811169"/>
              <a:gd name="connsiteX80" fmla="*/ 2636848 w 2772385"/>
              <a:gd name="connsiteY80" fmla="*/ 1354071 h 3811169"/>
              <a:gd name="connsiteX81" fmla="*/ 2479772 w 2772385"/>
              <a:gd name="connsiteY81" fmla="*/ 798699 h 3811169"/>
              <a:gd name="connsiteX82" fmla="*/ 2737825 w 2772385"/>
              <a:gd name="connsiteY82" fmla="*/ 675283 h 3811169"/>
              <a:gd name="connsiteX83" fmla="*/ 2709775 w 2772385"/>
              <a:gd name="connsiteY83" fmla="*/ 434061 h 3811169"/>
              <a:gd name="connsiteX84" fmla="*/ 2625628 w 2772385"/>
              <a:gd name="connsiteY84" fmla="*/ 86253 h 3811169"/>
              <a:gd name="connsiteX0" fmla="*/ 2625628 w 2772385"/>
              <a:gd name="connsiteY0" fmla="*/ 86253 h 3811169"/>
              <a:gd name="connsiteX1" fmla="*/ 2429284 w 2772385"/>
              <a:gd name="connsiteY1" fmla="*/ 2105 h 3811169"/>
              <a:gd name="connsiteX2" fmla="*/ 2188062 w 2772385"/>
              <a:gd name="connsiteY2" fmla="*/ 159180 h 3811169"/>
              <a:gd name="connsiteX3" fmla="*/ 2087086 w 2772385"/>
              <a:gd name="connsiteY3" fmla="*/ 198449 h 3811169"/>
              <a:gd name="connsiteX4" fmla="*/ 2137574 w 2772385"/>
              <a:gd name="connsiteY4" fmla="*/ 288206 h 3811169"/>
              <a:gd name="connsiteX5" fmla="*/ 2025378 w 2772385"/>
              <a:gd name="connsiteY5" fmla="*/ 450890 h 3811169"/>
              <a:gd name="connsiteX6" fmla="*/ 2131966 w 2772385"/>
              <a:gd name="connsiteY6" fmla="*/ 585526 h 3811169"/>
              <a:gd name="connsiteX7" fmla="*/ 2154403 w 2772385"/>
              <a:gd name="connsiteY7" fmla="*/ 708942 h 3811169"/>
              <a:gd name="connsiteX8" fmla="*/ 2025378 w 2772385"/>
              <a:gd name="connsiteY8" fmla="*/ 753820 h 3811169"/>
              <a:gd name="connsiteX9" fmla="*/ 1991719 w 2772385"/>
              <a:gd name="connsiteY9" fmla="*/ 821138 h 3811169"/>
              <a:gd name="connsiteX10" fmla="*/ 1991719 w 2772385"/>
              <a:gd name="connsiteY10" fmla="*/ 708942 h 3811169"/>
              <a:gd name="connsiteX11" fmla="*/ 1941230 w 2772385"/>
              <a:gd name="connsiteY11" fmla="*/ 669673 h 3811169"/>
              <a:gd name="connsiteX12" fmla="*/ 1778546 w 2772385"/>
              <a:gd name="connsiteY12" fmla="*/ 770649 h 3811169"/>
              <a:gd name="connsiteX13" fmla="*/ 1397078 w 2772385"/>
              <a:gd name="connsiteY13" fmla="*/ 579916 h 3811169"/>
              <a:gd name="connsiteX14" fmla="*/ 1660739 w 2772385"/>
              <a:gd name="connsiteY14" fmla="*/ 1129678 h 3811169"/>
              <a:gd name="connsiteX15" fmla="*/ 1795375 w 2772385"/>
              <a:gd name="connsiteY15" fmla="*/ 1225045 h 3811169"/>
              <a:gd name="connsiteX16" fmla="*/ 1643910 w 2772385"/>
              <a:gd name="connsiteY16" fmla="*/ 1449437 h 3811169"/>
              <a:gd name="connsiteX17" fmla="*/ 1722448 w 2772385"/>
              <a:gd name="connsiteY17" fmla="*/ 1668220 h 3811169"/>
              <a:gd name="connsiteX18" fmla="*/ 1812205 w 2772385"/>
              <a:gd name="connsiteY18" fmla="*/ 1662611 h 3811169"/>
              <a:gd name="connsiteX19" fmla="*/ 1621470 w 2772385"/>
              <a:gd name="connsiteY19" fmla="*/ 1858954 h 3811169"/>
              <a:gd name="connsiteX20" fmla="*/ 909024 w 2772385"/>
              <a:gd name="connsiteY20" fmla="*/ 1578463 h 3811169"/>
              <a:gd name="connsiteX21" fmla="*/ 454629 w 2772385"/>
              <a:gd name="connsiteY21" fmla="*/ 2605060 h 3811169"/>
              <a:gd name="connsiteX22" fmla="*/ 258286 w 2772385"/>
              <a:gd name="connsiteY22" fmla="*/ 2812623 h 3811169"/>
              <a:gd name="connsiteX23" fmla="*/ 39503 w 2772385"/>
              <a:gd name="connsiteY23" fmla="*/ 2857501 h 3811169"/>
              <a:gd name="connsiteX24" fmla="*/ 28282 w 2772385"/>
              <a:gd name="connsiteY24" fmla="*/ 2975307 h 3811169"/>
              <a:gd name="connsiteX25" fmla="*/ 258285 w 2772385"/>
              <a:gd name="connsiteY25" fmla="*/ 3087504 h 3811169"/>
              <a:gd name="connsiteX26" fmla="*/ 527559 w 2772385"/>
              <a:gd name="connsiteY26" fmla="*/ 2986527 h 3811169"/>
              <a:gd name="connsiteX27" fmla="*/ 488288 w 2772385"/>
              <a:gd name="connsiteY27" fmla="*/ 3154821 h 3811169"/>
              <a:gd name="connsiteX28" fmla="*/ 561215 w 2772385"/>
              <a:gd name="connsiteY28" fmla="*/ 3194090 h 3811169"/>
              <a:gd name="connsiteX29" fmla="*/ 381702 w 2772385"/>
              <a:gd name="connsiteY29" fmla="*/ 3592387 h 3811169"/>
              <a:gd name="connsiteX30" fmla="*/ 213408 w 2772385"/>
              <a:gd name="connsiteY30" fmla="*/ 3698973 h 3811169"/>
              <a:gd name="connsiteX31" fmla="*/ 280726 w 2772385"/>
              <a:gd name="connsiteY31" fmla="*/ 3811169 h 3811169"/>
              <a:gd name="connsiteX32" fmla="*/ 477068 w 2772385"/>
              <a:gd name="connsiteY32" fmla="*/ 3771902 h 3811169"/>
              <a:gd name="connsiteX33" fmla="*/ 583655 w 2772385"/>
              <a:gd name="connsiteY33" fmla="*/ 3581168 h 3811169"/>
              <a:gd name="connsiteX34" fmla="*/ 673412 w 2772385"/>
              <a:gd name="connsiteY34" fmla="*/ 3564338 h 3811169"/>
              <a:gd name="connsiteX35" fmla="*/ 684632 w 2772385"/>
              <a:gd name="connsiteY35" fmla="*/ 3698974 h 3811169"/>
              <a:gd name="connsiteX36" fmla="*/ 768779 w 2772385"/>
              <a:gd name="connsiteY36" fmla="*/ 3704584 h 3811169"/>
              <a:gd name="connsiteX37" fmla="*/ 774389 w 2772385"/>
              <a:gd name="connsiteY37" fmla="*/ 3474581 h 3811169"/>
              <a:gd name="connsiteX38" fmla="*/ 740730 w 2772385"/>
              <a:gd name="connsiteY38" fmla="*/ 3205310 h 3811169"/>
              <a:gd name="connsiteX39" fmla="*/ 897805 w 2772385"/>
              <a:gd name="connsiteY39" fmla="*/ 2627499 h 3811169"/>
              <a:gd name="connsiteX40" fmla="*/ 1161466 w 2772385"/>
              <a:gd name="connsiteY40" fmla="*/ 2520912 h 3811169"/>
              <a:gd name="connsiteX41" fmla="*/ 1526104 w 2772385"/>
              <a:gd name="connsiteY41" fmla="*/ 2627499 h 3811169"/>
              <a:gd name="connsiteX42" fmla="*/ 1587812 w 2772385"/>
              <a:gd name="connsiteY42" fmla="*/ 2627499 h 3811169"/>
              <a:gd name="connsiteX43" fmla="*/ 1643910 w 2772385"/>
              <a:gd name="connsiteY43" fmla="*/ 2728476 h 3811169"/>
              <a:gd name="connsiteX44" fmla="*/ 1795375 w 2772385"/>
              <a:gd name="connsiteY44" fmla="*/ 2762134 h 3811169"/>
              <a:gd name="connsiteX45" fmla="*/ 1806595 w 2772385"/>
              <a:gd name="connsiteY45" fmla="*/ 2795793 h 3811169"/>
              <a:gd name="connsiteX46" fmla="*/ 1767326 w 2772385"/>
              <a:gd name="connsiteY46" fmla="*/ 2997747 h 3811169"/>
              <a:gd name="connsiteX47" fmla="*/ 1744887 w 2772385"/>
              <a:gd name="connsiteY47" fmla="*/ 3323116 h 3811169"/>
              <a:gd name="connsiteX48" fmla="*/ 1537324 w 2772385"/>
              <a:gd name="connsiteY48" fmla="*/ 3345555 h 3811169"/>
              <a:gd name="connsiteX49" fmla="*/ 1200735 w 2772385"/>
              <a:gd name="connsiteY49" fmla="*/ 3396044 h 3811169"/>
              <a:gd name="connsiteX50" fmla="*/ 1172686 w 2772385"/>
              <a:gd name="connsiteY50" fmla="*/ 3468971 h 3811169"/>
              <a:gd name="connsiteX51" fmla="*/ 1110978 w 2772385"/>
              <a:gd name="connsiteY51" fmla="*/ 3497020 h 3811169"/>
              <a:gd name="connsiteX52" fmla="*/ 1139027 w 2772385"/>
              <a:gd name="connsiteY52" fmla="*/ 3631656 h 3811169"/>
              <a:gd name="connsiteX53" fmla="*/ 1279272 w 2772385"/>
              <a:gd name="connsiteY53" fmla="*/ 3637266 h 3811169"/>
              <a:gd name="connsiteX54" fmla="*/ 1273662 w 2772385"/>
              <a:gd name="connsiteY54" fmla="*/ 3485801 h 3811169"/>
              <a:gd name="connsiteX55" fmla="*/ 1453176 w 2772385"/>
              <a:gd name="connsiteY55" fmla="*/ 3497020 h 3811169"/>
              <a:gd name="connsiteX56" fmla="*/ 1425127 w 2772385"/>
              <a:gd name="connsiteY56" fmla="*/ 3575558 h 3811169"/>
              <a:gd name="connsiteX57" fmla="*/ 1397078 w 2772385"/>
              <a:gd name="connsiteY57" fmla="*/ 3637266 h 3811169"/>
              <a:gd name="connsiteX58" fmla="*/ 1312931 w 2772385"/>
              <a:gd name="connsiteY58" fmla="*/ 3654095 h 3811169"/>
              <a:gd name="connsiteX59" fmla="*/ 1447567 w 2772385"/>
              <a:gd name="connsiteY59" fmla="*/ 3777511 h 3811169"/>
              <a:gd name="connsiteX60" fmla="*/ 1514884 w 2772385"/>
              <a:gd name="connsiteY60" fmla="*/ 3642876 h 3811169"/>
              <a:gd name="connsiteX61" fmla="*/ 1817814 w 2772385"/>
              <a:gd name="connsiteY61" fmla="*/ 3541899 h 3811169"/>
              <a:gd name="connsiteX62" fmla="*/ 2154403 w 2772385"/>
              <a:gd name="connsiteY62" fmla="*/ 3614826 h 3811169"/>
              <a:gd name="connsiteX63" fmla="*/ 2109525 w 2772385"/>
              <a:gd name="connsiteY63" fmla="*/ 3715803 h 3811169"/>
              <a:gd name="connsiteX64" fmla="*/ 2204892 w 2772385"/>
              <a:gd name="connsiteY64" fmla="*/ 3783121 h 3811169"/>
              <a:gd name="connsiteX65" fmla="*/ 2277819 w 2772385"/>
              <a:gd name="connsiteY65" fmla="*/ 3732633 h 3811169"/>
              <a:gd name="connsiteX66" fmla="*/ 2266600 w 2772385"/>
              <a:gd name="connsiteY66" fmla="*/ 3637266 h 3811169"/>
              <a:gd name="connsiteX67" fmla="*/ 2446114 w 2772385"/>
              <a:gd name="connsiteY67" fmla="*/ 3558728 h 3811169"/>
              <a:gd name="connsiteX68" fmla="*/ 2429284 w 2772385"/>
              <a:gd name="connsiteY68" fmla="*/ 3384824 h 3811169"/>
              <a:gd name="connsiteX69" fmla="*/ 1924401 w 2772385"/>
              <a:gd name="connsiteY69" fmla="*/ 3356775 h 3811169"/>
              <a:gd name="connsiteX70" fmla="*/ 1913181 w 2772385"/>
              <a:gd name="connsiteY70" fmla="*/ 3031406 h 3811169"/>
              <a:gd name="connsiteX71" fmla="*/ 1879522 w 2772385"/>
              <a:gd name="connsiteY71" fmla="*/ 3014576 h 3811169"/>
              <a:gd name="connsiteX72" fmla="*/ 1901962 w 2772385"/>
              <a:gd name="connsiteY72" fmla="*/ 2835062 h 3811169"/>
              <a:gd name="connsiteX73" fmla="*/ 1857083 w 2772385"/>
              <a:gd name="connsiteY73" fmla="*/ 2773354 h 3811169"/>
              <a:gd name="connsiteX74" fmla="*/ 2103915 w 2772385"/>
              <a:gd name="connsiteY74" fmla="*/ 2717256 h 3811169"/>
              <a:gd name="connsiteX75" fmla="*/ 2126354 w 2772385"/>
              <a:gd name="connsiteY75" fmla="*/ 2588230 h 3811169"/>
              <a:gd name="connsiteX76" fmla="*/ 2367576 w 2772385"/>
              <a:gd name="connsiteY76" fmla="*/ 2621889 h 3811169"/>
              <a:gd name="connsiteX77" fmla="*/ 2591969 w 2772385"/>
              <a:gd name="connsiteY77" fmla="*/ 2032858 h 3811169"/>
              <a:gd name="connsiteX78" fmla="*/ 2547090 w 2772385"/>
              <a:gd name="connsiteY78" fmla="*/ 1948711 h 3811169"/>
              <a:gd name="connsiteX79" fmla="*/ 2692946 w 2772385"/>
              <a:gd name="connsiteY79" fmla="*/ 1460657 h 3811169"/>
              <a:gd name="connsiteX80" fmla="*/ 2636848 w 2772385"/>
              <a:gd name="connsiteY80" fmla="*/ 1354071 h 3811169"/>
              <a:gd name="connsiteX81" fmla="*/ 2479772 w 2772385"/>
              <a:gd name="connsiteY81" fmla="*/ 798699 h 3811169"/>
              <a:gd name="connsiteX82" fmla="*/ 2737825 w 2772385"/>
              <a:gd name="connsiteY82" fmla="*/ 675283 h 3811169"/>
              <a:gd name="connsiteX83" fmla="*/ 2709775 w 2772385"/>
              <a:gd name="connsiteY83" fmla="*/ 434061 h 3811169"/>
              <a:gd name="connsiteX84" fmla="*/ 2625628 w 2772385"/>
              <a:gd name="connsiteY84" fmla="*/ 86253 h 3811169"/>
              <a:gd name="connsiteX0" fmla="*/ 2625628 w 2772385"/>
              <a:gd name="connsiteY0" fmla="*/ 86253 h 3811169"/>
              <a:gd name="connsiteX1" fmla="*/ 2429284 w 2772385"/>
              <a:gd name="connsiteY1" fmla="*/ 2105 h 3811169"/>
              <a:gd name="connsiteX2" fmla="*/ 2188062 w 2772385"/>
              <a:gd name="connsiteY2" fmla="*/ 159180 h 3811169"/>
              <a:gd name="connsiteX3" fmla="*/ 2087086 w 2772385"/>
              <a:gd name="connsiteY3" fmla="*/ 198449 h 3811169"/>
              <a:gd name="connsiteX4" fmla="*/ 2137574 w 2772385"/>
              <a:gd name="connsiteY4" fmla="*/ 288206 h 3811169"/>
              <a:gd name="connsiteX5" fmla="*/ 2025378 w 2772385"/>
              <a:gd name="connsiteY5" fmla="*/ 450890 h 3811169"/>
              <a:gd name="connsiteX6" fmla="*/ 2131966 w 2772385"/>
              <a:gd name="connsiteY6" fmla="*/ 585526 h 3811169"/>
              <a:gd name="connsiteX7" fmla="*/ 2154403 w 2772385"/>
              <a:gd name="connsiteY7" fmla="*/ 708942 h 3811169"/>
              <a:gd name="connsiteX8" fmla="*/ 2025378 w 2772385"/>
              <a:gd name="connsiteY8" fmla="*/ 753820 h 3811169"/>
              <a:gd name="connsiteX9" fmla="*/ 1991719 w 2772385"/>
              <a:gd name="connsiteY9" fmla="*/ 821138 h 3811169"/>
              <a:gd name="connsiteX10" fmla="*/ 1991719 w 2772385"/>
              <a:gd name="connsiteY10" fmla="*/ 708942 h 3811169"/>
              <a:gd name="connsiteX11" fmla="*/ 1941230 w 2772385"/>
              <a:gd name="connsiteY11" fmla="*/ 669673 h 3811169"/>
              <a:gd name="connsiteX12" fmla="*/ 1778546 w 2772385"/>
              <a:gd name="connsiteY12" fmla="*/ 770649 h 3811169"/>
              <a:gd name="connsiteX13" fmla="*/ 1397078 w 2772385"/>
              <a:gd name="connsiteY13" fmla="*/ 579916 h 3811169"/>
              <a:gd name="connsiteX14" fmla="*/ 1660739 w 2772385"/>
              <a:gd name="connsiteY14" fmla="*/ 1129678 h 3811169"/>
              <a:gd name="connsiteX15" fmla="*/ 1795375 w 2772385"/>
              <a:gd name="connsiteY15" fmla="*/ 1225045 h 3811169"/>
              <a:gd name="connsiteX16" fmla="*/ 1643910 w 2772385"/>
              <a:gd name="connsiteY16" fmla="*/ 1449437 h 3811169"/>
              <a:gd name="connsiteX17" fmla="*/ 1722448 w 2772385"/>
              <a:gd name="connsiteY17" fmla="*/ 1668220 h 3811169"/>
              <a:gd name="connsiteX18" fmla="*/ 1812205 w 2772385"/>
              <a:gd name="connsiteY18" fmla="*/ 1662611 h 3811169"/>
              <a:gd name="connsiteX19" fmla="*/ 1621470 w 2772385"/>
              <a:gd name="connsiteY19" fmla="*/ 1858954 h 3811169"/>
              <a:gd name="connsiteX20" fmla="*/ 909024 w 2772385"/>
              <a:gd name="connsiteY20" fmla="*/ 1578463 h 3811169"/>
              <a:gd name="connsiteX21" fmla="*/ 454629 w 2772385"/>
              <a:gd name="connsiteY21" fmla="*/ 2605060 h 3811169"/>
              <a:gd name="connsiteX22" fmla="*/ 258286 w 2772385"/>
              <a:gd name="connsiteY22" fmla="*/ 2812623 h 3811169"/>
              <a:gd name="connsiteX23" fmla="*/ 39503 w 2772385"/>
              <a:gd name="connsiteY23" fmla="*/ 2857501 h 3811169"/>
              <a:gd name="connsiteX24" fmla="*/ 28282 w 2772385"/>
              <a:gd name="connsiteY24" fmla="*/ 2975307 h 3811169"/>
              <a:gd name="connsiteX25" fmla="*/ 258285 w 2772385"/>
              <a:gd name="connsiteY25" fmla="*/ 3087504 h 3811169"/>
              <a:gd name="connsiteX26" fmla="*/ 527559 w 2772385"/>
              <a:gd name="connsiteY26" fmla="*/ 2986527 h 3811169"/>
              <a:gd name="connsiteX27" fmla="*/ 488288 w 2772385"/>
              <a:gd name="connsiteY27" fmla="*/ 3154821 h 3811169"/>
              <a:gd name="connsiteX28" fmla="*/ 561215 w 2772385"/>
              <a:gd name="connsiteY28" fmla="*/ 3194090 h 3811169"/>
              <a:gd name="connsiteX29" fmla="*/ 381702 w 2772385"/>
              <a:gd name="connsiteY29" fmla="*/ 3592387 h 3811169"/>
              <a:gd name="connsiteX30" fmla="*/ 213408 w 2772385"/>
              <a:gd name="connsiteY30" fmla="*/ 3698973 h 3811169"/>
              <a:gd name="connsiteX31" fmla="*/ 280726 w 2772385"/>
              <a:gd name="connsiteY31" fmla="*/ 3811169 h 3811169"/>
              <a:gd name="connsiteX32" fmla="*/ 477068 w 2772385"/>
              <a:gd name="connsiteY32" fmla="*/ 3771902 h 3811169"/>
              <a:gd name="connsiteX33" fmla="*/ 583655 w 2772385"/>
              <a:gd name="connsiteY33" fmla="*/ 3581168 h 3811169"/>
              <a:gd name="connsiteX34" fmla="*/ 684632 w 2772385"/>
              <a:gd name="connsiteY34" fmla="*/ 3698974 h 3811169"/>
              <a:gd name="connsiteX35" fmla="*/ 768779 w 2772385"/>
              <a:gd name="connsiteY35" fmla="*/ 3704584 h 3811169"/>
              <a:gd name="connsiteX36" fmla="*/ 774389 w 2772385"/>
              <a:gd name="connsiteY36" fmla="*/ 3474581 h 3811169"/>
              <a:gd name="connsiteX37" fmla="*/ 740730 w 2772385"/>
              <a:gd name="connsiteY37" fmla="*/ 3205310 h 3811169"/>
              <a:gd name="connsiteX38" fmla="*/ 897805 w 2772385"/>
              <a:gd name="connsiteY38" fmla="*/ 2627499 h 3811169"/>
              <a:gd name="connsiteX39" fmla="*/ 1161466 w 2772385"/>
              <a:gd name="connsiteY39" fmla="*/ 2520912 h 3811169"/>
              <a:gd name="connsiteX40" fmla="*/ 1526104 w 2772385"/>
              <a:gd name="connsiteY40" fmla="*/ 2627499 h 3811169"/>
              <a:gd name="connsiteX41" fmla="*/ 1587812 w 2772385"/>
              <a:gd name="connsiteY41" fmla="*/ 2627499 h 3811169"/>
              <a:gd name="connsiteX42" fmla="*/ 1643910 w 2772385"/>
              <a:gd name="connsiteY42" fmla="*/ 2728476 h 3811169"/>
              <a:gd name="connsiteX43" fmla="*/ 1795375 w 2772385"/>
              <a:gd name="connsiteY43" fmla="*/ 2762134 h 3811169"/>
              <a:gd name="connsiteX44" fmla="*/ 1806595 w 2772385"/>
              <a:gd name="connsiteY44" fmla="*/ 2795793 h 3811169"/>
              <a:gd name="connsiteX45" fmla="*/ 1767326 w 2772385"/>
              <a:gd name="connsiteY45" fmla="*/ 2997747 h 3811169"/>
              <a:gd name="connsiteX46" fmla="*/ 1744887 w 2772385"/>
              <a:gd name="connsiteY46" fmla="*/ 3323116 h 3811169"/>
              <a:gd name="connsiteX47" fmla="*/ 1537324 w 2772385"/>
              <a:gd name="connsiteY47" fmla="*/ 3345555 h 3811169"/>
              <a:gd name="connsiteX48" fmla="*/ 1200735 w 2772385"/>
              <a:gd name="connsiteY48" fmla="*/ 3396044 h 3811169"/>
              <a:gd name="connsiteX49" fmla="*/ 1172686 w 2772385"/>
              <a:gd name="connsiteY49" fmla="*/ 3468971 h 3811169"/>
              <a:gd name="connsiteX50" fmla="*/ 1110978 w 2772385"/>
              <a:gd name="connsiteY50" fmla="*/ 3497020 h 3811169"/>
              <a:gd name="connsiteX51" fmla="*/ 1139027 w 2772385"/>
              <a:gd name="connsiteY51" fmla="*/ 3631656 h 3811169"/>
              <a:gd name="connsiteX52" fmla="*/ 1279272 w 2772385"/>
              <a:gd name="connsiteY52" fmla="*/ 3637266 h 3811169"/>
              <a:gd name="connsiteX53" fmla="*/ 1273662 w 2772385"/>
              <a:gd name="connsiteY53" fmla="*/ 3485801 h 3811169"/>
              <a:gd name="connsiteX54" fmla="*/ 1453176 w 2772385"/>
              <a:gd name="connsiteY54" fmla="*/ 3497020 h 3811169"/>
              <a:gd name="connsiteX55" fmla="*/ 1425127 w 2772385"/>
              <a:gd name="connsiteY55" fmla="*/ 3575558 h 3811169"/>
              <a:gd name="connsiteX56" fmla="*/ 1397078 w 2772385"/>
              <a:gd name="connsiteY56" fmla="*/ 3637266 h 3811169"/>
              <a:gd name="connsiteX57" fmla="*/ 1312931 w 2772385"/>
              <a:gd name="connsiteY57" fmla="*/ 3654095 h 3811169"/>
              <a:gd name="connsiteX58" fmla="*/ 1447567 w 2772385"/>
              <a:gd name="connsiteY58" fmla="*/ 3777511 h 3811169"/>
              <a:gd name="connsiteX59" fmla="*/ 1514884 w 2772385"/>
              <a:gd name="connsiteY59" fmla="*/ 3642876 h 3811169"/>
              <a:gd name="connsiteX60" fmla="*/ 1817814 w 2772385"/>
              <a:gd name="connsiteY60" fmla="*/ 3541899 h 3811169"/>
              <a:gd name="connsiteX61" fmla="*/ 2154403 w 2772385"/>
              <a:gd name="connsiteY61" fmla="*/ 3614826 h 3811169"/>
              <a:gd name="connsiteX62" fmla="*/ 2109525 w 2772385"/>
              <a:gd name="connsiteY62" fmla="*/ 3715803 h 3811169"/>
              <a:gd name="connsiteX63" fmla="*/ 2204892 w 2772385"/>
              <a:gd name="connsiteY63" fmla="*/ 3783121 h 3811169"/>
              <a:gd name="connsiteX64" fmla="*/ 2277819 w 2772385"/>
              <a:gd name="connsiteY64" fmla="*/ 3732633 h 3811169"/>
              <a:gd name="connsiteX65" fmla="*/ 2266600 w 2772385"/>
              <a:gd name="connsiteY65" fmla="*/ 3637266 h 3811169"/>
              <a:gd name="connsiteX66" fmla="*/ 2446114 w 2772385"/>
              <a:gd name="connsiteY66" fmla="*/ 3558728 h 3811169"/>
              <a:gd name="connsiteX67" fmla="*/ 2429284 w 2772385"/>
              <a:gd name="connsiteY67" fmla="*/ 3384824 h 3811169"/>
              <a:gd name="connsiteX68" fmla="*/ 1924401 w 2772385"/>
              <a:gd name="connsiteY68" fmla="*/ 3356775 h 3811169"/>
              <a:gd name="connsiteX69" fmla="*/ 1913181 w 2772385"/>
              <a:gd name="connsiteY69" fmla="*/ 3031406 h 3811169"/>
              <a:gd name="connsiteX70" fmla="*/ 1879522 w 2772385"/>
              <a:gd name="connsiteY70" fmla="*/ 3014576 h 3811169"/>
              <a:gd name="connsiteX71" fmla="*/ 1901962 w 2772385"/>
              <a:gd name="connsiteY71" fmla="*/ 2835062 h 3811169"/>
              <a:gd name="connsiteX72" fmla="*/ 1857083 w 2772385"/>
              <a:gd name="connsiteY72" fmla="*/ 2773354 h 3811169"/>
              <a:gd name="connsiteX73" fmla="*/ 2103915 w 2772385"/>
              <a:gd name="connsiteY73" fmla="*/ 2717256 h 3811169"/>
              <a:gd name="connsiteX74" fmla="*/ 2126354 w 2772385"/>
              <a:gd name="connsiteY74" fmla="*/ 2588230 h 3811169"/>
              <a:gd name="connsiteX75" fmla="*/ 2367576 w 2772385"/>
              <a:gd name="connsiteY75" fmla="*/ 2621889 h 3811169"/>
              <a:gd name="connsiteX76" fmla="*/ 2591969 w 2772385"/>
              <a:gd name="connsiteY76" fmla="*/ 2032858 h 3811169"/>
              <a:gd name="connsiteX77" fmla="*/ 2547090 w 2772385"/>
              <a:gd name="connsiteY77" fmla="*/ 1948711 h 3811169"/>
              <a:gd name="connsiteX78" fmla="*/ 2692946 w 2772385"/>
              <a:gd name="connsiteY78" fmla="*/ 1460657 h 3811169"/>
              <a:gd name="connsiteX79" fmla="*/ 2636848 w 2772385"/>
              <a:gd name="connsiteY79" fmla="*/ 1354071 h 3811169"/>
              <a:gd name="connsiteX80" fmla="*/ 2479772 w 2772385"/>
              <a:gd name="connsiteY80" fmla="*/ 798699 h 3811169"/>
              <a:gd name="connsiteX81" fmla="*/ 2737825 w 2772385"/>
              <a:gd name="connsiteY81" fmla="*/ 675283 h 3811169"/>
              <a:gd name="connsiteX82" fmla="*/ 2709775 w 2772385"/>
              <a:gd name="connsiteY82" fmla="*/ 434061 h 3811169"/>
              <a:gd name="connsiteX83" fmla="*/ 2625628 w 2772385"/>
              <a:gd name="connsiteY83" fmla="*/ 86253 h 3811169"/>
              <a:gd name="connsiteX0" fmla="*/ 2625628 w 2772385"/>
              <a:gd name="connsiteY0" fmla="*/ 86253 h 3811169"/>
              <a:gd name="connsiteX1" fmla="*/ 2429284 w 2772385"/>
              <a:gd name="connsiteY1" fmla="*/ 2105 h 3811169"/>
              <a:gd name="connsiteX2" fmla="*/ 2188062 w 2772385"/>
              <a:gd name="connsiteY2" fmla="*/ 159180 h 3811169"/>
              <a:gd name="connsiteX3" fmla="*/ 2087086 w 2772385"/>
              <a:gd name="connsiteY3" fmla="*/ 198449 h 3811169"/>
              <a:gd name="connsiteX4" fmla="*/ 2137574 w 2772385"/>
              <a:gd name="connsiteY4" fmla="*/ 288206 h 3811169"/>
              <a:gd name="connsiteX5" fmla="*/ 2025378 w 2772385"/>
              <a:gd name="connsiteY5" fmla="*/ 450890 h 3811169"/>
              <a:gd name="connsiteX6" fmla="*/ 2131966 w 2772385"/>
              <a:gd name="connsiteY6" fmla="*/ 585526 h 3811169"/>
              <a:gd name="connsiteX7" fmla="*/ 2154403 w 2772385"/>
              <a:gd name="connsiteY7" fmla="*/ 708942 h 3811169"/>
              <a:gd name="connsiteX8" fmla="*/ 2025378 w 2772385"/>
              <a:gd name="connsiteY8" fmla="*/ 753820 h 3811169"/>
              <a:gd name="connsiteX9" fmla="*/ 1991719 w 2772385"/>
              <a:gd name="connsiteY9" fmla="*/ 821138 h 3811169"/>
              <a:gd name="connsiteX10" fmla="*/ 1991719 w 2772385"/>
              <a:gd name="connsiteY10" fmla="*/ 708942 h 3811169"/>
              <a:gd name="connsiteX11" fmla="*/ 1941230 w 2772385"/>
              <a:gd name="connsiteY11" fmla="*/ 669673 h 3811169"/>
              <a:gd name="connsiteX12" fmla="*/ 1778546 w 2772385"/>
              <a:gd name="connsiteY12" fmla="*/ 770649 h 3811169"/>
              <a:gd name="connsiteX13" fmla="*/ 1397078 w 2772385"/>
              <a:gd name="connsiteY13" fmla="*/ 579916 h 3811169"/>
              <a:gd name="connsiteX14" fmla="*/ 1660739 w 2772385"/>
              <a:gd name="connsiteY14" fmla="*/ 1129678 h 3811169"/>
              <a:gd name="connsiteX15" fmla="*/ 1795375 w 2772385"/>
              <a:gd name="connsiteY15" fmla="*/ 1225045 h 3811169"/>
              <a:gd name="connsiteX16" fmla="*/ 1643910 w 2772385"/>
              <a:gd name="connsiteY16" fmla="*/ 1449437 h 3811169"/>
              <a:gd name="connsiteX17" fmla="*/ 1722448 w 2772385"/>
              <a:gd name="connsiteY17" fmla="*/ 1668220 h 3811169"/>
              <a:gd name="connsiteX18" fmla="*/ 1812205 w 2772385"/>
              <a:gd name="connsiteY18" fmla="*/ 1662611 h 3811169"/>
              <a:gd name="connsiteX19" fmla="*/ 1621470 w 2772385"/>
              <a:gd name="connsiteY19" fmla="*/ 1858954 h 3811169"/>
              <a:gd name="connsiteX20" fmla="*/ 909024 w 2772385"/>
              <a:gd name="connsiteY20" fmla="*/ 1578463 h 3811169"/>
              <a:gd name="connsiteX21" fmla="*/ 454629 w 2772385"/>
              <a:gd name="connsiteY21" fmla="*/ 2605060 h 3811169"/>
              <a:gd name="connsiteX22" fmla="*/ 258286 w 2772385"/>
              <a:gd name="connsiteY22" fmla="*/ 2812623 h 3811169"/>
              <a:gd name="connsiteX23" fmla="*/ 39503 w 2772385"/>
              <a:gd name="connsiteY23" fmla="*/ 2857501 h 3811169"/>
              <a:gd name="connsiteX24" fmla="*/ 28282 w 2772385"/>
              <a:gd name="connsiteY24" fmla="*/ 2975307 h 3811169"/>
              <a:gd name="connsiteX25" fmla="*/ 258285 w 2772385"/>
              <a:gd name="connsiteY25" fmla="*/ 3087504 h 3811169"/>
              <a:gd name="connsiteX26" fmla="*/ 527559 w 2772385"/>
              <a:gd name="connsiteY26" fmla="*/ 2986527 h 3811169"/>
              <a:gd name="connsiteX27" fmla="*/ 488288 w 2772385"/>
              <a:gd name="connsiteY27" fmla="*/ 3154821 h 3811169"/>
              <a:gd name="connsiteX28" fmla="*/ 561215 w 2772385"/>
              <a:gd name="connsiteY28" fmla="*/ 3194090 h 3811169"/>
              <a:gd name="connsiteX29" fmla="*/ 381702 w 2772385"/>
              <a:gd name="connsiteY29" fmla="*/ 3592387 h 3811169"/>
              <a:gd name="connsiteX30" fmla="*/ 213408 w 2772385"/>
              <a:gd name="connsiteY30" fmla="*/ 3698973 h 3811169"/>
              <a:gd name="connsiteX31" fmla="*/ 280726 w 2772385"/>
              <a:gd name="connsiteY31" fmla="*/ 3811169 h 3811169"/>
              <a:gd name="connsiteX32" fmla="*/ 477068 w 2772385"/>
              <a:gd name="connsiteY32" fmla="*/ 3771902 h 3811169"/>
              <a:gd name="connsiteX33" fmla="*/ 622923 w 2772385"/>
              <a:gd name="connsiteY33" fmla="*/ 3547509 h 3811169"/>
              <a:gd name="connsiteX34" fmla="*/ 684632 w 2772385"/>
              <a:gd name="connsiteY34" fmla="*/ 3698974 h 3811169"/>
              <a:gd name="connsiteX35" fmla="*/ 768779 w 2772385"/>
              <a:gd name="connsiteY35" fmla="*/ 3704584 h 3811169"/>
              <a:gd name="connsiteX36" fmla="*/ 774389 w 2772385"/>
              <a:gd name="connsiteY36" fmla="*/ 3474581 h 3811169"/>
              <a:gd name="connsiteX37" fmla="*/ 740730 w 2772385"/>
              <a:gd name="connsiteY37" fmla="*/ 3205310 h 3811169"/>
              <a:gd name="connsiteX38" fmla="*/ 897805 w 2772385"/>
              <a:gd name="connsiteY38" fmla="*/ 2627499 h 3811169"/>
              <a:gd name="connsiteX39" fmla="*/ 1161466 w 2772385"/>
              <a:gd name="connsiteY39" fmla="*/ 2520912 h 3811169"/>
              <a:gd name="connsiteX40" fmla="*/ 1526104 w 2772385"/>
              <a:gd name="connsiteY40" fmla="*/ 2627499 h 3811169"/>
              <a:gd name="connsiteX41" fmla="*/ 1587812 w 2772385"/>
              <a:gd name="connsiteY41" fmla="*/ 2627499 h 3811169"/>
              <a:gd name="connsiteX42" fmla="*/ 1643910 w 2772385"/>
              <a:gd name="connsiteY42" fmla="*/ 2728476 h 3811169"/>
              <a:gd name="connsiteX43" fmla="*/ 1795375 w 2772385"/>
              <a:gd name="connsiteY43" fmla="*/ 2762134 h 3811169"/>
              <a:gd name="connsiteX44" fmla="*/ 1806595 w 2772385"/>
              <a:gd name="connsiteY44" fmla="*/ 2795793 h 3811169"/>
              <a:gd name="connsiteX45" fmla="*/ 1767326 w 2772385"/>
              <a:gd name="connsiteY45" fmla="*/ 2997747 h 3811169"/>
              <a:gd name="connsiteX46" fmla="*/ 1744887 w 2772385"/>
              <a:gd name="connsiteY46" fmla="*/ 3323116 h 3811169"/>
              <a:gd name="connsiteX47" fmla="*/ 1537324 w 2772385"/>
              <a:gd name="connsiteY47" fmla="*/ 3345555 h 3811169"/>
              <a:gd name="connsiteX48" fmla="*/ 1200735 w 2772385"/>
              <a:gd name="connsiteY48" fmla="*/ 3396044 h 3811169"/>
              <a:gd name="connsiteX49" fmla="*/ 1172686 w 2772385"/>
              <a:gd name="connsiteY49" fmla="*/ 3468971 h 3811169"/>
              <a:gd name="connsiteX50" fmla="*/ 1110978 w 2772385"/>
              <a:gd name="connsiteY50" fmla="*/ 3497020 h 3811169"/>
              <a:gd name="connsiteX51" fmla="*/ 1139027 w 2772385"/>
              <a:gd name="connsiteY51" fmla="*/ 3631656 h 3811169"/>
              <a:gd name="connsiteX52" fmla="*/ 1279272 w 2772385"/>
              <a:gd name="connsiteY52" fmla="*/ 3637266 h 3811169"/>
              <a:gd name="connsiteX53" fmla="*/ 1273662 w 2772385"/>
              <a:gd name="connsiteY53" fmla="*/ 3485801 h 3811169"/>
              <a:gd name="connsiteX54" fmla="*/ 1453176 w 2772385"/>
              <a:gd name="connsiteY54" fmla="*/ 3497020 h 3811169"/>
              <a:gd name="connsiteX55" fmla="*/ 1425127 w 2772385"/>
              <a:gd name="connsiteY55" fmla="*/ 3575558 h 3811169"/>
              <a:gd name="connsiteX56" fmla="*/ 1397078 w 2772385"/>
              <a:gd name="connsiteY56" fmla="*/ 3637266 h 3811169"/>
              <a:gd name="connsiteX57" fmla="*/ 1312931 w 2772385"/>
              <a:gd name="connsiteY57" fmla="*/ 3654095 h 3811169"/>
              <a:gd name="connsiteX58" fmla="*/ 1447567 w 2772385"/>
              <a:gd name="connsiteY58" fmla="*/ 3777511 h 3811169"/>
              <a:gd name="connsiteX59" fmla="*/ 1514884 w 2772385"/>
              <a:gd name="connsiteY59" fmla="*/ 3642876 h 3811169"/>
              <a:gd name="connsiteX60" fmla="*/ 1817814 w 2772385"/>
              <a:gd name="connsiteY60" fmla="*/ 3541899 h 3811169"/>
              <a:gd name="connsiteX61" fmla="*/ 2154403 w 2772385"/>
              <a:gd name="connsiteY61" fmla="*/ 3614826 h 3811169"/>
              <a:gd name="connsiteX62" fmla="*/ 2109525 w 2772385"/>
              <a:gd name="connsiteY62" fmla="*/ 3715803 h 3811169"/>
              <a:gd name="connsiteX63" fmla="*/ 2204892 w 2772385"/>
              <a:gd name="connsiteY63" fmla="*/ 3783121 h 3811169"/>
              <a:gd name="connsiteX64" fmla="*/ 2277819 w 2772385"/>
              <a:gd name="connsiteY64" fmla="*/ 3732633 h 3811169"/>
              <a:gd name="connsiteX65" fmla="*/ 2266600 w 2772385"/>
              <a:gd name="connsiteY65" fmla="*/ 3637266 h 3811169"/>
              <a:gd name="connsiteX66" fmla="*/ 2446114 w 2772385"/>
              <a:gd name="connsiteY66" fmla="*/ 3558728 h 3811169"/>
              <a:gd name="connsiteX67" fmla="*/ 2429284 w 2772385"/>
              <a:gd name="connsiteY67" fmla="*/ 3384824 h 3811169"/>
              <a:gd name="connsiteX68" fmla="*/ 1924401 w 2772385"/>
              <a:gd name="connsiteY68" fmla="*/ 3356775 h 3811169"/>
              <a:gd name="connsiteX69" fmla="*/ 1913181 w 2772385"/>
              <a:gd name="connsiteY69" fmla="*/ 3031406 h 3811169"/>
              <a:gd name="connsiteX70" fmla="*/ 1879522 w 2772385"/>
              <a:gd name="connsiteY70" fmla="*/ 3014576 h 3811169"/>
              <a:gd name="connsiteX71" fmla="*/ 1901962 w 2772385"/>
              <a:gd name="connsiteY71" fmla="*/ 2835062 h 3811169"/>
              <a:gd name="connsiteX72" fmla="*/ 1857083 w 2772385"/>
              <a:gd name="connsiteY72" fmla="*/ 2773354 h 3811169"/>
              <a:gd name="connsiteX73" fmla="*/ 2103915 w 2772385"/>
              <a:gd name="connsiteY73" fmla="*/ 2717256 h 3811169"/>
              <a:gd name="connsiteX74" fmla="*/ 2126354 w 2772385"/>
              <a:gd name="connsiteY74" fmla="*/ 2588230 h 3811169"/>
              <a:gd name="connsiteX75" fmla="*/ 2367576 w 2772385"/>
              <a:gd name="connsiteY75" fmla="*/ 2621889 h 3811169"/>
              <a:gd name="connsiteX76" fmla="*/ 2591969 w 2772385"/>
              <a:gd name="connsiteY76" fmla="*/ 2032858 h 3811169"/>
              <a:gd name="connsiteX77" fmla="*/ 2547090 w 2772385"/>
              <a:gd name="connsiteY77" fmla="*/ 1948711 h 3811169"/>
              <a:gd name="connsiteX78" fmla="*/ 2692946 w 2772385"/>
              <a:gd name="connsiteY78" fmla="*/ 1460657 h 3811169"/>
              <a:gd name="connsiteX79" fmla="*/ 2636848 w 2772385"/>
              <a:gd name="connsiteY79" fmla="*/ 1354071 h 3811169"/>
              <a:gd name="connsiteX80" fmla="*/ 2479772 w 2772385"/>
              <a:gd name="connsiteY80" fmla="*/ 798699 h 3811169"/>
              <a:gd name="connsiteX81" fmla="*/ 2737825 w 2772385"/>
              <a:gd name="connsiteY81" fmla="*/ 675283 h 3811169"/>
              <a:gd name="connsiteX82" fmla="*/ 2709775 w 2772385"/>
              <a:gd name="connsiteY82" fmla="*/ 434061 h 3811169"/>
              <a:gd name="connsiteX83" fmla="*/ 2625628 w 2772385"/>
              <a:gd name="connsiteY83" fmla="*/ 86253 h 3811169"/>
              <a:gd name="connsiteX0" fmla="*/ 2625628 w 2772385"/>
              <a:gd name="connsiteY0" fmla="*/ 86253 h 3811169"/>
              <a:gd name="connsiteX1" fmla="*/ 2429284 w 2772385"/>
              <a:gd name="connsiteY1" fmla="*/ 2105 h 3811169"/>
              <a:gd name="connsiteX2" fmla="*/ 2188062 w 2772385"/>
              <a:gd name="connsiteY2" fmla="*/ 159180 h 3811169"/>
              <a:gd name="connsiteX3" fmla="*/ 2087086 w 2772385"/>
              <a:gd name="connsiteY3" fmla="*/ 198449 h 3811169"/>
              <a:gd name="connsiteX4" fmla="*/ 2137574 w 2772385"/>
              <a:gd name="connsiteY4" fmla="*/ 288206 h 3811169"/>
              <a:gd name="connsiteX5" fmla="*/ 2025378 w 2772385"/>
              <a:gd name="connsiteY5" fmla="*/ 450890 h 3811169"/>
              <a:gd name="connsiteX6" fmla="*/ 2131966 w 2772385"/>
              <a:gd name="connsiteY6" fmla="*/ 585526 h 3811169"/>
              <a:gd name="connsiteX7" fmla="*/ 2154403 w 2772385"/>
              <a:gd name="connsiteY7" fmla="*/ 708942 h 3811169"/>
              <a:gd name="connsiteX8" fmla="*/ 2025378 w 2772385"/>
              <a:gd name="connsiteY8" fmla="*/ 753820 h 3811169"/>
              <a:gd name="connsiteX9" fmla="*/ 1991719 w 2772385"/>
              <a:gd name="connsiteY9" fmla="*/ 821138 h 3811169"/>
              <a:gd name="connsiteX10" fmla="*/ 1991719 w 2772385"/>
              <a:gd name="connsiteY10" fmla="*/ 708942 h 3811169"/>
              <a:gd name="connsiteX11" fmla="*/ 1941230 w 2772385"/>
              <a:gd name="connsiteY11" fmla="*/ 669673 h 3811169"/>
              <a:gd name="connsiteX12" fmla="*/ 1778546 w 2772385"/>
              <a:gd name="connsiteY12" fmla="*/ 770649 h 3811169"/>
              <a:gd name="connsiteX13" fmla="*/ 1397078 w 2772385"/>
              <a:gd name="connsiteY13" fmla="*/ 579916 h 3811169"/>
              <a:gd name="connsiteX14" fmla="*/ 1660739 w 2772385"/>
              <a:gd name="connsiteY14" fmla="*/ 1129678 h 3811169"/>
              <a:gd name="connsiteX15" fmla="*/ 1795375 w 2772385"/>
              <a:gd name="connsiteY15" fmla="*/ 1225045 h 3811169"/>
              <a:gd name="connsiteX16" fmla="*/ 1643910 w 2772385"/>
              <a:gd name="connsiteY16" fmla="*/ 1449437 h 3811169"/>
              <a:gd name="connsiteX17" fmla="*/ 1722448 w 2772385"/>
              <a:gd name="connsiteY17" fmla="*/ 1668220 h 3811169"/>
              <a:gd name="connsiteX18" fmla="*/ 1812205 w 2772385"/>
              <a:gd name="connsiteY18" fmla="*/ 1662611 h 3811169"/>
              <a:gd name="connsiteX19" fmla="*/ 1621470 w 2772385"/>
              <a:gd name="connsiteY19" fmla="*/ 1858954 h 3811169"/>
              <a:gd name="connsiteX20" fmla="*/ 909024 w 2772385"/>
              <a:gd name="connsiteY20" fmla="*/ 1578463 h 3811169"/>
              <a:gd name="connsiteX21" fmla="*/ 454629 w 2772385"/>
              <a:gd name="connsiteY21" fmla="*/ 2605060 h 3811169"/>
              <a:gd name="connsiteX22" fmla="*/ 258286 w 2772385"/>
              <a:gd name="connsiteY22" fmla="*/ 2812623 h 3811169"/>
              <a:gd name="connsiteX23" fmla="*/ 39503 w 2772385"/>
              <a:gd name="connsiteY23" fmla="*/ 2857501 h 3811169"/>
              <a:gd name="connsiteX24" fmla="*/ 28282 w 2772385"/>
              <a:gd name="connsiteY24" fmla="*/ 2975307 h 3811169"/>
              <a:gd name="connsiteX25" fmla="*/ 258285 w 2772385"/>
              <a:gd name="connsiteY25" fmla="*/ 3087504 h 3811169"/>
              <a:gd name="connsiteX26" fmla="*/ 527559 w 2772385"/>
              <a:gd name="connsiteY26" fmla="*/ 2986527 h 3811169"/>
              <a:gd name="connsiteX27" fmla="*/ 488288 w 2772385"/>
              <a:gd name="connsiteY27" fmla="*/ 3154821 h 3811169"/>
              <a:gd name="connsiteX28" fmla="*/ 561215 w 2772385"/>
              <a:gd name="connsiteY28" fmla="*/ 3194090 h 3811169"/>
              <a:gd name="connsiteX29" fmla="*/ 381702 w 2772385"/>
              <a:gd name="connsiteY29" fmla="*/ 3592387 h 3811169"/>
              <a:gd name="connsiteX30" fmla="*/ 213408 w 2772385"/>
              <a:gd name="connsiteY30" fmla="*/ 3698973 h 3811169"/>
              <a:gd name="connsiteX31" fmla="*/ 280726 w 2772385"/>
              <a:gd name="connsiteY31" fmla="*/ 3811169 h 3811169"/>
              <a:gd name="connsiteX32" fmla="*/ 477068 w 2772385"/>
              <a:gd name="connsiteY32" fmla="*/ 3771902 h 3811169"/>
              <a:gd name="connsiteX33" fmla="*/ 622923 w 2772385"/>
              <a:gd name="connsiteY33" fmla="*/ 3547509 h 3811169"/>
              <a:gd name="connsiteX34" fmla="*/ 684632 w 2772385"/>
              <a:gd name="connsiteY34" fmla="*/ 3698974 h 3811169"/>
              <a:gd name="connsiteX35" fmla="*/ 768779 w 2772385"/>
              <a:gd name="connsiteY35" fmla="*/ 3704584 h 3811169"/>
              <a:gd name="connsiteX36" fmla="*/ 774389 w 2772385"/>
              <a:gd name="connsiteY36" fmla="*/ 3474581 h 3811169"/>
              <a:gd name="connsiteX37" fmla="*/ 740730 w 2772385"/>
              <a:gd name="connsiteY37" fmla="*/ 3205310 h 3811169"/>
              <a:gd name="connsiteX38" fmla="*/ 897805 w 2772385"/>
              <a:gd name="connsiteY38" fmla="*/ 2627499 h 3811169"/>
              <a:gd name="connsiteX39" fmla="*/ 1161466 w 2772385"/>
              <a:gd name="connsiteY39" fmla="*/ 2520912 h 3811169"/>
              <a:gd name="connsiteX40" fmla="*/ 1526104 w 2772385"/>
              <a:gd name="connsiteY40" fmla="*/ 2627499 h 3811169"/>
              <a:gd name="connsiteX41" fmla="*/ 1587812 w 2772385"/>
              <a:gd name="connsiteY41" fmla="*/ 2627499 h 3811169"/>
              <a:gd name="connsiteX42" fmla="*/ 1643910 w 2772385"/>
              <a:gd name="connsiteY42" fmla="*/ 2728476 h 3811169"/>
              <a:gd name="connsiteX43" fmla="*/ 1795375 w 2772385"/>
              <a:gd name="connsiteY43" fmla="*/ 2762134 h 3811169"/>
              <a:gd name="connsiteX44" fmla="*/ 1806595 w 2772385"/>
              <a:gd name="connsiteY44" fmla="*/ 2795793 h 3811169"/>
              <a:gd name="connsiteX45" fmla="*/ 1767326 w 2772385"/>
              <a:gd name="connsiteY45" fmla="*/ 2997747 h 3811169"/>
              <a:gd name="connsiteX46" fmla="*/ 1744887 w 2772385"/>
              <a:gd name="connsiteY46" fmla="*/ 3323116 h 3811169"/>
              <a:gd name="connsiteX47" fmla="*/ 1537324 w 2772385"/>
              <a:gd name="connsiteY47" fmla="*/ 3345555 h 3811169"/>
              <a:gd name="connsiteX48" fmla="*/ 1200735 w 2772385"/>
              <a:gd name="connsiteY48" fmla="*/ 3396044 h 3811169"/>
              <a:gd name="connsiteX49" fmla="*/ 1172686 w 2772385"/>
              <a:gd name="connsiteY49" fmla="*/ 3468971 h 3811169"/>
              <a:gd name="connsiteX50" fmla="*/ 1110978 w 2772385"/>
              <a:gd name="connsiteY50" fmla="*/ 3497020 h 3811169"/>
              <a:gd name="connsiteX51" fmla="*/ 1139027 w 2772385"/>
              <a:gd name="connsiteY51" fmla="*/ 3631656 h 3811169"/>
              <a:gd name="connsiteX52" fmla="*/ 1279272 w 2772385"/>
              <a:gd name="connsiteY52" fmla="*/ 3637266 h 3811169"/>
              <a:gd name="connsiteX53" fmla="*/ 1273662 w 2772385"/>
              <a:gd name="connsiteY53" fmla="*/ 3485801 h 3811169"/>
              <a:gd name="connsiteX54" fmla="*/ 1453176 w 2772385"/>
              <a:gd name="connsiteY54" fmla="*/ 3497020 h 3811169"/>
              <a:gd name="connsiteX55" fmla="*/ 1425127 w 2772385"/>
              <a:gd name="connsiteY55" fmla="*/ 3575558 h 3811169"/>
              <a:gd name="connsiteX56" fmla="*/ 1397078 w 2772385"/>
              <a:gd name="connsiteY56" fmla="*/ 3637266 h 3811169"/>
              <a:gd name="connsiteX57" fmla="*/ 1312931 w 2772385"/>
              <a:gd name="connsiteY57" fmla="*/ 3654095 h 3811169"/>
              <a:gd name="connsiteX58" fmla="*/ 1447567 w 2772385"/>
              <a:gd name="connsiteY58" fmla="*/ 3777511 h 3811169"/>
              <a:gd name="connsiteX59" fmla="*/ 1514884 w 2772385"/>
              <a:gd name="connsiteY59" fmla="*/ 3642876 h 3811169"/>
              <a:gd name="connsiteX60" fmla="*/ 1817814 w 2772385"/>
              <a:gd name="connsiteY60" fmla="*/ 3541899 h 3811169"/>
              <a:gd name="connsiteX61" fmla="*/ 2154403 w 2772385"/>
              <a:gd name="connsiteY61" fmla="*/ 3614826 h 3811169"/>
              <a:gd name="connsiteX62" fmla="*/ 2109525 w 2772385"/>
              <a:gd name="connsiteY62" fmla="*/ 3715803 h 3811169"/>
              <a:gd name="connsiteX63" fmla="*/ 2204892 w 2772385"/>
              <a:gd name="connsiteY63" fmla="*/ 3783121 h 3811169"/>
              <a:gd name="connsiteX64" fmla="*/ 2277819 w 2772385"/>
              <a:gd name="connsiteY64" fmla="*/ 3732633 h 3811169"/>
              <a:gd name="connsiteX65" fmla="*/ 2266600 w 2772385"/>
              <a:gd name="connsiteY65" fmla="*/ 3637266 h 3811169"/>
              <a:gd name="connsiteX66" fmla="*/ 2446114 w 2772385"/>
              <a:gd name="connsiteY66" fmla="*/ 3558728 h 3811169"/>
              <a:gd name="connsiteX67" fmla="*/ 2429284 w 2772385"/>
              <a:gd name="connsiteY67" fmla="*/ 3384824 h 3811169"/>
              <a:gd name="connsiteX68" fmla="*/ 1924401 w 2772385"/>
              <a:gd name="connsiteY68" fmla="*/ 3356775 h 3811169"/>
              <a:gd name="connsiteX69" fmla="*/ 1913181 w 2772385"/>
              <a:gd name="connsiteY69" fmla="*/ 3031406 h 3811169"/>
              <a:gd name="connsiteX70" fmla="*/ 1879522 w 2772385"/>
              <a:gd name="connsiteY70" fmla="*/ 3014576 h 3811169"/>
              <a:gd name="connsiteX71" fmla="*/ 1901962 w 2772385"/>
              <a:gd name="connsiteY71" fmla="*/ 2835062 h 3811169"/>
              <a:gd name="connsiteX72" fmla="*/ 1857083 w 2772385"/>
              <a:gd name="connsiteY72" fmla="*/ 2773354 h 3811169"/>
              <a:gd name="connsiteX73" fmla="*/ 2103915 w 2772385"/>
              <a:gd name="connsiteY73" fmla="*/ 2717256 h 3811169"/>
              <a:gd name="connsiteX74" fmla="*/ 2126354 w 2772385"/>
              <a:gd name="connsiteY74" fmla="*/ 2588230 h 3811169"/>
              <a:gd name="connsiteX75" fmla="*/ 2367576 w 2772385"/>
              <a:gd name="connsiteY75" fmla="*/ 2621889 h 3811169"/>
              <a:gd name="connsiteX76" fmla="*/ 2591969 w 2772385"/>
              <a:gd name="connsiteY76" fmla="*/ 2032858 h 3811169"/>
              <a:gd name="connsiteX77" fmla="*/ 2547090 w 2772385"/>
              <a:gd name="connsiteY77" fmla="*/ 1948711 h 3811169"/>
              <a:gd name="connsiteX78" fmla="*/ 2692946 w 2772385"/>
              <a:gd name="connsiteY78" fmla="*/ 1460657 h 3811169"/>
              <a:gd name="connsiteX79" fmla="*/ 2636848 w 2772385"/>
              <a:gd name="connsiteY79" fmla="*/ 1354071 h 3811169"/>
              <a:gd name="connsiteX80" fmla="*/ 2479772 w 2772385"/>
              <a:gd name="connsiteY80" fmla="*/ 798699 h 3811169"/>
              <a:gd name="connsiteX81" fmla="*/ 2737825 w 2772385"/>
              <a:gd name="connsiteY81" fmla="*/ 675283 h 3811169"/>
              <a:gd name="connsiteX82" fmla="*/ 2709775 w 2772385"/>
              <a:gd name="connsiteY82" fmla="*/ 434061 h 3811169"/>
              <a:gd name="connsiteX83" fmla="*/ 2625628 w 2772385"/>
              <a:gd name="connsiteY83" fmla="*/ 86253 h 3811169"/>
              <a:gd name="connsiteX0" fmla="*/ 2625628 w 2772385"/>
              <a:gd name="connsiteY0" fmla="*/ 86253 h 3811169"/>
              <a:gd name="connsiteX1" fmla="*/ 2429284 w 2772385"/>
              <a:gd name="connsiteY1" fmla="*/ 2105 h 3811169"/>
              <a:gd name="connsiteX2" fmla="*/ 2188062 w 2772385"/>
              <a:gd name="connsiteY2" fmla="*/ 159180 h 3811169"/>
              <a:gd name="connsiteX3" fmla="*/ 2087086 w 2772385"/>
              <a:gd name="connsiteY3" fmla="*/ 198449 h 3811169"/>
              <a:gd name="connsiteX4" fmla="*/ 2137574 w 2772385"/>
              <a:gd name="connsiteY4" fmla="*/ 288206 h 3811169"/>
              <a:gd name="connsiteX5" fmla="*/ 2025378 w 2772385"/>
              <a:gd name="connsiteY5" fmla="*/ 450890 h 3811169"/>
              <a:gd name="connsiteX6" fmla="*/ 2131966 w 2772385"/>
              <a:gd name="connsiteY6" fmla="*/ 585526 h 3811169"/>
              <a:gd name="connsiteX7" fmla="*/ 2154403 w 2772385"/>
              <a:gd name="connsiteY7" fmla="*/ 708942 h 3811169"/>
              <a:gd name="connsiteX8" fmla="*/ 2025378 w 2772385"/>
              <a:gd name="connsiteY8" fmla="*/ 753820 h 3811169"/>
              <a:gd name="connsiteX9" fmla="*/ 1991719 w 2772385"/>
              <a:gd name="connsiteY9" fmla="*/ 821138 h 3811169"/>
              <a:gd name="connsiteX10" fmla="*/ 1991719 w 2772385"/>
              <a:gd name="connsiteY10" fmla="*/ 708942 h 3811169"/>
              <a:gd name="connsiteX11" fmla="*/ 1941230 w 2772385"/>
              <a:gd name="connsiteY11" fmla="*/ 669673 h 3811169"/>
              <a:gd name="connsiteX12" fmla="*/ 1778546 w 2772385"/>
              <a:gd name="connsiteY12" fmla="*/ 770649 h 3811169"/>
              <a:gd name="connsiteX13" fmla="*/ 1397078 w 2772385"/>
              <a:gd name="connsiteY13" fmla="*/ 579916 h 3811169"/>
              <a:gd name="connsiteX14" fmla="*/ 1660739 w 2772385"/>
              <a:gd name="connsiteY14" fmla="*/ 1129678 h 3811169"/>
              <a:gd name="connsiteX15" fmla="*/ 1795375 w 2772385"/>
              <a:gd name="connsiteY15" fmla="*/ 1225045 h 3811169"/>
              <a:gd name="connsiteX16" fmla="*/ 1643910 w 2772385"/>
              <a:gd name="connsiteY16" fmla="*/ 1449437 h 3811169"/>
              <a:gd name="connsiteX17" fmla="*/ 1722448 w 2772385"/>
              <a:gd name="connsiteY17" fmla="*/ 1668220 h 3811169"/>
              <a:gd name="connsiteX18" fmla="*/ 1812205 w 2772385"/>
              <a:gd name="connsiteY18" fmla="*/ 1662611 h 3811169"/>
              <a:gd name="connsiteX19" fmla="*/ 1621470 w 2772385"/>
              <a:gd name="connsiteY19" fmla="*/ 1858954 h 3811169"/>
              <a:gd name="connsiteX20" fmla="*/ 909024 w 2772385"/>
              <a:gd name="connsiteY20" fmla="*/ 1578463 h 3811169"/>
              <a:gd name="connsiteX21" fmla="*/ 454629 w 2772385"/>
              <a:gd name="connsiteY21" fmla="*/ 2605060 h 3811169"/>
              <a:gd name="connsiteX22" fmla="*/ 258286 w 2772385"/>
              <a:gd name="connsiteY22" fmla="*/ 2812623 h 3811169"/>
              <a:gd name="connsiteX23" fmla="*/ 39503 w 2772385"/>
              <a:gd name="connsiteY23" fmla="*/ 2857501 h 3811169"/>
              <a:gd name="connsiteX24" fmla="*/ 28282 w 2772385"/>
              <a:gd name="connsiteY24" fmla="*/ 2975307 h 3811169"/>
              <a:gd name="connsiteX25" fmla="*/ 258285 w 2772385"/>
              <a:gd name="connsiteY25" fmla="*/ 3087504 h 3811169"/>
              <a:gd name="connsiteX26" fmla="*/ 527559 w 2772385"/>
              <a:gd name="connsiteY26" fmla="*/ 2986527 h 3811169"/>
              <a:gd name="connsiteX27" fmla="*/ 488288 w 2772385"/>
              <a:gd name="connsiteY27" fmla="*/ 3154821 h 3811169"/>
              <a:gd name="connsiteX28" fmla="*/ 561215 w 2772385"/>
              <a:gd name="connsiteY28" fmla="*/ 3194090 h 3811169"/>
              <a:gd name="connsiteX29" fmla="*/ 381702 w 2772385"/>
              <a:gd name="connsiteY29" fmla="*/ 3592387 h 3811169"/>
              <a:gd name="connsiteX30" fmla="*/ 213408 w 2772385"/>
              <a:gd name="connsiteY30" fmla="*/ 3698973 h 3811169"/>
              <a:gd name="connsiteX31" fmla="*/ 280726 w 2772385"/>
              <a:gd name="connsiteY31" fmla="*/ 3811169 h 3811169"/>
              <a:gd name="connsiteX32" fmla="*/ 477068 w 2772385"/>
              <a:gd name="connsiteY32" fmla="*/ 3771902 h 3811169"/>
              <a:gd name="connsiteX33" fmla="*/ 622923 w 2772385"/>
              <a:gd name="connsiteY33" fmla="*/ 3547509 h 3811169"/>
              <a:gd name="connsiteX34" fmla="*/ 684632 w 2772385"/>
              <a:gd name="connsiteY34" fmla="*/ 3698974 h 3811169"/>
              <a:gd name="connsiteX35" fmla="*/ 768779 w 2772385"/>
              <a:gd name="connsiteY35" fmla="*/ 3704584 h 3811169"/>
              <a:gd name="connsiteX36" fmla="*/ 774389 w 2772385"/>
              <a:gd name="connsiteY36" fmla="*/ 3474581 h 3811169"/>
              <a:gd name="connsiteX37" fmla="*/ 740730 w 2772385"/>
              <a:gd name="connsiteY37" fmla="*/ 3205310 h 3811169"/>
              <a:gd name="connsiteX38" fmla="*/ 897805 w 2772385"/>
              <a:gd name="connsiteY38" fmla="*/ 2627499 h 3811169"/>
              <a:gd name="connsiteX39" fmla="*/ 1161466 w 2772385"/>
              <a:gd name="connsiteY39" fmla="*/ 2520912 h 3811169"/>
              <a:gd name="connsiteX40" fmla="*/ 1526104 w 2772385"/>
              <a:gd name="connsiteY40" fmla="*/ 2627499 h 3811169"/>
              <a:gd name="connsiteX41" fmla="*/ 1587812 w 2772385"/>
              <a:gd name="connsiteY41" fmla="*/ 2627499 h 3811169"/>
              <a:gd name="connsiteX42" fmla="*/ 1643910 w 2772385"/>
              <a:gd name="connsiteY42" fmla="*/ 2728476 h 3811169"/>
              <a:gd name="connsiteX43" fmla="*/ 1795375 w 2772385"/>
              <a:gd name="connsiteY43" fmla="*/ 2762134 h 3811169"/>
              <a:gd name="connsiteX44" fmla="*/ 1806595 w 2772385"/>
              <a:gd name="connsiteY44" fmla="*/ 2795793 h 3811169"/>
              <a:gd name="connsiteX45" fmla="*/ 1767326 w 2772385"/>
              <a:gd name="connsiteY45" fmla="*/ 2997747 h 3811169"/>
              <a:gd name="connsiteX46" fmla="*/ 1744887 w 2772385"/>
              <a:gd name="connsiteY46" fmla="*/ 3323116 h 3811169"/>
              <a:gd name="connsiteX47" fmla="*/ 1537324 w 2772385"/>
              <a:gd name="connsiteY47" fmla="*/ 3345555 h 3811169"/>
              <a:gd name="connsiteX48" fmla="*/ 1200735 w 2772385"/>
              <a:gd name="connsiteY48" fmla="*/ 3396044 h 3811169"/>
              <a:gd name="connsiteX49" fmla="*/ 1172686 w 2772385"/>
              <a:gd name="connsiteY49" fmla="*/ 3468971 h 3811169"/>
              <a:gd name="connsiteX50" fmla="*/ 1110978 w 2772385"/>
              <a:gd name="connsiteY50" fmla="*/ 3497020 h 3811169"/>
              <a:gd name="connsiteX51" fmla="*/ 1139027 w 2772385"/>
              <a:gd name="connsiteY51" fmla="*/ 3631656 h 3811169"/>
              <a:gd name="connsiteX52" fmla="*/ 1279272 w 2772385"/>
              <a:gd name="connsiteY52" fmla="*/ 3637266 h 3811169"/>
              <a:gd name="connsiteX53" fmla="*/ 1273662 w 2772385"/>
              <a:gd name="connsiteY53" fmla="*/ 3485801 h 3811169"/>
              <a:gd name="connsiteX54" fmla="*/ 1453176 w 2772385"/>
              <a:gd name="connsiteY54" fmla="*/ 3497020 h 3811169"/>
              <a:gd name="connsiteX55" fmla="*/ 1425127 w 2772385"/>
              <a:gd name="connsiteY55" fmla="*/ 3575558 h 3811169"/>
              <a:gd name="connsiteX56" fmla="*/ 1397078 w 2772385"/>
              <a:gd name="connsiteY56" fmla="*/ 3637266 h 3811169"/>
              <a:gd name="connsiteX57" fmla="*/ 1312931 w 2772385"/>
              <a:gd name="connsiteY57" fmla="*/ 3654095 h 3811169"/>
              <a:gd name="connsiteX58" fmla="*/ 1447567 w 2772385"/>
              <a:gd name="connsiteY58" fmla="*/ 3777511 h 3811169"/>
              <a:gd name="connsiteX59" fmla="*/ 1514884 w 2772385"/>
              <a:gd name="connsiteY59" fmla="*/ 3642876 h 3811169"/>
              <a:gd name="connsiteX60" fmla="*/ 1817814 w 2772385"/>
              <a:gd name="connsiteY60" fmla="*/ 3541899 h 3811169"/>
              <a:gd name="connsiteX61" fmla="*/ 2154403 w 2772385"/>
              <a:gd name="connsiteY61" fmla="*/ 3614826 h 3811169"/>
              <a:gd name="connsiteX62" fmla="*/ 2109525 w 2772385"/>
              <a:gd name="connsiteY62" fmla="*/ 3715803 h 3811169"/>
              <a:gd name="connsiteX63" fmla="*/ 2204892 w 2772385"/>
              <a:gd name="connsiteY63" fmla="*/ 3783121 h 3811169"/>
              <a:gd name="connsiteX64" fmla="*/ 2277819 w 2772385"/>
              <a:gd name="connsiteY64" fmla="*/ 3732633 h 3811169"/>
              <a:gd name="connsiteX65" fmla="*/ 2266600 w 2772385"/>
              <a:gd name="connsiteY65" fmla="*/ 3637266 h 3811169"/>
              <a:gd name="connsiteX66" fmla="*/ 2446114 w 2772385"/>
              <a:gd name="connsiteY66" fmla="*/ 3558728 h 3811169"/>
              <a:gd name="connsiteX67" fmla="*/ 2429284 w 2772385"/>
              <a:gd name="connsiteY67" fmla="*/ 3384824 h 3811169"/>
              <a:gd name="connsiteX68" fmla="*/ 1924401 w 2772385"/>
              <a:gd name="connsiteY68" fmla="*/ 3356775 h 3811169"/>
              <a:gd name="connsiteX69" fmla="*/ 1913181 w 2772385"/>
              <a:gd name="connsiteY69" fmla="*/ 3031406 h 3811169"/>
              <a:gd name="connsiteX70" fmla="*/ 1879522 w 2772385"/>
              <a:gd name="connsiteY70" fmla="*/ 3014576 h 3811169"/>
              <a:gd name="connsiteX71" fmla="*/ 1901962 w 2772385"/>
              <a:gd name="connsiteY71" fmla="*/ 2835062 h 3811169"/>
              <a:gd name="connsiteX72" fmla="*/ 1857083 w 2772385"/>
              <a:gd name="connsiteY72" fmla="*/ 2773354 h 3811169"/>
              <a:gd name="connsiteX73" fmla="*/ 2103915 w 2772385"/>
              <a:gd name="connsiteY73" fmla="*/ 2717256 h 3811169"/>
              <a:gd name="connsiteX74" fmla="*/ 2126354 w 2772385"/>
              <a:gd name="connsiteY74" fmla="*/ 2588230 h 3811169"/>
              <a:gd name="connsiteX75" fmla="*/ 2367576 w 2772385"/>
              <a:gd name="connsiteY75" fmla="*/ 2621889 h 3811169"/>
              <a:gd name="connsiteX76" fmla="*/ 2591969 w 2772385"/>
              <a:gd name="connsiteY76" fmla="*/ 2032858 h 3811169"/>
              <a:gd name="connsiteX77" fmla="*/ 2547090 w 2772385"/>
              <a:gd name="connsiteY77" fmla="*/ 1948711 h 3811169"/>
              <a:gd name="connsiteX78" fmla="*/ 2692946 w 2772385"/>
              <a:gd name="connsiteY78" fmla="*/ 1460657 h 3811169"/>
              <a:gd name="connsiteX79" fmla="*/ 2636848 w 2772385"/>
              <a:gd name="connsiteY79" fmla="*/ 1354071 h 3811169"/>
              <a:gd name="connsiteX80" fmla="*/ 2479772 w 2772385"/>
              <a:gd name="connsiteY80" fmla="*/ 798699 h 3811169"/>
              <a:gd name="connsiteX81" fmla="*/ 2737825 w 2772385"/>
              <a:gd name="connsiteY81" fmla="*/ 675283 h 3811169"/>
              <a:gd name="connsiteX82" fmla="*/ 2709775 w 2772385"/>
              <a:gd name="connsiteY82" fmla="*/ 434061 h 3811169"/>
              <a:gd name="connsiteX83" fmla="*/ 2625628 w 2772385"/>
              <a:gd name="connsiteY83" fmla="*/ 86253 h 3811169"/>
              <a:gd name="connsiteX0" fmla="*/ 2625628 w 2772385"/>
              <a:gd name="connsiteY0" fmla="*/ 86253 h 3811169"/>
              <a:gd name="connsiteX1" fmla="*/ 2429284 w 2772385"/>
              <a:gd name="connsiteY1" fmla="*/ 2105 h 3811169"/>
              <a:gd name="connsiteX2" fmla="*/ 2188062 w 2772385"/>
              <a:gd name="connsiteY2" fmla="*/ 159180 h 3811169"/>
              <a:gd name="connsiteX3" fmla="*/ 2087086 w 2772385"/>
              <a:gd name="connsiteY3" fmla="*/ 198449 h 3811169"/>
              <a:gd name="connsiteX4" fmla="*/ 2137574 w 2772385"/>
              <a:gd name="connsiteY4" fmla="*/ 288206 h 3811169"/>
              <a:gd name="connsiteX5" fmla="*/ 2025378 w 2772385"/>
              <a:gd name="connsiteY5" fmla="*/ 450890 h 3811169"/>
              <a:gd name="connsiteX6" fmla="*/ 2131966 w 2772385"/>
              <a:gd name="connsiteY6" fmla="*/ 585526 h 3811169"/>
              <a:gd name="connsiteX7" fmla="*/ 2154403 w 2772385"/>
              <a:gd name="connsiteY7" fmla="*/ 708942 h 3811169"/>
              <a:gd name="connsiteX8" fmla="*/ 2025378 w 2772385"/>
              <a:gd name="connsiteY8" fmla="*/ 753820 h 3811169"/>
              <a:gd name="connsiteX9" fmla="*/ 1991719 w 2772385"/>
              <a:gd name="connsiteY9" fmla="*/ 821138 h 3811169"/>
              <a:gd name="connsiteX10" fmla="*/ 1991719 w 2772385"/>
              <a:gd name="connsiteY10" fmla="*/ 708942 h 3811169"/>
              <a:gd name="connsiteX11" fmla="*/ 1941230 w 2772385"/>
              <a:gd name="connsiteY11" fmla="*/ 669673 h 3811169"/>
              <a:gd name="connsiteX12" fmla="*/ 1778546 w 2772385"/>
              <a:gd name="connsiteY12" fmla="*/ 770649 h 3811169"/>
              <a:gd name="connsiteX13" fmla="*/ 1397078 w 2772385"/>
              <a:gd name="connsiteY13" fmla="*/ 579916 h 3811169"/>
              <a:gd name="connsiteX14" fmla="*/ 1660739 w 2772385"/>
              <a:gd name="connsiteY14" fmla="*/ 1129678 h 3811169"/>
              <a:gd name="connsiteX15" fmla="*/ 1795375 w 2772385"/>
              <a:gd name="connsiteY15" fmla="*/ 1225045 h 3811169"/>
              <a:gd name="connsiteX16" fmla="*/ 1643910 w 2772385"/>
              <a:gd name="connsiteY16" fmla="*/ 1449437 h 3811169"/>
              <a:gd name="connsiteX17" fmla="*/ 1722448 w 2772385"/>
              <a:gd name="connsiteY17" fmla="*/ 1668220 h 3811169"/>
              <a:gd name="connsiteX18" fmla="*/ 1812205 w 2772385"/>
              <a:gd name="connsiteY18" fmla="*/ 1662611 h 3811169"/>
              <a:gd name="connsiteX19" fmla="*/ 1621470 w 2772385"/>
              <a:gd name="connsiteY19" fmla="*/ 1858954 h 3811169"/>
              <a:gd name="connsiteX20" fmla="*/ 909024 w 2772385"/>
              <a:gd name="connsiteY20" fmla="*/ 1578463 h 3811169"/>
              <a:gd name="connsiteX21" fmla="*/ 454629 w 2772385"/>
              <a:gd name="connsiteY21" fmla="*/ 2605060 h 3811169"/>
              <a:gd name="connsiteX22" fmla="*/ 258286 w 2772385"/>
              <a:gd name="connsiteY22" fmla="*/ 2812623 h 3811169"/>
              <a:gd name="connsiteX23" fmla="*/ 39503 w 2772385"/>
              <a:gd name="connsiteY23" fmla="*/ 2857501 h 3811169"/>
              <a:gd name="connsiteX24" fmla="*/ 28282 w 2772385"/>
              <a:gd name="connsiteY24" fmla="*/ 2975307 h 3811169"/>
              <a:gd name="connsiteX25" fmla="*/ 258285 w 2772385"/>
              <a:gd name="connsiteY25" fmla="*/ 3087504 h 3811169"/>
              <a:gd name="connsiteX26" fmla="*/ 527559 w 2772385"/>
              <a:gd name="connsiteY26" fmla="*/ 2986527 h 3811169"/>
              <a:gd name="connsiteX27" fmla="*/ 488288 w 2772385"/>
              <a:gd name="connsiteY27" fmla="*/ 3154821 h 3811169"/>
              <a:gd name="connsiteX28" fmla="*/ 561215 w 2772385"/>
              <a:gd name="connsiteY28" fmla="*/ 3194090 h 3811169"/>
              <a:gd name="connsiteX29" fmla="*/ 381702 w 2772385"/>
              <a:gd name="connsiteY29" fmla="*/ 3592387 h 3811169"/>
              <a:gd name="connsiteX30" fmla="*/ 213408 w 2772385"/>
              <a:gd name="connsiteY30" fmla="*/ 3698973 h 3811169"/>
              <a:gd name="connsiteX31" fmla="*/ 280726 w 2772385"/>
              <a:gd name="connsiteY31" fmla="*/ 3811169 h 3811169"/>
              <a:gd name="connsiteX32" fmla="*/ 477068 w 2772385"/>
              <a:gd name="connsiteY32" fmla="*/ 3771902 h 3811169"/>
              <a:gd name="connsiteX33" fmla="*/ 622923 w 2772385"/>
              <a:gd name="connsiteY33" fmla="*/ 3547509 h 3811169"/>
              <a:gd name="connsiteX34" fmla="*/ 679023 w 2772385"/>
              <a:gd name="connsiteY34" fmla="*/ 3738242 h 3811169"/>
              <a:gd name="connsiteX35" fmla="*/ 768779 w 2772385"/>
              <a:gd name="connsiteY35" fmla="*/ 3704584 h 3811169"/>
              <a:gd name="connsiteX36" fmla="*/ 774389 w 2772385"/>
              <a:gd name="connsiteY36" fmla="*/ 3474581 h 3811169"/>
              <a:gd name="connsiteX37" fmla="*/ 740730 w 2772385"/>
              <a:gd name="connsiteY37" fmla="*/ 3205310 h 3811169"/>
              <a:gd name="connsiteX38" fmla="*/ 897805 w 2772385"/>
              <a:gd name="connsiteY38" fmla="*/ 2627499 h 3811169"/>
              <a:gd name="connsiteX39" fmla="*/ 1161466 w 2772385"/>
              <a:gd name="connsiteY39" fmla="*/ 2520912 h 3811169"/>
              <a:gd name="connsiteX40" fmla="*/ 1526104 w 2772385"/>
              <a:gd name="connsiteY40" fmla="*/ 2627499 h 3811169"/>
              <a:gd name="connsiteX41" fmla="*/ 1587812 w 2772385"/>
              <a:gd name="connsiteY41" fmla="*/ 2627499 h 3811169"/>
              <a:gd name="connsiteX42" fmla="*/ 1643910 w 2772385"/>
              <a:gd name="connsiteY42" fmla="*/ 2728476 h 3811169"/>
              <a:gd name="connsiteX43" fmla="*/ 1795375 w 2772385"/>
              <a:gd name="connsiteY43" fmla="*/ 2762134 h 3811169"/>
              <a:gd name="connsiteX44" fmla="*/ 1806595 w 2772385"/>
              <a:gd name="connsiteY44" fmla="*/ 2795793 h 3811169"/>
              <a:gd name="connsiteX45" fmla="*/ 1767326 w 2772385"/>
              <a:gd name="connsiteY45" fmla="*/ 2997747 h 3811169"/>
              <a:gd name="connsiteX46" fmla="*/ 1744887 w 2772385"/>
              <a:gd name="connsiteY46" fmla="*/ 3323116 h 3811169"/>
              <a:gd name="connsiteX47" fmla="*/ 1537324 w 2772385"/>
              <a:gd name="connsiteY47" fmla="*/ 3345555 h 3811169"/>
              <a:gd name="connsiteX48" fmla="*/ 1200735 w 2772385"/>
              <a:gd name="connsiteY48" fmla="*/ 3396044 h 3811169"/>
              <a:gd name="connsiteX49" fmla="*/ 1172686 w 2772385"/>
              <a:gd name="connsiteY49" fmla="*/ 3468971 h 3811169"/>
              <a:gd name="connsiteX50" fmla="*/ 1110978 w 2772385"/>
              <a:gd name="connsiteY50" fmla="*/ 3497020 h 3811169"/>
              <a:gd name="connsiteX51" fmla="*/ 1139027 w 2772385"/>
              <a:gd name="connsiteY51" fmla="*/ 3631656 h 3811169"/>
              <a:gd name="connsiteX52" fmla="*/ 1279272 w 2772385"/>
              <a:gd name="connsiteY52" fmla="*/ 3637266 h 3811169"/>
              <a:gd name="connsiteX53" fmla="*/ 1273662 w 2772385"/>
              <a:gd name="connsiteY53" fmla="*/ 3485801 h 3811169"/>
              <a:gd name="connsiteX54" fmla="*/ 1453176 w 2772385"/>
              <a:gd name="connsiteY54" fmla="*/ 3497020 h 3811169"/>
              <a:gd name="connsiteX55" fmla="*/ 1425127 w 2772385"/>
              <a:gd name="connsiteY55" fmla="*/ 3575558 h 3811169"/>
              <a:gd name="connsiteX56" fmla="*/ 1397078 w 2772385"/>
              <a:gd name="connsiteY56" fmla="*/ 3637266 h 3811169"/>
              <a:gd name="connsiteX57" fmla="*/ 1312931 w 2772385"/>
              <a:gd name="connsiteY57" fmla="*/ 3654095 h 3811169"/>
              <a:gd name="connsiteX58" fmla="*/ 1447567 w 2772385"/>
              <a:gd name="connsiteY58" fmla="*/ 3777511 h 3811169"/>
              <a:gd name="connsiteX59" fmla="*/ 1514884 w 2772385"/>
              <a:gd name="connsiteY59" fmla="*/ 3642876 h 3811169"/>
              <a:gd name="connsiteX60" fmla="*/ 1817814 w 2772385"/>
              <a:gd name="connsiteY60" fmla="*/ 3541899 h 3811169"/>
              <a:gd name="connsiteX61" fmla="*/ 2154403 w 2772385"/>
              <a:gd name="connsiteY61" fmla="*/ 3614826 h 3811169"/>
              <a:gd name="connsiteX62" fmla="*/ 2109525 w 2772385"/>
              <a:gd name="connsiteY62" fmla="*/ 3715803 h 3811169"/>
              <a:gd name="connsiteX63" fmla="*/ 2204892 w 2772385"/>
              <a:gd name="connsiteY63" fmla="*/ 3783121 h 3811169"/>
              <a:gd name="connsiteX64" fmla="*/ 2277819 w 2772385"/>
              <a:gd name="connsiteY64" fmla="*/ 3732633 h 3811169"/>
              <a:gd name="connsiteX65" fmla="*/ 2266600 w 2772385"/>
              <a:gd name="connsiteY65" fmla="*/ 3637266 h 3811169"/>
              <a:gd name="connsiteX66" fmla="*/ 2446114 w 2772385"/>
              <a:gd name="connsiteY66" fmla="*/ 3558728 h 3811169"/>
              <a:gd name="connsiteX67" fmla="*/ 2429284 w 2772385"/>
              <a:gd name="connsiteY67" fmla="*/ 3384824 h 3811169"/>
              <a:gd name="connsiteX68" fmla="*/ 1924401 w 2772385"/>
              <a:gd name="connsiteY68" fmla="*/ 3356775 h 3811169"/>
              <a:gd name="connsiteX69" fmla="*/ 1913181 w 2772385"/>
              <a:gd name="connsiteY69" fmla="*/ 3031406 h 3811169"/>
              <a:gd name="connsiteX70" fmla="*/ 1879522 w 2772385"/>
              <a:gd name="connsiteY70" fmla="*/ 3014576 h 3811169"/>
              <a:gd name="connsiteX71" fmla="*/ 1901962 w 2772385"/>
              <a:gd name="connsiteY71" fmla="*/ 2835062 h 3811169"/>
              <a:gd name="connsiteX72" fmla="*/ 1857083 w 2772385"/>
              <a:gd name="connsiteY72" fmla="*/ 2773354 h 3811169"/>
              <a:gd name="connsiteX73" fmla="*/ 2103915 w 2772385"/>
              <a:gd name="connsiteY73" fmla="*/ 2717256 h 3811169"/>
              <a:gd name="connsiteX74" fmla="*/ 2126354 w 2772385"/>
              <a:gd name="connsiteY74" fmla="*/ 2588230 h 3811169"/>
              <a:gd name="connsiteX75" fmla="*/ 2367576 w 2772385"/>
              <a:gd name="connsiteY75" fmla="*/ 2621889 h 3811169"/>
              <a:gd name="connsiteX76" fmla="*/ 2591969 w 2772385"/>
              <a:gd name="connsiteY76" fmla="*/ 2032858 h 3811169"/>
              <a:gd name="connsiteX77" fmla="*/ 2547090 w 2772385"/>
              <a:gd name="connsiteY77" fmla="*/ 1948711 h 3811169"/>
              <a:gd name="connsiteX78" fmla="*/ 2692946 w 2772385"/>
              <a:gd name="connsiteY78" fmla="*/ 1460657 h 3811169"/>
              <a:gd name="connsiteX79" fmla="*/ 2636848 w 2772385"/>
              <a:gd name="connsiteY79" fmla="*/ 1354071 h 3811169"/>
              <a:gd name="connsiteX80" fmla="*/ 2479772 w 2772385"/>
              <a:gd name="connsiteY80" fmla="*/ 798699 h 3811169"/>
              <a:gd name="connsiteX81" fmla="*/ 2737825 w 2772385"/>
              <a:gd name="connsiteY81" fmla="*/ 675283 h 3811169"/>
              <a:gd name="connsiteX82" fmla="*/ 2709775 w 2772385"/>
              <a:gd name="connsiteY82" fmla="*/ 434061 h 3811169"/>
              <a:gd name="connsiteX83" fmla="*/ 2625628 w 2772385"/>
              <a:gd name="connsiteY83" fmla="*/ 86253 h 3811169"/>
              <a:gd name="connsiteX0" fmla="*/ 2625628 w 2772385"/>
              <a:gd name="connsiteY0" fmla="*/ 86253 h 3811169"/>
              <a:gd name="connsiteX1" fmla="*/ 2429284 w 2772385"/>
              <a:gd name="connsiteY1" fmla="*/ 2105 h 3811169"/>
              <a:gd name="connsiteX2" fmla="*/ 2188062 w 2772385"/>
              <a:gd name="connsiteY2" fmla="*/ 159180 h 3811169"/>
              <a:gd name="connsiteX3" fmla="*/ 2087086 w 2772385"/>
              <a:gd name="connsiteY3" fmla="*/ 198449 h 3811169"/>
              <a:gd name="connsiteX4" fmla="*/ 2137574 w 2772385"/>
              <a:gd name="connsiteY4" fmla="*/ 288206 h 3811169"/>
              <a:gd name="connsiteX5" fmla="*/ 2025378 w 2772385"/>
              <a:gd name="connsiteY5" fmla="*/ 450890 h 3811169"/>
              <a:gd name="connsiteX6" fmla="*/ 2131966 w 2772385"/>
              <a:gd name="connsiteY6" fmla="*/ 585526 h 3811169"/>
              <a:gd name="connsiteX7" fmla="*/ 2154403 w 2772385"/>
              <a:gd name="connsiteY7" fmla="*/ 708942 h 3811169"/>
              <a:gd name="connsiteX8" fmla="*/ 2025378 w 2772385"/>
              <a:gd name="connsiteY8" fmla="*/ 753820 h 3811169"/>
              <a:gd name="connsiteX9" fmla="*/ 1991719 w 2772385"/>
              <a:gd name="connsiteY9" fmla="*/ 821138 h 3811169"/>
              <a:gd name="connsiteX10" fmla="*/ 1991719 w 2772385"/>
              <a:gd name="connsiteY10" fmla="*/ 708942 h 3811169"/>
              <a:gd name="connsiteX11" fmla="*/ 1941230 w 2772385"/>
              <a:gd name="connsiteY11" fmla="*/ 669673 h 3811169"/>
              <a:gd name="connsiteX12" fmla="*/ 1778546 w 2772385"/>
              <a:gd name="connsiteY12" fmla="*/ 770649 h 3811169"/>
              <a:gd name="connsiteX13" fmla="*/ 1397078 w 2772385"/>
              <a:gd name="connsiteY13" fmla="*/ 579916 h 3811169"/>
              <a:gd name="connsiteX14" fmla="*/ 1660739 w 2772385"/>
              <a:gd name="connsiteY14" fmla="*/ 1129678 h 3811169"/>
              <a:gd name="connsiteX15" fmla="*/ 1795375 w 2772385"/>
              <a:gd name="connsiteY15" fmla="*/ 1225045 h 3811169"/>
              <a:gd name="connsiteX16" fmla="*/ 1643910 w 2772385"/>
              <a:gd name="connsiteY16" fmla="*/ 1449437 h 3811169"/>
              <a:gd name="connsiteX17" fmla="*/ 1722448 w 2772385"/>
              <a:gd name="connsiteY17" fmla="*/ 1668220 h 3811169"/>
              <a:gd name="connsiteX18" fmla="*/ 1812205 w 2772385"/>
              <a:gd name="connsiteY18" fmla="*/ 1662611 h 3811169"/>
              <a:gd name="connsiteX19" fmla="*/ 1621470 w 2772385"/>
              <a:gd name="connsiteY19" fmla="*/ 1858954 h 3811169"/>
              <a:gd name="connsiteX20" fmla="*/ 909024 w 2772385"/>
              <a:gd name="connsiteY20" fmla="*/ 1578463 h 3811169"/>
              <a:gd name="connsiteX21" fmla="*/ 454629 w 2772385"/>
              <a:gd name="connsiteY21" fmla="*/ 2605060 h 3811169"/>
              <a:gd name="connsiteX22" fmla="*/ 258286 w 2772385"/>
              <a:gd name="connsiteY22" fmla="*/ 2812623 h 3811169"/>
              <a:gd name="connsiteX23" fmla="*/ 39503 w 2772385"/>
              <a:gd name="connsiteY23" fmla="*/ 2857501 h 3811169"/>
              <a:gd name="connsiteX24" fmla="*/ 28282 w 2772385"/>
              <a:gd name="connsiteY24" fmla="*/ 2975307 h 3811169"/>
              <a:gd name="connsiteX25" fmla="*/ 258285 w 2772385"/>
              <a:gd name="connsiteY25" fmla="*/ 3087504 h 3811169"/>
              <a:gd name="connsiteX26" fmla="*/ 527559 w 2772385"/>
              <a:gd name="connsiteY26" fmla="*/ 2986527 h 3811169"/>
              <a:gd name="connsiteX27" fmla="*/ 488288 w 2772385"/>
              <a:gd name="connsiteY27" fmla="*/ 3154821 h 3811169"/>
              <a:gd name="connsiteX28" fmla="*/ 561215 w 2772385"/>
              <a:gd name="connsiteY28" fmla="*/ 3194090 h 3811169"/>
              <a:gd name="connsiteX29" fmla="*/ 381702 w 2772385"/>
              <a:gd name="connsiteY29" fmla="*/ 3592387 h 3811169"/>
              <a:gd name="connsiteX30" fmla="*/ 213408 w 2772385"/>
              <a:gd name="connsiteY30" fmla="*/ 3698973 h 3811169"/>
              <a:gd name="connsiteX31" fmla="*/ 280726 w 2772385"/>
              <a:gd name="connsiteY31" fmla="*/ 3811169 h 3811169"/>
              <a:gd name="connsiteX32" fmla="*/ 477068 w 2772385"/>
              <a:gd name="connsiteY32" fmla="*/ 3771902 h 3811169"/>
              <a:gd name="connsiteX33" fmla="*/ 622923 w 2772385"/>
              <a:gd name="connsiteY33" fmla="*/ 3547509 h 3811169"/>
              <a:gd name="connsiteX34" fmla="*/ 679023 w 2772385"/>
              <a:gd name="connsiteY34" fmla="*/ 3738242 h 3811169"/>
              <a:gd name="connsiteX35" fmla="*/ 740730 w 2772385"/>
              <a:gd name="connsiteY35" fmla="*/ 3738243 h 3811169"/>
              <a:gd name="connsiteX36" fmla="*/ 774389 w 2772385"/>
              <a:gd name="connsiteY36" fmla="*/ 3474581 h 3811169"/>
              <a:gd name="connsiteX37" fmla="*/ 740730 w 2772385"/>
              <a:gd name="connsiteY37" fmla="*/ 3205310 h 3811169"/>
              <a:gd name="connsiteX38" fmla="*/ 897805 w 2772385"/>
              <a:gd name="connsiteY38" fmla="*/ 2627499 h 3811169"/>
              <a:gd name="connsiteX39" fmla="*/ 1161466 w 2772385"/>
              <a:gd name="connsiteY39" fmla="*/ 2520912 h 3811169"/>
              <a:gd name="connsiteX40" fmla="*/ 1526104 w 2772385"/>
              <a:gd name="connsiteY40" fmla="*/ 2627499 h 3811169"/>
              <a:gd name="connsiteX41" fmla="*/ 1587812 w 2772385"/>
              <a:gd name="connsiteY41" fmla="*/ 2627499 h 3811169"/>
              <a:gd name="connsiteX42" fmla="*/ 1643910 w 2772385"/>
              <a:gd name="connsiteY42" fmla="*/ 2728476 h 3811169"/>
              <a:gd name="connsiteX43" fmla="*/ 1795375 w 2772385"/>
              <a:gd name="connsiteY43" fmla="*/ 2762134 h 3811169"/>
              <a:gd name="connsiteX44" fmla="*/ 1806595 w 2772385"/>
              <a:gd name="connsiteY44" fmla="*/ 2795793 h 3811169"/>
              <a:gd name="connsiteX45" fmla="*/ 1767326 w 2772385"/>
              <a:gd name="connsiteY45" fmla="*/ 2997747 h 3811169"/>
              <a:gd name="connsiteX46" fmla="*/ 1744887 w 2772385"/>
              <a:gd name="connsiteY46" fmla="*/ 3323116 h 3811169"/>
              <a:gd name="connsiteX47" fmla="*/ 1537324 w 2772385"/>
              <a:gd name="connsiteY47" fmla="*/ 3345555 h 3811169"/>
              <a:gd name="connsiteX48" fmla="*/ 1200735 w 2772385"/>
              <a:gd name="connsiteY48" fmla="*/ 3396044 h 3811169"/>
              <a:gd name="connsiteX49" fmla="*/ 1172686 w 2772385"/>
              <a:gd name="connsiteY49" fmla="*/ 3468971 h 3811169"/>
              <a:gd name="connsiteX50" fmla="*/ 1110978 w 2772385"/>
              <a:gd name="connsiteY50" fmla="*/ 3497020 h 3811169"/>
              <a:gd name="connsiteX51" fmla="*/ 1139027 w 2772385"/>
              <a:gd name="connsiteY51" fmla="*/ 3631656 h 3811169"/>
              <a:gd name="connsiteX52" fmla="*/ 1279272 w 2772385"/>
              <a:gd name="connsiteY52" fmla="*/ 3637266 h 3811169"/>
              <a:gd name="connsiteX53" fmla="*/ 1273662 w 2772385"/>
              <a:gd name="connsiteY53" fmla="*/ 3485801 h 3811169"/>
              <a:gd name="connsiteX54" fmla="*/ 1453176 w 2772385"/>
              <a:gd name="connsiteY54" fmla="*/ 3497020 h 3811169"/>
              <a:gd name="connsiteX55" fmla="*/ 1425127 w 2772385"/>
              <a:gd name="connsiteY55" fmla="*/ 3575558 h 3811169"/>
              <a:gd name="connsiteX56" fmla="*/ 1397078 w 2772385"/>
              <a:gd name="connsiteY56" fmla="*/ 3637266 h 3811169"/>
              <a:gd name="connsiteX57" fmla="*/ 1312931 w 2772385"/>
              <a:gd name="connsiteY57" fmla="*/ 3654095 h 3811169"/>
              <a:gd name="connsiteX58" fmla="*/ 1447567 w 2772385"/>
              <a:gd name="connsiteY58" fmla="*/ 3777511 h 3811169"/>
              <a:gd name="connsiteX59" fmla="*/ 1514884 w 2772385"/>
              <a:gd name="connsiteY59" fmla="*/ 3642876 h 3811169"/>
              <a:gd name="connsiteX60" fmla="*/ 1817814 w 2772385"/>
              <a:gd name="connsiteY60" fmla="*/ 3541899 h 3811169"/>
              <a:gd name="connsiteX61" fmla="*/ 2154403 w 2772385"/>
              <a:gd name="connsiteY61" fmla="*/ 3614826 h 3811169"/>
              <a:gd name="connsiteX62" fmla="*/ 2109525 w 2772385"/>
              <a:gd name="connsiteY62" fmla="*/ 3715803 h 3811169"/>
              <a:gd name="connsiteX63" fmla="*/ 2204892 w 2772385"/>
              <a:gd name="connsiteY63" fmla="*/ 3783121 h 3811169"/>
              <a:gd name="connsiteX64" fmla="*/ 2277819 w 2772385"/>
              <a:gd name="connsiteY64" fmla="*/ 3732633 h 3811169"/>
              <a:gd name="connsiteX65" fmla="*/ 2266600 w 2772385"/>
              <a:gd name="connsiteY65" fmla="*/ 3637266 h 3811169"/>
              <a:gd name="connsiteX66" fmla="*/ 2446114 w 2772385"/>
              <a:gd name="connsiteY66" fmla="*/ 3558728 h 3811169"/>
              <a:gd name="connsiteX67" fmla="*/ 2429284 w 2772385"/>
              <a:gd name="connsiteY67" fmla="*/ 3384824 h 3811169"/>
              <a:gd name="connsiteX68" fmla="*/ 1924401 w 2772385"/>
              <a:gd name="connsiteY68" fmla="*/ 3356775 h 3811169"/>
              <a:gd name="connsiteX69" fmla="*/ 1913181 w 2772385"/>
              <a:gd name="connsiteY69" fmla="*/ 3031406 h 3811169"/>
              <a:gd name="connsiteX70" fmla="*/ 1879522 w 2772385"/>
              <a:gd name="connsiteY70" fmla="*/ 3014576 h 3811169"/>
              <a:gd name="connsiteX71" fmla="*/ 1901962 w 2772385"/>
              <a:gd name="connsiteY71" fmla="*/ 2835062 h 3811169"/>
              <a:gd name="connsiteX72" fmla="*/ 1857083 w 2772385"/>
              <a:gd name="connsiteY72" fmla="*/ 2773354 h 3811169"/>
              <a:gd name="connsiteX73" fmla="*/ 2103915 w 2772385"/>
              <a:gd name="connsiteY73" fmla="*/ 2717256 h 3811169"/>
              <a:gd name="connsiteX74" fmla="*/ 2126354 w 2772385"/>
              <a:gd name="connsiteY74" fmla="*/ 2588230 h 3811169"/>
              <a:gd name="connsiteX75" fmla="*/ 2367576 w 2772385"/>
              <a:gd name="connsiteY75" fmla="*/ 2621889 h 3811169"/>
              <a:gd name="connsiteX76" fmla="*/ 2591969 w 2772385"/>
              <a:gd name="connsiteY76" fmla="*/ 2032858 h 3811169"/>
              <a:gd name="connsiteX77" fmla="*/ 2547090 w 2772385"/>
              <a:gd name="connsiteY77" fmla="*/ 1948711 h 3811169"/>
              <a:gd name="connsiteX78" fmla="*/ 2692946 w 2772385"/>
              <a:gd name="connsiteY78" fmla="*/ 1460657 h 3811169"/>
              <a:gd name="connsiteX79" fmla="*/ 2636848 w 2772385"/>
              <a:gd name="connsiteY79" fmla="*/ 1354071 h 3811169"/>
              <a:gd name="connsiteX80" fmla="*/ 2479772 w 2772385"/>
              <a:gd name="connsiteY80" fmla="*/ 798699 h 3811169"/>
              <a:gd name="connsiteX81" fmla="*/ 2737825 w 2772385"/>
              <a:gd name="connsiteY81" fmla="*/ 675283 h 3811169"/>
              <a:gd name="connsiteX82" fmla="*/ 2709775 w 2772385"/>
              <a:gd name="connsiteY82" fmla="*/ 434061 h 3811169"/>
              <a:gd name="connsiteX83" fmla="*/ 2625628 w 2772385"/>
              <a:gd name="connsiteY83" fmla="*/ 86253 h 3811169"/>
              <a:gd name="connsiteX0" fmla="*/ 2625628 w 2772385"/>
              <a:gd name="connsiteY0" fmla="*/ 86253 h 3811169"/>
              <a:gd name="connsiteX1" fmla="*/ 2429284 w 2772385"/>
              <a:gd name="connsiteY1" fmla="*/ 2105 h 3811169"/>
              <a:gd name="connsiteX2" fmla="*/ 2188062 w 2772385"/>
              <a:gd name="connsiteY2" fmla="*/ 159180 h 3811169"/>
              <a:gd name="connsiteX3" fmla="*/ 2087086 w 2772385"/>
              <a:gd name="connsiteY3" fmla="*/ 198449 h 3811169"/>
              <a:gd name="connsiteX4" fmla="*/ 2137574 w 2772385"/>
              <a:gd name="connsiteY4" fmla="*/ 288206 h 3811169"/>
              <a:gd name="connsiteX5" fmla="*/ 2025378 w 2772385"/>
              <a:gd name="connsiteY5" fmla="*/ 450890 h 3811169"/>
              <a:gd name="connsiteX6" fmla="*/ 2131966 w 2772385"/>
              <a:gd name="connsiteY6" fmla="*/ 585526 h 3811169"/>
              <a:gd name="connsiteX7" fmla="*/ 2154403 w 2772385"/>
              <a:gd name="connsiteY7" fmla="*/ 708942 h 3811169"/>
              <a:gd name="connsiteX8" fmla="*/ 2025378 w 2772385"/>
              <a:gd name="connsiteY8" fmla="*/ 753820 h 3811169"/>
              <a:gd name="connsiteX9" fmla="*/ 1991719 w 2772385"/>
              <a:gd name="connsiteY9" fmla="*/ 821138 h 3811169"/>
              <a:gd name="connsiteX10" fmla="*/ 1991719 w 2772385"/>
              <a:gd name="connsiteY10" fmla="*/ 708942 h 3811169"/>
              <a:gd name="connsiteX11" fmla="*/ 1941230 w 2772385"/>
              <a:gd name="connsiteY11" fmla="*/ 669673 h 3811169"/>
              <a:gd name="connsiteX12" fmla="*/ 1778546 w 2772385"/>
              <a:gd name="connsiteY12" fmla="*/ 770649 h 3811169"/>
              <a:gd name="connsiteX13" fmla="*/ 1397078 w 2772385"/>
              <a:gd name="connsiteY13" fmla="*/ 579916 h 3811169"/>
              <a:gd name="connsiteX14" fmla="*/ 1660739 w 2772385"/>
              <a:gd name="connsiteY14" fmla="*/ 1129678 h 3811169"/>
              <a:gd name="connsiteX15" fmla="*/ 1795375 w 2772385"/>
              <a:gd name="connsiteY15" fmla="*/ 1225045 h 3811169"/>
              <a:gd name="connsiteX16" fmla="*/ 1643910 w 2772385"/>
              <a:gd name="connsiteY16" fmla="*/ 1449437 h 3811169"/>
              <a:gd name="connsiteX17" fmla="*/ 1722448 w 2772385"/>
              <a:gd name="connsiteY17" fmla="*/ 1668220 h 3811169"/>
              <a:gd name="connsiteX18" fmla="*/ 1812205 w 2772385"/>
              <a:gd name="connsiteY18" fmla="*/ 1662611 h 3811169"/>
              <a:gd name="connsiteX19" fmla="*/ 1621470 w 2772385"/>
              <a:gd name="connsiteY19" fmla="*/ 1858954 h 3811169"/>
              <a:gd name="connsiteX20" fmla="*/ 909024 w 2772385"/>
              <a:gd name="connsiteY20" fmla="*/ 1578463 h 3811169"/>
              <a:gd name="connsiteX21" fmla="*/ 454629 w 2772385"/>
              <a:gd name="connsiteY21" fmla="*/ 2605060 h 3811169"/>
              <a:gd name="connsiteX22" fmla="*/ 258286 w 2772385"/>
              <a:gd name="connsiteY22" fmla="*/ 2812623 h 3811169"/>
              <a:gd name="connsiteX23" fmla="*/ 39503 w 2772385"/>
              <a:gd name="connsiteY23" fmla="*/ 2857501 h 3811169"/>
              <a:gd name="connsiteX24" fmla="*/ 28282 w 2772385"/>
              <a:gd name="connsiteY24" fmla="*/ 2975307 h 3811169"/>
              <a:gd name="connsiteX25" fmla="*/ 258285 w 2772385"/>
              <a:gd name="connsiteY25" fmla="*/ 3087504 h 3811169"/>
              <a:gd name="connsiteX26" fmla="*/ 527559 w 2772385"/>
              <a:gd name="connsiteY26" fmla="*/ 2986527 h 3811169"/>
              <a:gd name="connsiteX27" fmla="*/ 488288 w 2772385"/>
              <a:gd name="connsiteY27" fmla="*/ 3154821 h 3811169"/>
              <a:gd name="connsiteX28" fmla="*/ 561215 w 2772385"/>
              <a:gd name="connsiteY28" fmla="*/ 3194090 h 3811169"/>
              <a:gd name="connsiteX29" fmla="*/ 381702 w 2772385"/>
              <a:gd name="connsiteY29" fmla="*/ 3592387 h 3811169"/>
              <a:gd name="connsiteX30" fmla="*/ 213408 w 2772385"/>
              <a:gd name="connsiteY30" fmla="*/ 3698973 h 3811169"/>
              <a:gd name="connsiteX31" fmla="*/ 280726 w 2772385"/>
              <a:gd name="connsiteY31" fmla="*/ 3811169 h 3811169"/>
              <a:gd name="connsiteX32" fmla="*/ 477068 w 2772385"/>
              <a:gd name="connsiteY32" fmla="*/ 3771902 h 3811169"/>
              <a:gd name="connsiteX33" fmla="*/ 622923 w 2772385"/>
              <a:gd name="connsiteY33" fmla="*/ 3547509 h 3811169"/>
              <a:gd name="connsiteX34" fmla="*/ 679023 w 2772385"/>
              <a:gd name="connsiteY34" fmla="*/ 3738242 h 3811169"/>
              <a:gd name="connsiteX35" fmla="*/ 718291 w 2772385"/>
              <a:gd name="connsiteY35" fmla="*/ 3743853 h 3811169"/>
              <a:gd name="connsiteX36" fmla="*/ 774389 w 2772385"/>
              <a:gd name="connsiteY36" fmla="*/ 3474581 h 3811169"/>
              <a:gd name="connsiteX37" fmla="*/ 740730 w 2772385"/>
              <a:gd name="connsiteY37" fmla="*/ 3205310 h 3811169"/>
              <a:gd name="connsiteX38" fmla="*/ 897805 w 2772385"/>
              <a:gd name="connsiteY38" fmla="*/ 2627499 h 3811169"/>
              <a:gd name="connsiteX39" fmla="*/ 1161466 w 2772385"/>
              <a:gd name="connsiteY39" fmla="*/ 2520912 h 3811169"/>
              <a:gd name="connsiteX40" fmla="*/ 1526104 w 2772385"/>
              <a:gd name="connsiteY40" fmla="*/ 2627499 h 3811169"/>
              <a:gd name="connsiteX41" fmla="*/ 1587812 w 2772385"/>
              <a:gd name="connsiteY41" fmla="*/ 2627499 h 3811169"/>
              <a:gd name="connsiteX42" fmla="*/ 1643910 w 2772385"/>
              <a:gd name="connsiteY42" fmla="*/ 2728476 h 3811169"/>
              <a:gd name="connsiteX43" fmla="*/ 1795375 w 2772385"/>
              <a:gd name="connsiteY43" fmla="*/ 2762134 h 3811169"/>
              <a:gd name="connsiteX44" fmla="*/ 1806595 w 2772385"/>
              <a:gd name="connsiteY44" fmla="*/ 2795793 h 3811169"/>
              <a:gd name="connsiteX45" fmla="*/ 1767326 w 2772385"/>
              <a:gd name="connsiteY45" fmla="*/ 2997747 h 3811169"/>
              <a:gd name="connsiteX46" fmla="*/ 1744887 w 2772385"/>
              <a:gd name="connsiteY46" fmla="*/ 3323116 h 3811169"/>
              <a:gd name="connsiteX47" fmla="*/ 1537324 w 2772385"/>
              <a:gd name="connsiteY47" fmla="*/ 3345555 h 3811169"/>
              <a:gd name="connsiteX48" fmla="*/ 1200735 w 2772385"/>
              <a:gd name="connsiteY48" fmla="*/ 3396044 h 3811169"/>
              <a:gd name="connsiteX49" fmla="*/ 1172686 w 2772385"/>
              <a:gd name="connsiteY49" fmla="*/ 3468971 h 3811169"/>
              <a:gd name="connsiteX50" fmla="*/ 1110978 w 2772385"/>
              <a:gd name="connsiteY50" fmla="*/ 3497020 h 3811169"/>
              <a:gd name="connsiteX51" fmla="*/ 1139027 w 2772385"/>
              <a:gd name="connsiteY51" fmla="*/ 3631656 h 3811169"/>
              <a:gd name="connsiteX52" fmla="*/ 1279272 w 2772385"/>
              <a:gd name="connsiteY52" fmla="*/ 3637266 h 3811169"/>
              <a:gd name="connsiteX53" fmla="*/ 1273662 w 2772385"/>
              <a:gd name="connsiteY53" fmla="*/ 3485801 h 3811169"/>
              <a:gd name="connsiteX54" fmla="*/ 1453176 w 2772385"/>
              <a:gd name="connsiteY54" fmla="*/ 3497020 h 3811169"/>
              <a:gd name="connsiteX55" fmla="*/ 1425127 w 2772385"/>
              <a:gd name="connsiteY55" fmla="*/ 3575558 h 3811169"/>
              <a:gd name="connsiteX56" fmla="*/ 1397078 w 2772385"/>
              <a:gd name="connsiteY56" fmla="*/ 3637266 h 3811169"/>
              <a:gd name="connsiteX57" fmla="*/ 1312931 w 2772385"/>
              <a:gd name="connsiteY57" fmla="*/ 3654095 h 3811169"/>
              <a:gd name="connsiteX58" fmla="*/ 1447567 w 2772385"/>
              <a:gd name="connsiteY58" fmla="*/ 3777511 h 3811169"/>
              <a:gd name="connsiteX59" fmla="*/ 1514884 w 2772385"/>
              <a:gd name="connsiteY59" fmla="*/ 3642876 h 3811169"/>
              <a:gd name="connsiteX60" fmla="*/ 1817814 w 2772385"/>
              <a:gd name="connsiteY60" fmla="*/ 3541899 h 3811169"/>
              <a:gd name="connsiteX61" fmla="*/ 2154403 w 2772385"/>
              <a:gd name="connsiteY61" fmla="*/ 3614826 h 3811169"/>
              <a:gd name="connsiteX62" fmla="*/ 2109525 w 2772385"/>
              <a:gd name="connsiteY62" fmla="*/ 3715803 h 3811169"/>
              <a:gd name="connsiteX63" fmla="*/ 2204892 w 2772385"/>
              <a:gd name="connsiteY63" fmla="*/ 3783121 h 3811169"/>
              <a:gd name="connsiteX64" fmla="*/ 2277819 w 2772385"/>
              <a:gd name="connsiteY64" fmla="*/ 3732633 h 3811169"/>
              <a:gd name="connsiteX65" fmla="*/ 2266600 w 2772385"/>
              <a:gd name="connsiteY65" fmla="*/ 3637266 h 3811169"/>
              <a:gd name="connsiteX66" fmla="*/ 2446114 w 2772385"/>
              <a:gd name="connsiteY66" fmla="*/ 3558728 h 3811169"/>
              <a:gd name="connsiteX67" fmla="*/ 2429284 w 2772385"/>
              <a:gd name="connsiteY67" fmla="*/ 3384824 h 3811169"/>
              <a:gd name="connsiteX68" fmla="*/ 1924401 w 2772385"/>
              <a:gd name="connsiteY68" fmla="*/ 3356775 h 3811169"/>
              <a:gd name="connsiteX69" fmla="*/ 1913181 w 2772385"/>
              <a:gd name="connsiteY69" fmla="*/ 3031406 h 3811169"/>
              <a:gd name="connsiteX70" fmla="*/ 1879522 w 2772385"/>
              <a:gd name="connsiteY70" fmla="*/ 3014576 h 3811169"/>
              <a:gd name="connsiteX71" fmla="*/ 1901962 w 2772385"/>
              <a:gd name="connsiteY71" fmla="*/ 2835062 h 3811169"/>
              <a:gd name="connsiteX72" fmla="*/ 1857083 w 2772385"/>
              <a:gd name="connsiteY72" fmla="*/ 2773354 h 3811169"/>
              <a:gd name="connsiteX73" fmla="*/ 2103915 w 2772385"/>
              <a:gd name="connsiteY73" fmla="*/ 2717256 h 3811169"/>
              <a:gd name="connsiteX74" fmla="*/ 2126354 w 2772385"/>
              <a:gd name="connsiteY74" fmla="*/ 2588230 h 3811169"/>
              <a:gd name="connsiteX75" fmla="*/ 2367576 w 2772385"/>
              <a:gd name="connsiteY75" fmla="*/ 2621889 h 3811169"/>
              <a:gd name="connsiteX76" fmla="*/ 2591969 w 2772385"/>
              <a:gd name="connsiteY76" fmla="*/ 2032858 h 3811169"/>
              <a:gd name="connsiteX77" fmla="*/ 2547090 w 2772385"/>
              <a:gd name="connsiteY77" fmla="*/ 1948711 h 3811169"/>
              <a:gd name="connsiteX78" fmla="*/ 2692946 w 2772385"/>
              <a:gd name="connsiteY78" fmla="*/ 1460657 h 3811169"/>
              <a:gd name="connsiteX79" fmla="*/ 2636848 w 2772385"/>
              <a:gd name="connsiteY79" fmla="*/ 1354071 h 3811169"/>
              <a:gd name="connsiteX80" fmla="*/ 2479772 w 2772385"/>
              <a:gd name="connsiteY80" fmla="*/ 798699 h 3811169"/>
              <a:gd name="connsiteX81" fmla="*/ 2737825 w 2772385"/>
              <a:gd name="connsiteY81" fmla="*/ 675283 h 3811169"/>
              <a:gd name="connsiteX82" fmla="*/ 2709775 w 2772385"/>
              <a:gd name="connsiteY82" fmla="*/ 434061 h 3811169"/>
              <a:gd name="connsiteX83" fmla="*/ 2625628 w 2772385"/>
              <a:gd name="connsiteY83" fmla="*/ 86253 h 3811169"/>
              <a:gd name="connsiteX0" fmla="*/ 2625628 w 2772385"/>
              <a:gd name="connsiteY0" fmla="*/ 86253 h 3811169"/>
              <a:gd name="connsiteX1" fmla="*/ 2429284 w 2772385"/>
              <a:gd name="connsiteY1" fmla="*/ 2105 h 3811169"/>
              <a:gd name="connsiteX2" fmla="*/ 2188062 w 2772385"/>
              <a:gd name="connsiteY2" fmla="*/ 159180 h 3811169"/>
              <a:gd name="connsiteX3" fmla="*/ 2087086 w 2772385"/>
              <a:gd name="connsiteY3" fmla="*/ 198449 h 3811169"/>
              <a:gd name="connsiteX4" fmla="*/ 2137574 w 2772385"/>
              <a:gd name="connsiteY4" fmla="*/ 288206 h 3811169"/>
              <a:gd name="connsiteX5" fmla="*/ 2025378 w 2772385"/>
              <a:gd name="connsiteY5" fmla="*/ 450890 h 3811169"/>
              <a:gd name="connsiteX6" fmla="*/ 2131966 w 2772385"/>
              <a:gd name="connsiteY6" fmla="*/ 585526 h 3811169"/>
              <a:gd name="connsiteX7" fmla="*/ 2154403 w 2772385"/>
              <a:gd name="connsiteY7" fmla="*/ 708942 h 3811169"/>
              <a:gd name="connsiteX8" fmla="*/ 2025378 w 2772385"/>
              <a:gd name="connsiteY8" fmla="*/ 753820 h 3811169"/>
              <a:gd name="connsiteX9" fmla="*/ 1991719 w 2772385"/>
              <a:gd name="connsiteY9" fmla="*/ 821138 h 3811169"/>
              <a:gd name="connsiteX10" fmla="*/ 1991719 w 2772385"/>
              <a:gd name="connsiteY10" fmla="*/ 708942 h 3811169"/>
              <a:gd name="connsiteX11" fmla="*/ 1941230 w 2772385"/>
              <a:gd name="connsiteY11" fmla="*/ 669673 h 3811169"/>
              <a:gd name="connsiteX12" fmla="*/ 1778546 w 2772385"/>
              <a:gd name="connsiteY12" fmla="*/ 770649 h 3811169"/>
              <a:gd name="connsiteX13" fmla="*/ 1397078 w 2772385"/>
              <a:gd name="connsiteY13" fmla="*/ 579916 h 3811169"/>
              <a:gd name="connsiteX14" fmla="*/ 1660739 w 2772385"/>
              <a:gd name="connsiteY14" fmla="*/ 1129678 h 3811169"/>
              <a:gd name="connsiteX15" fmla="*/ 1795375 w 2772385"/>
              <a:gd name="connsiteY15" fmla="*/ 1225045 h 3811169"/>
              <a:gd name="connsiteX16" fmla="*/ 1643910 w 2772385"/>
              <a:gd name="connsiteY16" fmla="*/ 1449437 h 3811169"/>
              <a:gd name="connsiteX17" fmla="*/ 1722448 w 2772385"/>
              <a:gd name="connsiteY17" fmla="*/ 1668220 h 3811169"/>
              <a:gd name="connsiteX18" fmla="*/ 1812205 w 2772385"/>
              <a:gd name="connsiteY18" fmla="*/ 1662611 h 3811169"/>
              <a:gd name="connsiteX19" fmla="*/ 1621470 w 2772385"/>
              <a:gd name="connsiteY19" fmla="*/ 1858954 h 3811169"/>
              <a:gd name="connsiteX20" fmla="*/ 909024 w 2772385"/>
              <a:gd name="connsiteY20" fmla="*/ 1578463 h 3811169"/>
              <a:gd name="connsiteX21" fmla="*/ 454629 w 2772385"/>
              <a:gd name="connsiteY21" fmla="*/ 2605060 h 3811169"/>
              <a:gd name="connsiteX22" fmla="*/ 258286 w 2772385"/>
              <a:gd name="connsiteY22" fmla="*/ 2812623 h 3811169"/>
              <a:gd name="connsiteX23" fmla="*/ 39503 w 2772385"/>
              <a:gd name="connsiteY23" fmla="*/ 2857501 h 3811169"/>
              <a:gd name="connsiteX24" fmla="*/ 28282 w 2772385"/>
              <a:gd name="connsiteY24" fmla="*/ 2975307 h 3811169"/>
              <a:gd name="connsiteX25" fmla="*/ 258285 w 2772385"/>
              <a:gd name="connsiteY25" fmla="*/ 3087504 h 3811169"/>
              <a:gd name="connsiteX26" fmla="*/ 527559 w 2772385"/>
              <a:gd name="connsiteY26" fmla="*/ 2986527 h 3811169"/>
              <a:gd name="connsiteX27" fmla="*/ 488288 w 2772385"/>
              <a:gd name="connsiteY27" fmla="*/ 3154821 h 3811169"/>
              <a:gd name="connsiteX28" fmla="*/ 561215 w 2772385"/>
              <a:gd name="connsiteY28" fmla="*/ 3194090 h 3811169"/>
              <a:gd name="connsiteX29" fmla="*/ 381702 w 2772385"/>
              <a:gd name="connsiteY29" fmla="*/ 3592387 h 3811169"/>
              <a:gd name="connsiteX30" fmla="*/ 213408 w 2772385"/>
              <a:gd name="connsiteY30" fmla="*/ 3698973 h 3811169"/>
              <a:gd name="connsiteX31" fmla="*/ 280726 w 2772385"/>
              <a:gd name="connsiteY31" fmla="*/ 3811169 h 3811169"/>
              <a:gd name="connsiteX32" fmla="*/ 477068 w 2772385"/>
              <a:gd name="connsiteY32" fmla="*/ 3771902 h 3811169"/>
              <a:gd name="connsiteX33" fmla="*/ 622923 w 2772385"/>
              <a:gd name="connsiteY33" fmla="*/ 3547509 h 3811169"/>
              <a:gd name="connsiteX34" fmla="*/ 679023 w 2772385"/>
              <a:gd name="connsiteY34" fmla="*/ 3738242 h 3811169"/>
              <a:gd name="connsiteX35" fmla="*/ 718291 w 2772385"/>
              <a:gd name="connsiteY35" fmla="*/ 3743853 h 3811169"/>
              <a:gd name="connsiteX36" fmla="*/ 774389 w 2772385"/>
              <a:gd name="connsiteY36" fmla="*/ 3474581 h 3811169"/>
              <a:gd name="connsiteX37" fmla="*/ 740730 w 2772385"/>
              <a:gd name="connsiteY37" fmla="*/ 3205310 h 3811169"/>
              <a:gd name="connsiteX38" fmla="*/ 897805 w 2772385"/>
              <a:gd name="connsiteY38" fmla="*/ 2627499 h 3811169"/>
              <a:gd name="connsiteX39" fmla="*/ 1161466 w 2772385"/>
              <a:gd name="connsiteY39" fmla="*/ 2520912 h 3811169"/>
              <a:gd name="connsiteX40" fmla="*/ 1526104 w 2772385"/>
              <a:gd name="connsiteY40" fmla="*/ 2627499 h 3811169"/>
              <a:gd name="connsiteX41" fmla="*/ 1587812 w 2772385"/>
              <a:gd name="connsiteY41" fmla="*/ 2627499 h 3811169"/>
              <a:gd name="connsiteX42" fmla="*/ 1643910 w 2772385"/>
              <a:gd name="connsiteY42" fmla="*/ 2728476 h 3811169"/>
              <a:gd name="connsiteX43" fmla="*/ 1795375 w 2772385"/>
              <a:gd name="connsiteY43" fmla="*/ 2762134 h 3811169"/>
              <a:gd name="connsiteX44" fmla="*/ 1806595 w 2772385"/>
              <a:gd name="connsiteY44" fmla="*/ 2795793 h 3811169"/>
              <a:gd name="connsiteX45" fmla="*/ 1767326 w 2772385"/>
              <a:gd name="connsiteY45" fmla="*/ 2997747 h 3811169"/>
              <a:gd name="connsiteX46" fmla="*/ 1744887 w 2772385"/>
              <a:gd name="connsiteY46" fmla="*/ 3323116 h 3811169"/>
              <a:gd name="connsiteX47" fmla="*/ 1537324 w 2772385"/>
              <a:gd name="connsiteY47" fmla="*/ 3345555 h 3811169"/>
              <a:gd name="connsiteX48" fmla="*/ 1200735 w 2772385"/>
              <a:gd name="connsiteY48" fmla="*/ 3396044 h 3811169"/>
              <a:gd name="connsiteX49" fmla="*/ 1172686 w 2772385"/>
              <a:gd name="connsiteY49" fmla="*/ 3468971 h 3811169"/>
              <a:gd name="connsiteX50" fmla="*/ 1110978 w 2772385"/>
              <a:gd name="connsiteY50" fmla="*/ 3497020 h 3811169"/>
              <a:gd name="connsiteX51" fmla="*/ 1139027 w 2772385"/>
              <a:gd name="connsiteY51" fmla="*/ 3631656 h 3811169"/>
              <a:gd name="connsiteX52" fmla="*/ 1279272 w 2772385"/>
              <a:gd name="connsiteY52" fmla="*/ 3637266 h 3811169"/>
              <a:gd name="connsiteX53" fmla="*/ 1273662 w 2772385"/>
              <a:gd name="connsiteY53" fmla="*/ 3485801 h 3811169"/>
              <a:gd name="connsiteX54" fmla="*/ 1453176 w 2772385"/>
              <a:gd name="connsiteY54" fmla="*/ 3497020 h 3811169"/>
              <a:gd name="connsiteX55" fmla="*/ 1425127 w 2772385"/>
              <a:gd name="connsiteY55" fmla="*/ 3575558 h 3811169"/>
              <a:gd name="connsiteX56" fmla="*/ 1397078 w 2772385"/>
              <a:gd name="connsiteY56" fmla="*/ 3637266 h 3811169"/>
              <a:gd name="connsiteX57" fmla="*/ 1312931 w 2772385"/>
              <a:gd name="connsiteY57" fmla="*/ 3654095 h 3811169"/>
              <a:gd name="connsiteX58" fmla="*/ 1447567 w 2772385"/>
              <a:gd name="connsiteY58" fmla="*/ 3777511 h 3811169"/>
              <a:gd name="connsiteX59" fmla="*/ 1514884 w 2772385"/>
              <a:gd name="connsiteY59" fmla="*/ 3642876 h 3811169"/>
              <a:gd name="connsiteX60" fmla="*/ 1817814 w 2772385"/>
              <a:gd name="connsiteY60" fmla="*/ 3541899 h 3811169"/>
              <a:gd name="connsiteX61" fmla="*/ 2154403 w 2772385"/>
              <a:gd name="connsiteY61" fmla="*/ 3614826 h 3811169"/>
              <a:gd name="connsiteX62" fmla="*/ 2109525 w 2772385"/>
              <a:gd name="connsiteY62" fmla="*/ 3715803 h 3811169"/>
              <a:gd name="connsiteX63" fmla="*/ 2204892 w 2772385"/>
              <a:gd name="connsiteY63" fmla="*/ 3783121 h 3811169"/>
              <a:gd name="connsiteX64" fmla="*/ 2277819 w 2772385"/>
              <a:gd name="connsiteY64" fmla="*/ 3732633 h 3811169"/>
              <a:gd name="connsiteX65" fmla="*/ 2266600 w 2772385"/>
              <a:gd name="connsiteY65" fmla="*/ 3637266 h 3811169"/>
              <a:gd name="connsiteX66" fmla="*/ 2446114 w 2772385"/>
              <a:gd name="connsiteY66" fmla="*/ 3558728 h 3811169"/>
              <a:gd name="connsiteX67" fmla="*/ 2429284 w 2772385"/>
              <a:gd name="connsiteY67" fmla="*/ 3384824 h 3811169"/>
              <a:gd name="connsiteX68" fmla="*/ 1924401 w 2772385"/>
              <a:gd name="connsiteY68" fmla="*/ 3356775 h 3811169"/>
              <a:gd name="connsiteX69" fmla="*/ 1913181 w 2772385"/>
              <a:gd name="connsiteY69" fmla="*/ 3031406 h 3811169"/>
              <a:gd name="connsiteX70" fmla="*/ 1879522 w 2772385"/>
              <a:gd name="connsiteY70" fmla="*/ 3014576 h 3811169"/>
              <a:gd name="connsiteX71" fmla="*/ 1901962 w 2772385"/>
              <a:gd name="connsiteY71" fmla="*/ 2835062 h 3811169"/>
              <a:gd name="connsiteX72" fmla="*/ 1857083 w 2772385"/>
              <a:gd name="connsiteY72" fmla="*/ 2773354 h 3811169"/>
              <a:gd name="connsiteX73" fmla="*/ 2103915 w 2772385"/>
              <a:gd name="connsiteY73" fmla="*/ 2717256 h 3811169"/>
              <a:gd name="connsiteX74" fmla="*/ 2126354 w 2772385"/>
              <a:gd name="connsiteY74" fmla="*/ 2588230 h 3811169"/>
              <a:gd name="connsiteX75" fmla="*/ 2367576 w 2772385"/>
              <a:gd name="connsiteY75" fmla="*/ 2621889 h 3811169"/>
              <a:gd name="connsiteX76" fmla="*/ 2591969 w 2772385"/>
              <a:gd name="connsiteY76" fmla="*/ 2032858 h 3811169"/>
              <a:gd name="connsiteX77" fmla="*/ 2547090 w 2772385"/>
              <a:gd name="connsiteY77" fmla="*/ 1948711 h 3811169"/>
              <a:gd name="connsiteX78" fmla="*/ 2692946 w 2772385"/>
              <a:gd name="connsiteY78" fmla="*/ 1460657 h 3811169"/>
              <a:gd name="connsiteX79" fmla="*/ 2636848 w 2772385"/>
              <a:gd name="connsiteY79" fmla="*/ 1354071 h 3811169"/>
              <a:gd name="connsiteX80" fmla="*/ 2479772 w 2772385"/>
              <a:gd name="connsiteY80" fmla="*/ 798699 h 3811169"/>
              <a:gd name="connsiteX81" fmla="*/ 2737825 w 2772385"/>
              <a:gd name="connsiteY81" fmla="*/ 675283 h 3811169"/>
              <a:gd name="connsiteX82" fmla="*/ 2709775 w 2772385"/>
              <a:gd name="connsiteY82" fmla="*/ 434061 h 3811169"/>
              <a:gd name="connsiteX83" fmla="*/ 2625628 w 2772385"/>
              <a:gd name="connsiteY83" fmla="*/ 86253 h 3811169"/>
              <a:gd name="connsiteX0" fmla="*/ 2625628 w 2772385"/>
              <a:gd name="connsiteY0" fmla="*/ 86253 h 3811169"/>
              <a:gd name="connsiteX1" fmla="*/ 2429284 w 2772385"/>
              <a:gd name="connsiteY1" fmla="*/ 2105 h 3811169"/>
              <a:gd name="connsiteX2" fmla="*/ 2188062 w 2772385"/>
              <a:gd name="connsiteY2" fmla="*/ 159180 h 3811169"/>
              <a:gd name="connsiteX3" fmla="*/ 2087086 w 2772385"/>
              <a:gd name="connsiteY3" fmla="*/ 198449 h 3811169"/>
              <a:gd name="connsiteX4" fmla="*/ 2137574 w 2772385"/>
              <a:gd name="connsiteY4" fmla="*/ 288206 h 3811169"/>
              <a:gd name="connsiteX5" fmla="*/ 2025378 w 2772385"/>
              <a:gd name="connsiteY5" fmla="*/ 450890 h 3811169"/>
              <a:gd name="connsiteX6" fmla="*/ 2131966 w 2772385"/>
              <a:gd name="connsiteY6" fmla="*/ 585526 h 3811169"/>
              <a:gd name="connsiteX7" fmla="*/ 2154403 w 2772385"/>
              <a:gd name="connsiteY7" fmla="*/ 708942 h 3811169"/>
              <a:gd name="connsiteX8" fmla="*/ 2025378 w 2772385"/>
              <a:gd name="connsiteY8" fmla="*/ 753820 h 3811169"/>
              <a:gd name="connsiteX9" fmla="*/ 1991719 w 2772385"/>
              <a:gd name="connsiteY9" fmla="*/ 821138 h 3811169"/>
              <a:gd name="connsiteX10" fmla="*/ 1991719 w 2772385"/>
              <a:gd name="connsiteY10" fmla="*/ 708942 h 3811169"/>
              <a:gd name="connsiteX11" fmla="*/ 1941230 w 2772385"/>
              <a:gd name="connsiteY11" fmla="*/ 669673 h 3811169"/>
              <a:gd name="connsiteX12" fmla="*/ 1778546 w 2772385"/>
              <a:gd name="connsiteY12" fmla="*/ 770649 h 3811169"/>
              <a:gd name="connsiteX13" fmla="*/ 1397078 w 2772385"/>
              <a:gd name="connsiteY13" fmla="*/ 579916 h 3811169"/>
              <a:gd name="connsiteX14" fmla="*/ 1660739 w 2772385"/>
              <a:gd name="connsiteY14" fmla="*/ 1129678 h 3811169"/>
              <a:gd name="connsiteX15" fmla="*/ 1795375 w 2772385"/>
              <a:gd name="connsiteY15" fmla="*/ 1225045 h 3811169"/>
              <a:gd name="connsiteX16" fmla="*/ 1643910 w 2772385"/>
              <a:gd name="connsiteY16" fmla="*/ 1449437 h 3811169"/>
              <a:gd name="connsiteX17" fmla="*/ 1722448 w 2772385"/>
              <a:gd name="connsiteY17" fmla="*/ 1668220 h 3811169"/>
              <a:gd name="connsiteX18" fmla="*/ 1812205 w 2772385"/>
              <a:gd name="connsiteY18" fmla="*/ 1662611 h 3811169"/>
              <a:gd name="connsiteX19" fmla="*/ 1621470 w 2772385"/>
              <a:gd name="connsiteY19" fmla="*/ 1858954 h 3811169"/>
              <a:gd name="connsiteX20" fmla="*/ 909024 w 2772385"/>
              <a:gd name="connsiteY20" fmla="*/ 1578463 h 3811169"/>
              <a:gd name="connsiteX21" fmla="*/ 454629 w 2772385"/>
              <a:gd name="connsiteY21" fmla="*/ 2605060 h 3811169"/>
              <a:gd name="connsiteX22" fmla="*/ 258286 w 2772385"/>
              <a:gd name="connsiteY22" fmla="*/ 2812623 h 3811169"/>
              <a:gd name="connsiteX23" fmla="*/ 39503 w 2772385"/>
              <a:gd name="connsiteY23" fmla="*/ 2857501 h 3811169"/>
              <a:gd name="connsiteX24" fmla="*/ 28282 w 2772385"/>
              <a:gd name="connsiteY24" fmla="*/ 2975307 h 3811169"/>
              <a:gd name="connsiteX25" fmla="*/ 258285 w 2772385"/>
              <a:gd name="connsiteY25" fmla="*/ 3087504 h 3811169"/>
              <a:gd name="connsiteX26" fmla="*/ 527559 w 2772385"/>
              <a:gd name="connsiteY26" fmla="*/ 2986527 h 3811169"/>
              <a:gd name="connsiteX27" fmla="*/ 488288 w 2772385"/>
              <a:gd name="connsiteY27" fmla="*/ 3154821 h 3811169"/>
              <a:gd name="connsiteX28" fmla="*/ 561215 w 2772385"/>
              <a:gd name="connsiteY28" fmla="*/ 3194090 h 3811169"/>
              <a:gd name="connsiteX29" fmla="*/ 381702 w 2772385"/>
              <a:gd name="connsiteY29" fmla="*/ 3592387 h 3811169"/>
              <a:gd name="connsiteX30" fmla="*/ 213408 w 2772385"/>
              <a:gd name="connsiteY30" fmla="*/ 3698973 h 3811169"/>
              <a:gd name="connsiteX31" fmla="*/ 280726 w 2772385"/>
              <a:gd name="connsiteY31" fmla="*/ 3811169 h 3811169"/>
              <a:gd name="connsiteX32" fmla="*/ 477068 w 2772385"/>
              <a:gd name="connsiteY32" fmla="*/ 3771902 h 3811169"/>
              <a:gd name="connsiteX33" fmla="*/ 622923 w 2772385"/>
              <a:gd name="connsiteY33" fmla="*/ 3547509 h 3811169"/>
              <a:gd name="connsiteX34" fmla="*/ 679023 w 2772385"/>
              <a:gd name="connsiteY34" fmla="*/ 3738242 h 3811169"/>
              <a:gd name="connsiteX35" fmla="*/ 718291 w 2772385"/>
              <a:gd name="connsiteY35" fmla="*/ 3743853 h 3811169"/>
              <a:gd name="connsiteX36" fmla="*/ 774389 w 2772385"/>
              <a:gd name="connsiteY36" fmla="*/ 3474581 h 3811169"/>
              <a:gd name="connsiteX37" fmla="*/ 740730 w 2772385"/>
              <a:gd name="connsiteY37" fmla="*/ 3205310 h 3811169"/>
              <a:gd name="connsiteX38" fmla="*/ 897805 w 2772385"/>
              <a:gd name="connsiteY38" fmla="*/ 2627499 h 3811169"/>
              <a:gd name="connsiteX39" fmla="*/ 1161466 w 2772385"/>
              <a:gd name="connsiteY39" fmla="*/ 2520912 h 3811169"/>
              <a:gd name="connsiteX40" fmla="*/ 1526104 w 2772385"/>
              <a:gd name="connsiteY40" fmla="*/ 2627499 h 3811169"/>
              <a:gd name="connsiteX41" fmla="*/ 1587812 w 2772385"/>
              <a:gd name="connsiteY41" fmla="*/ 2627499 h 3811169"/>
              <a:gd name="connsiteX42" fmla="*/ 1643910 w 2772385"/>
              <a:gd name="connsiteY42" fmla="*/ 2728476 h 3811169"/>
              <a:gd name="connsiteX43" fmla="*/ 1795375 w 2772385"/>
              <a:gd name="connsiteY43" fmla="*/ 2762134 h 3811169"/>
              <a:gd name="connsiteX44" fmla="*/ 1806595 w 2772385"/>
              <a:gd name="connsiteY44" fmla="*/ 2795793 h 3811169"/>
              <a:gd name="connsiteX45" fmla="*/ 1767326 w 2772385"/>
              <a:gd name="connsiteY45" fmla="*/ 2997747 h 3811169"/>
              <a:gd name="connsiteX46" fmla="*/ 1744887 w 2772385"/>
              <a:gd name="connsiteY46" fmla="*/ 3323116 h 3811169"/>
              <a:gd name="connsiteX47" fmla="*/ 1537324 w 2772385"/>
              <a:gd name="connsiteY47" fmla="*/ 3345555 h 3811169"/>
              <a:gd name="connsiteX48" fmla="*/ 1200735 w 2772385"/>
              <a:gd name="connsiteY48" fmla="*/ 3396044 h 3811169"/>
              <a:gd name="connsiteX49" fmla="*/ 1172686 w 2772385"/>
              <a:gd name="connsiteY49" fmla="*/ 3468971 h 3811169"/>
              <a:gd name="connsiteX50" fmla="*/ 1110978 w 2772385"/>
              <a:gd name="connsiteY50" fmla="*/ 3497020 h 3811169"/>
              <a:gd name="connsiteX51" fmla="*/ 1139027 w 2772385"/>
              <a:gd name="connsiteY51" fmla="*/ 3631656 h 3811169"/>
              <a:gd name="connsiteX52" fmla="*/ 1279272 w 2772385"/>
              <a:gd name="connsiteY52" fmla="*/ 3637266 h 3811169"/>
              <a:gd name="connsiteX53" fmla="*/ 1273662 w 2772385"/>
              <a:gd name="connsiteY53" fmla="*/ 3485801 h 3811169"/>
              <a:gd name="connsiteX54" fmla="*/ 1453176 w 2772385"/>
              <a:gd name="connsiteY54" fmla="*/ 3497020 h 3811169"/>
              <a:gd name="connsiteX55" fmla="*/ 1425127 w 2772385"/>
              <a:gd name="connsiteY55" fmla="*/ 3575558 h 3811169"/>
              <a:gd name="connsiteX56" fmla="*/ 1397078 w 2772385"/>
              <a:gd name="connsiteY56" fmla="*/ 3637266 h 3811169"/>
              <a:gd name="connsiteX57" fmla="*/ 1312931 w 2772385"/>
              <a:gd name="connsiteY57" fmla="*/ 3654095 h 3811169"/>
              <a:gd name="connsiteX58" fmla="*/ 1447567 w 2772385"/>
              <a:gd name="connsiteY58" fmla="*/ 3777511 h 3811169"/>
              <a:gd name="connsiteX59" fmla="*/ 1514884 w 2772385"/>
              <a:gd name="connsiteY59" fmla="*/ 3642876 h 3811169"/>
              <a:gd name="connsiteX60" fmla="*/ 1817814 w 2772385"/>
              <a:gd name="connsiteY60" fmla="*/ 3541899 h 3811169"/>
              <a:gd name="connsiteX61" fmla="*/ 2154403 w 2772385"/>
              <a:gd name="connsiteY61" fmla="*/ 3614826 h 3811169"/>
              <a:gd name="connsiteX62" fmla="*/ 2109525 w 2772385"/>
              <a:gd name="connsiteY62" fmla="*/ 3715803 h 3811169"/>
              <a:gd name="connsiteX63" fmla="*/ 2204892 w 2772385"/>
              <a:gd name="connsiteY63" fmla="*/ 3783121 h 3811169"/>
              <a:gd name="connsiteX64" fmla="*/ 2277819 w 2772385"/>
              <a:gd name="connsiteY64" fmla="*/ 3732633 h 3811169"/>
              <a:gd name="connsiteX65" fmla="*/ 2266600 w 2772385"/>
              <a:gd name="connsiteY65" fmla="*/ 3637266 h 3811169"/>
              <a:gd name="connsiteX66" fmla="*/ 2446114 w 2772385"/>
              <a:gd name="connsiteY66" fmla="*/ 3558728 h 3811169"/>
              <a:gd name="connsiteX67" fmla="*/ 2429284 w 2772385"/>
              <a:gd name="connsiteY67" fmla="*/ 3384824 h 3811169"/>
              <a:gd name="connsiteX68" fmla="*/ 1924401 w 2772385"/>
              <a:gd name="connsiteY68" fmla="*/ 3356775 h 3811169"/>
              <a:gd name="connsiteX69" fmla="*/ 1913181 w 2772385"/>
              <a:gd name="connsiteY69" fmla="*/ 3031406 h 3811169"/>
              <a:gd name="connsiteX70" fmla="*/ 1879522 w 2772385"/>
              <a:gd name="connsiteY70" fmla="*/ 3014576 h 3811169"/>
              <a:gd name="connsiteX71" fmla="*/ 1901962 w 2772385"/>
              <a:gd name="connsiteY71" fmla="*/ 2835062 h 3811169"/>
              <a:gd name="connsiteX72" fmla="*/ 1857083 w 2772385"/>
              <a:gd name="connsiteY72" fmla="*/ 2773354 h 3811169"/>
              <a:gd name="connsiteX73" fmla="*/ 2103915 w 2772385"/>
              <a:gd name="connsiteY73" fmla="*/ 2717256 h 3811169"/>
              <a:gd name="connsiteX74" fmla="*/ 2126354 w 2772385"/>
              <a:gd name="connsiteY74" fmla="*/ 2588230 h 3811169"/>
              <a:gd name="connsiteX75" fmla="*/ 2367576 w 2772385"/>
              <a:gd name="connsiteY75" fmla="*/ 2621889 h 3811169"/>
              <a:gd name="connsiteX76" fmla="*/ 2591969 w 2772385"/>
              <a:gd name="connsiteY76" fmla="*/ 2032858 h 3811169"/>
              <a:gd name="connsiteX77" fmla="*/ 2547090 w 2772385"/>
              <a:gd name="connsiteY77" fmla="*/ 1948711 h 3811169"/>
              <a:gd name="connsiteX78" fmla="*/ 2692946 w 2772385"/>
              <a:gd name="connsiteY78" fmla="*/ 1460657 h 3811169"/>
              <a:gd name="connsiteX79" fmla="*/ 2636848 w 2772385"/>
              <a:gd name="connsiteY79" fmla="*/ 1354071 h 3811169"/>
              <a:gd name="connsiteX80" fmla="*/ 2479772 w 2772385"/>
              <a:gd name="connsiteY80" fmla="*/ 798699 h 3811169"/>
              <a:gd name="connsiteX81" fmla="*/ 2737825 w 2772385"/>
              <a:gd name="connsiteY81" fmla="*/ 675283 h 3811169"/>
              <a:gd name="connsiteX82" fmla="*/ 2709775 w 2772385"/>
              <a:gd name="connsiteY82" fmla="*/ 434061 h 3811169"/>
              <a:gd name="connsiteX83" fmla="*/ 2625628 w 2772385"/>
              <a:gd name="connsiteY83" fmla="*/ 86253 h 3811169"/>
              <a:gd name="connsiteX0" fmla="*/ 2625628 w 2772385"/>
              <a:gd name="connsiteY0" fmla="*/ 86253 h 3811169"/>
              <a:gd name="connsiteX1" fmla="*/ 2429284 w 2772385"/>
              <a:gd name="connsiteY1" fmla="*/ 2105 h 3811169"/>
              <a:gd name="connsiteX2" fmla="*/ 2188062 w 2772385"/>
              <a:gd name="connsiteY2" fmla="*/ 159180 h 3811169"/>
              <a:gd name="connsiteX3" fmla="*/ 2087086 w 2772385"/>
              <a:gd name="connsiteY3" fmla="*/ 198449 h 3811169"/>
              <a:gd name="connsiteX4" fmla="*/ 2137574 w 2772385"/>
              <a:gd name="connsiteY4" fmla="*/ 288206 h 3811169"/>
              <a:gd name="connsiteX5" fmla="*/ 2025378 w 2772385"/>
              <a:gd name="connsiteY5" fmla="*/ 450890 h 3811169"/>
              <a:gd name="connsiteX6" fmla="*/ 2131966 w 2772385"/>
              <a:gd name="connsiteY6" fmla="*/ 585526 h 3811169"/>
              <a:gd name="connsiteX7" fmla="*/ 2154403 w 2772385"/>
              <a:gd name="connsiteY7" fmla="*/ 708942 h 3811169"/>
              <a:gd name="connsiteX8" fmla="*/ 2025378 w 2772385"/>
              <a:gd name="connsiteY8" fmla="*/ 753820 h 3811169"/>
              <a:gd name="connsiteX9" fmla="*/ 1991719 w 2772385"/>
              <a:gd name="connsiteY9" fmla="*/ 821138 h 3811169"/>
              <a:gd name="connsiteX10" fmla="*/ 1991719 w 2772385"/>
              <a:gd name="connsiteY10" fmla="*/ 708942 h 3811169"/>
              <a:gd name="connsiteX11" fmla="*/ 1941230 w 2772385"/>
              <a:gd name="connsiteY11" fmla="*/ 669673 h 3811169"/>
              <a:gd name="connsiteX12" fmla="*/ 1778546 w 2772385"/>
              <a:gd name="connsiteY12" fmla="*/ 770649 h 3811169"/>
              <a:gd name="connsiteX13" fmla="*/ 1397078 w 2772385"/>
              <a:gd name="connsiteY13" fmla="*/ 579916 h 3811169"/>
              <a:gd name="connsiteX14" fmla="*/ 1660739 w 2772385"/>
              <a:gd name="connsiteY14" fmla="*/ 1129678 h 3811169"/>
              <a:gd name="connsiteX15" fmla="*/ 1795375 w 2772385"/>
              <a:gd name="connsiteY15" fmla="*/ 1225045 h 3811169"/>
              <a:gd name="connsiteX16" fmla="*/ 1643910 w 2772385"/>
              <a:gd name="connsiteY16" fmla="*/ 1449437 h 3811169"/>
              <a:gd name="connsiteX17" fmla="*/ 1722448 w 2772385"/>
              <a:gd name="connsiteY17" fmla="*/ 1668220 h 3811169"/>
              <a:gd name="connsiteX18" fmla="*/ 1812205 w 2772385"/>
              <a:gd name="connsiteY18" fmla="*/ 1662611 h 3811169"/>
              <a:gd name="connsiteX19" fmla="*/ 1621470 w 2772385"/>
              <a:gd name="connsiteY19" fmla="*/ 1858954 h 3811169"/>
              <a:gd name="connsiteX20" fmla="*/ 909024 w 2772385"/>
              <a:gd name="connsiteY20" fmla="*/ 1578463 h 3811169"/>
              <a:gd name="connsiteX21" fmla="*/ 454629 w 2772385"/>
              <a:gd name="connsiteY21" fmla="*/ 2605060 h 3811169"/>
              <a:gd name="connsiteX22" fmla="*/ 258286 w 2772385"/>
              <a:gd name="connsiteY22" fmla="*/ 2812623 h 3811169"/>
              <a:gd name="connsiteX23" fmla="*/ 39503 w 2772385"/>
              <a:gd name="connsiteY23" fmla="*/ 2857501 h 3811169"/>
              <a:gd name="connsiteX24" fmla="*/ 28282 w 2772385"/>
              <a:gd name="connsiteY24" fmla="*/ 2975307 h 3811169"/>
              <a:gd name="connsiteX25" fmla="*/ 258285 w 2772385"/>
              <a:gd name="connsiteY25" fmla="*/ 3087504 h 3811169"/>
              <a:gd name="connsiteX26" fmla="*/ 527559 w 2772385"/>
              <a:gd name="connsiteY26" fmla="*/ 2986527 h 3811169"/>
              <a:gd name="connsiteX27" fmla="*/ 488288 w 2772385"/>
              <a:gd name="connsiteY27" fmla="*/ 3154821 h 3811169"/>
              <a:gd name="connsiteX28" fmla="*/ 561215 w 2772385"/>
              <a:gd name="connsiteY28" fmla="*/ 3194090 h 3811169"/>
              <a:gd name="connsiteX29" fmla="*/ 381702 w 2772385"/>
              <a:gd name="connsiteY29" fmla="*/ 3592387 h 3811169"/>
              <a:gd name="connsiteX30" fmla="*/ 213408 w 2772385"/>
              <a:gd name="connsiteY30" fmla="*/ 3698973 h 3811169"/>
              <a:gd name="connsiteX31" fmla="*/ 280726 w 2772385"/>
              <a:gd name="connsiteY31" fmla="*/ 3811169 h 3811169"/>
              <a:gd name="connsiteX32" fmla="*/ 477068 w 2772385"/>
              <a:gd name="connsiteY32" fmla="*/ 3771902 h 3811169"/>
              <a:gd name="connsiteX33" fmla="*/ 622923 w 2772385"/>
              <a:gd name="connsiteY33" fmla="*/ 3547509 h 3811169"/>
              <a:gd name="connsiteX34" fmla="*/ 679023 w 2772385"/>
              <a:gd name="connsiteY34" fmla="*/ 3738242 h 3811169"/>
              <a:gd name="connsiteX35" fmla="*/ 718291 w 2772385"/>
              <a:gd name="connsiteY35" fmla="*/ 3743853 h 3811169"/>
              <a:gd name="connsiteX36" fmla="*/ 774389 w 2772385"/>
              <a:gd name="connsiteY36" fmla="*/ 3474581 h 3811169"/>
              <a:gd name="connsiteX37" fmla="*/ 684632 w 2772385"/>
              <a:gd name="connsiteY37" fmla="*/ 3216530 h 3811169"/>
              <a:gd name="connsiteX38" fmla="*/ 897805 w 2772385"/>
              <a:gd name="connsiteY38" fmla="*/ 2627499 h 3811169"/>
              <a:gd name="connsiteX39" fmla="*/ 1161466 w 2772385"/>
              <a:gd name="connsiteY39" fmla="*/ 2520912 h 3811169"/>
              <a:gd name="connsiteX40" fmla="*/ 1526104 w 2772385"/>
              <a:gd name="connsiteY40" fmla="*/ 2627499 h 3811169"/>
              <a:gd name="connsiteX41" fmla="*/ 1587812 w 2772385"/>
              <a:gd name="connsiteY41" fmla="*/ 2627499 h 3811169"/>
              <a:gd name="connsiteX42" fmla="*/ 1643910 w 2772385"/>
              <a:gd name="connsiteY42" fmla="*/ 2728476 h 3811169"/>
              <a:gd name="connsiteX43" fmla="*/ 1795375 w 2772385"/>
              <a:gd name="connsiteY43" fmla="*/ 2762134 h 3811169"/>
              <a:gd name="connsiteX44" fmla="*/ 1806595 w 2772385"/>
              <a:gd name="connsiteY44" fmla="*/ 2795793 h 3811169"/>
              <a:gd name="connsiteX45" fmla="*/ 1767326 w 2772385"/>
              <a:gd name="connsiteY45" fmla="*/ 2997747 h 3811169"/>
              <a:gd name="connsiteX46" fmla="*/ 1744887 w 2772385"/>
              <a:gd name="connsiteY46" fmla="*/ 3323116 h 3811169"/>
              <a:gd name="connsiteX47" fmla="*/ 1537324 w 2772385"/>
              <a:gd name="connsiteY47" fmla="*/ 3345555 h 3811169"/>
              <a:gd name="connsiteX48" fmla="*/ 1200735 w 2772385"/>
              <a:gd name="connsiteY48" fmla="*/ 3396044 h 3811169"/>
              <a:gd name="connsiteX49" fmla="*/ 1172686 w 2772385"/>
              <a:gd name="connsiteY49" fmla="*/ 3468971 h 3811169"/>
              <a:gd name="connsiteX50" fmla="*/ 1110978 w 2772385"/>
              <a:gd name="connsiteY50" fmla="*/ 3497020 h 3811169"/>
              <a:gd name="connsiteX51" fmla="*/ 1139027 w 2772385"/>
              <a:gd name="connsiteY51" fmla="*/ 3631656 h 3811169"/>
              <a:gd name="connsiteX52" fmla="*/ 1279272 w 2772385"/>
              <a:gd name="connsiteY52" fmla="*/ 3637266 h 3811169"/>
              <a:gd name="connsiteX53" fmla="*/ 1273662 w 2772385"/>
              <a:gd name="connsiteY53" fmla="*/ 3485801 h 3811169"/>
              <a:gd name="connsiteX54" fmla="*/ 1453176 w 2772385"/>
              <a:gd name="connsiteY54" fmla="*/ 3497020 h 3811169"/>
              <a:gd name="connsiteX55" fmla="*/ 1425127 w 2772385"/>
              <a:gd name="connsiteY55" fmla="*/ 3575558 h 3811169"/>
              <a:gd name="connsiteX56" fmla="*/ 1397078 w 2772385"/>
              <a:gd name="connsiteY56" fmla="*/ 3637266 h 3811169"/>
              <a:gd name="connsiteX57" fmla="*/ 1312931 w 2772385"/>
              <a:gd name="connsiteY57" fmla="*/ 3654095 h 3811169"/>
              <a:gd name="connsiteX58" fmla="*/ 1447567 w 2772385"/>
              <a:gd name="connsiteY58" fmla="*/ 3777511 h 3811169"/>
              <a:gd name="connsiteX59" fmla="*/ 1514884 w 2772385"/>
              <a:gd name="connsiteY59" fmla="*/ 3642876 h 3811169"/>
              <a:gd name="connsiteX60" fmla="*/ 1817814 w 2772385"/>
              <a:gd name="connsiteY60" fmla="*/ 3541899 h 3811169"/>
              <a:gd name="connsiteX61" fmla="*/ 2154403 w 2772385"/>
              <a:gd name="connsiteY61" fmla="*/ 3614826 h 3811169"/>
              <a:gd name="connsiteX62" fmla="*/ 2109525 w 2772385"/>
              <a:gd name="connsiteY62" fmla="*/ 3715803 h 3811169"/>
              <a:gd name="connsiteX63" fmla="*/ 2204892 w 2772385"/>
              <a:gd name="connsiteY63" fmla="*/ 3783121 h 3811169"/>
              <a:gd name="connsiteX64" fmla="*/ 2277819 w 2772385"/>
              <a:gd name="connsiteY64" fmla="*/ 3732633 h 3811169"/>
              <a:gd name="connsiteX65" fmla="*/ 2266600 w 2772385"/>
              <a:gd name="connsiteY65" fmla="*/ 3637266 h 3811169"/>
              <a:gd name="connsiteX66" fmla="*/ 2446114 w 2772385"/>
              <a:gd name="connsiteY66" fmla="*/ 3558728 h 3811169"/>
              <a:gd name="connsiteX67" fmla="*/ 2429284 w 2772385"/>
              <a:gd name="connsiteY67" fmla="*/ 3384824 h 3811169"/>
              <a:gd name="connsiteX68" fmla="*/ 1924401 w 2772385"/>
              <a:gd name="connsiteY68" fmla="*/ 3356775 h 3811169"/>
              <a:gd name="connsiteX69" fmla="*/ 1913181 w 2772385"/>
              <a:gd name="connsiteY69" fmla="*/ 3031406 h 3811169"/>
              <a:gd name="connsiteX70" fmla="*/ 1879522 w 2772385"/>
              <a:gd name="connsiteY70" fmla="*/ 3014576 h 3811169"/>
              <a:gd name="connsiteX71" fmla="*/ 1901962 w 2772385"/>
              <a:gd name="connsiteY71" fmla="*/ 2835062 h 3811169"/>
              <a:gd name="connsiteX72" fmla="*/ 1857083 w 2772385"/>
              <a:gd name="connsiteY72" fmla="*/ 2773354 h 3811169"/>
              <a:gd name="connsiteX73" fmla="*/ 2103915 w 2772385"/>
              <a:gd name="connsiteY73" fmla="*/ 2717256 h 3811169"/>
              <a:gd name="connsiteX74" fmla="*/ 2126354 w 2772385"/>
              <a:gd name="connsiteY74" fmla="*/ 2588230 h 3811169"/>
              <a:gd name="connsiteX75" fmla="*/ 2367576 w 2772385"/>
              <a:gd name="connsiteY75" fmla="*/ 2621889 h 3811169"/>
              <a:gd name="connsiteX76" fmla="*/ 2591969 w 2772385"/>
              <a:gd name="connsiteY76" fmla="*/ 2032858 h 3811169"/>
              <a:gd name="connsiteX77" fmla="*/ 2547090 w 2772385"/>
              <a:gd name="connsiteY77" fmla="*/ 1948711 h 3811169"/>
              <a:gd name="connsiteX78" fmla="*/ 2692946 w 2772385"/>
              <a:gd name="connsiteY78" fmla="*/ 1460657 h 3811169"/>
              <a:gd name="connsiteX79" fmla="*/ 2636848 w 2772385"/>
              <a:gd name="connsiteY79" fmla="*/ 1354071 h 3811169"/>
              <a:gd name="connsiteX80" fmla="*/ 2479772 w 2772385"/>
              <a:gd name="connsiteY80" fmla="*/ 798699 h 3811169"/>
              <a:gd name="connsiteX81" fmla="*/ 2737825 w 2772385"/>
              <a:gd name="connsiteY81" fmla="*/ 675283 h 3811169"/>
              <a:gd name="connsiteX82" fmla="*/ 2709775 w 2772385"/>
              <a:gd name="connsiteY82" fmla="*/ 434061 h 3811169"/>
              <a:gd name="connsiteX83" fmla="*/ 2625628 w 2772385"/>
              <a:gd name="connsiteY83" fmla="*/ 86253 h 3811169"/>
              <a:gd name="connsiteX0" fmla="*/ 2625628 w 2772385"/>
              <a:gd name="connsiteY0" fmla="*/ 86253 h 3811169"/>
              <a:gd name="connsiteX1" fmla="*/ 2429284 w 2772385"/>
              <a:gd name="connsiteY1" fmla="*/ 2105 h 3811169"/>
              <a:gd name="connsiteX2" fmla="*/ 2188062 w 2772385"/>
              <a:gd name="connsiteY2" fmla="*/ 159180 h 3811169"/>
              <a:gd name="connsiteX3" fmla="*/ 2087086 w 2772385"/>
              <a:gd name="connsiteY3" fmla="*/ 198449 h 3811169"/>
              <a:gd name="connsiteX4" fmla="*/ 2137574 w 2772385"/>
              <a:gd name="connsiteY4" fmla="*/ 288206 h 3811169"/>
              <a:gd name="connsiteX5" fmla="*/ 2025378 w 2772385"/>
              <a:gd name="connsiteY5" fmla="*/ 450890 h 3811169"/>
              <a:gd name="connsiteX6" fmla="*/ 2131966 w 2772385"/>
              <a:gd name="connsiteY6" fmla="*/ 585526 h 3811169"/>
              <a:gd name="connsiteX7" fmla="*/ 2154403 w 2772385"/>
              <a:gd name="connsiteY7" fmla="*/ 708942 h 3811169"/>
              <a:gd name="connsiteX8" fmla="*/ 2025378 w 2772385"/>
              <a:gd name="connsiteY8" fmla="*/ 753820 h 3811169"/>
              <a:gd name="connsiteX9" fmla="*/ 1991719 w 2772385"/>
              <a:gd name="connsiteY9" fmla="*/ 821138 h 3811169"/>
              <a:gd name="connsiteX10" fmla="*/ 1991719 w 2772385"/>
              <a:gd name="connsiteY10" fmla="*/ 708942 h 3811169"/>
              <a:gd name="connsiteX11" fmla="*/ 1941230 w 2772385"/>
              <a:gd name="connsiteY11" fmla="*/ 669673 h 3811169"/>
              <a:gd name="connsiteX12" fmla="*/ 1778546 w 2772385"/>
              <a:gd name="connsiteY12" fmla="*/ 770649 h 3811169"/>
              <a:gd name="connsiteX13" fmla="*/ 1397078 w 2772385"/>
              <a:gd name="connsiteY13" fmla="*/ 579916 h 3811169"/>
              <a:gd name="connsiteX14" fmla="*/ 1660739 w 2772385"/>
              <a:gd name="connsiteY14" fmla="*/ 1129678 h 3811169"/>
              <a:gd name="connsiteX15" fmla="*/ 1795375 w 2772385"/>
              <a:gd name="connsiteY15" fmla="*/ 1225045 h 3811169"/>
              <a:gd name="connsiteX16" fmla="*/ 1643910 w 2772385"/>
              <a:gd name="connsiteY16" fmla="*/ 1449437 h 3811169"/>
              <a:gd name="connsiteX17" fmla="*/ 1722448 w 2772385"/>
              <a:gd name="connsiteY17" fmla="*/ 1668220 h 3811169"/>
              <a:gd name="connsiteX18" fmla="*/ 1812205 w 2772385"/>
              <a:gd name="connsiteY18" fmla="*/ 1662611 h 3811169"/>
              <a:gd name="connsiteX19" fmla="*/ 1621470 w 2772385"/>
              <a:gd name="connsiteY19" fmla="*/ 1858954 h 3811169"/>
              <a:gd name="connsiteX20" fmla="*/ 909024 w 2772385"/>
              <a:gd name="connsiteY20" fmla="*/ 1578463 h 3811169"/>
              <a:gd name="connsiteX21" fmla="*/ 454629 w 2772385"/>
              <a:gd name="connsiteY21" fmla="*/ 2605060 h 3811169"/>
              <a:gd name="connsiteX22" fmla="*/ 258286 w 2772385"/>
              <a:gd name="connsiteY22" fmla="*/ 2812623 h 3811169"/>
              <a:gd name="connsiteX23" fmla="*/ 39503 w 2772385"/>
              <a:gd name="connsiteY23" fmla="*/ 2857501 h 3811169"/>
              <a:gd name="connsiteX24" fmla="*/ 28282 w 2772385"/>
              <a:gd name="connsiteY24" fmla="*/ 2975307 h 3811169"/>
              <a:gd name="connsiteX25" fmla="*/ 258285 w 2772385"/>
              <a:gd name="connsiteY25" fmla="*/ 3087504 h 3811169"/>
              <a:gd name="connsiteX26" fmla="*/ 527559 w 2772385"/>
              <a:gd name="connsiteY26" fmla="*/ 2986527 h 3811169"/>
              <a:gd name="connsiteX27" fmla="*/ 488288 w 2772385"/>
              <a:gd name="connsiteY27" fmla="*/ 3154821 h 3811169"/>
              <a:gd name="connsiteX28" fmla="*/ 561215 w 2772385"/>
              <a:gd name="connsiteY28" fmla="*/ 3194090 h 3811169"/>
              <a:gd name="connsiteX29" fmla="*/ 381702 w 2772385"/>
              <a:gd name="connsiteY29" fmla="*/ 3592387 h 3811169"/>
              <a:gd name="connsiteX30" fmla="*/ 213408 w 2772385"/>
              <a:gd name="connsiteY30" fmla="*/ 3698973 h 3811169"/>
              <a:gd name="connsiteX31" fmla="*/ 280726 w 2772385"/>
              <a:gd name="connsiteY31" fmla="*/ 3811169 h 3811169"/>
              <a:gd name="connsiteX32" fmla="*/ 477068 w 2772385"/>
              <a:gd name="connsiteY32" fmla="*/ 3771902 h 3811169"/>
              <a:gd name="connsiteX33" fmla="*/ 622923 w 2772385"/>
              <a:gd name="connsiteY33" fmla="*/ 3547509 h 3811169"/>
              <a:gd name="connsiteX34" fmla="*/ 662193 w 2772385"/>
              <a:gd name="connsiteY34" fmla="*/ 3743852 h 3811169"/>
              <a:gd name="connsiteX35" fmla="*/ 718291 w 2772385"/>
              <a:gd name="connsiteY35" fmla="*/ 3743853 h 3811169"/>
              <a:gd name="connsiteX36" fmla="*/ 774389 w 2772385"/>
              <a:gd name="connsiteY36" fmla="*/ 3474581 h 3811169"/>
              <a:gd name="connsiteX37" fmla="*/ 684632 w 2772385"/>
              <a:gd name="connsiteY37" fmla="*/ 3216530 h 3811169"/>
              <a:gd name="connsiteX38" fmla="*/ 897805 w 2772385"/>
              <a:gd name="connsiteY38" fmla="*/ 2627499 h 3811169"/>
              <a:gd name="connsiteX39" fmla="*/ 1161466 w 2772385"/>
              <a:gd name="connsiteY39" fmla="*/ 2520912 h 3811169"/>
              <a:gd name="connsiteX40" fmla="*/ 1526104 w 2772385"/>
              <a:gd name="connsiteY40" fmla="*/ 2627499 h 3811169"/>
              <a:gd name="connsiteX41" fmla="*/ 1587812 w 2772385"/>
              <a:gd name="connsiteY41" fmla="*/ 2627499 h 3811169"/>
              <a:gd name="connsiteX42" fmla="*/ 1643910 w 2772385"/>
              <a:gd name="connsiteY42" fmla="*/ 2728476 h 3811169"/>
              <a:gd name="connsiteX43" fmla="*/ 1795375 w 2772385"/>
              <a:gd name="connsiteY43" fmla="*/ 2762134 h 3811169"/>
              <a:gd name="connsiteX44" fmla="*/ 1806595 w 2772385"/>
              <a:gd name="connsiteY44" fmla="*/ 2795793 h 3811169"/>
              <a:gd name="connsiteX45" fmla="*/ 1767326 w 2772385"/>
              <a:gd name="connsiteY45" fmla="*/ 2997747 h 3811169"/>
              <a:gd name="connsiteX46" fmla="*/ 1744887 w 2772385"/>
              <a:gd name="connsiteY46" fmla="*/ 3323116 h 3811169"/>
              <a:gd name="connsiteX47" fmla="*/ 1537324 w 2772385"/>
              <a:gd name="connsiteY47" fmla="*/ 3345555 h 3811169"/>
              <a:gd name="connsiteX48" fmla="*/ 1200735 w 2772385"/>
              <a:gd name="connsiteY48" fmla="*/ 3396044 h 3811169"/>
              <a:gd name="connsiteX49" fmla="*/ 1172686 w 2772385"/>
              <a:gd name="connsiteY49" fmla="*/ 3468971 h 3811169"/>
              <a:gd name="connsiteX50" fmla="*/ 1110978 w 2772385"/>
              <a:gd name="connsiteY50" fmla="*/ 3497020 h 3811169"/>
              <a:gd name="connsiteX51" fmla="*/ 1139027 w 2772385"/>
              <a:gd name="connsiteY51" fmla="*/ 3631656 h 3811169"/>
              <a:gd name="connsiteX52" fmla="*/ 1279272 w 2772385"/>
              <a:gd name="connsiteY52" fmla="*/ 3637266 h 3811169"/>
              <a:gd name="connsiteX53" fmla="*/ 1273662 w 2772385"/>
              <a:gd name="connsiteY53" fmla="*/ 3485801 h 3811169"/>
              <a:gd name="connsiteX54" fmla="*/ 1453176 w 2772385"/>
              <a:gd name="connsiteY54" fmla="*/ 3497020 h 3811169"/>
              <a:gd name="connsiteX55" fmla="*/ 1425127 w 2772385"/>
              <a:gd name="connsiteY55" fmla="*/ 3575558 h 3811169"/>
              <a:gd name="connsiteX56" fmla="*/ 1397078 w 2772385"/>
              <a:gd name="connsiteY56" fmla="*/ 3637266 h 3811169"/>
              <a:gd name="connsiteX57" fmla="*/ 1312931 w 2772385"/>
              <a:gd name="connsiteY57" fmla="*/ 3654095 h 3811169"/>
              <a:gd name="connsiteX58" fmla="*/ 1447567 w 2772385"/>
              <a:gd name="connsiteY58" fmla="*/ 3777511 h 3811169"/>
              <a:gd name="connsiteX59" fmla="*/ 1514884 w 2772385"/>
              <a:gd name="connsiteY59" fmla="*/ 3642876 h 3811169"/>
              <a:gd name="connsiteX60" fmla="*/ 1817814 w 2772385"/>
              <a:gd name="connsiteY60" fmla="*/ 3541899 h 3811169"/>
              <a:gd name="connsiteX61" fmla="*/ 2154403 w 2772385"/>
              <a:gd name="connsiteY61" fmla="*/ 3614826 h 3811169"/>
              <a:gd name="connsiteX62" fmla="*/ 2109525 w 2772385"/>
              <a:gd name="connsiteY62" fmla="*/ 3715803 h 3811169"/>
              <a:gd name="connsiteX63" fmla="*/ 2204892 w 2772385"/>
              <a:gd name="connsiteY63" fmla="*/ 3783121 h 3811169"/>
              <a:gd name="connsiteX64" fmla="*/ 2277819 w 2772385"/>
              <a:gd name="connsiteY64" fmla="*/ 3732633 h 3811169"/>
              <a:gd name="connsiteX65" fmla="*/ 2266600 w 2772385"/>
              <a:gd name="connsiteY65" fmla="*/ 3637266 h 3811169"/>
              <a:gd name="connsiteX66" fmla="*/ 2446114 w 2772385"/>
              <a:gd name="connsiteY66" fmla="*/ 3558728 h 3811169"/>
              <a:gd name="connsiteX67" fmla="*/ 2429284 w 2772385"/>
              <a:gd name="connsiteY67" fmla="*/ 3384824 h 3811169"/>
              <a:gd name="connsiteX68" fmla="*/ 1924401 w 2772385"/>
              <a:gd name="connsiteY68" fmla="*/ 3356775 h 3811169"/>
              <a:gd name="connsiteX69" fmla="*/ 1913181 w 2772385"/>
              <a:gd name="connsiteY69" fmla="*/ 3031406 h 3811169"/>
              <a:gd name="connsiteX70" fmla="*/ 1879522 w 2772385"/>
              <a:gd name="connsiteY70" fmla="*/ 3014576 h 3811169"/>
              <a:gd name="connsiteX71" fmla="*/ 1901962 w 2772385"/>
              <a:gd name="connsiteY71" fmla="*/ 2835062 h 3811169"/>
              <a:gd name="connsiteX72" fmla="*/ 1857083 w 2772385"/>
              <a:gd name="connsiteY72" fmla="*/ 2773354 h 3811169"/>
              <a:gd name="connsiteX73" fmla="*/ 2103915 w 2772385"/>
              <a:gd name="connsiteY73" fmla="*/ 2717256 h 3811169"/>
              <a:gd name="connsiteX74" fmla="*/ 2126354 w 2772385"/>
              <a:gd name="connsiteY74" fmla="*/ 2588230 h 3811169"/>
              <a:gd name="connsiteX75" fmla="*/ 2367576 w 2772385"/>
              <a:gd name="connsiteY75" fmla="*/ 2621889 h 3811169"/>
              <a:gd name="connsiteX76" fmla="*/ 2591969 w 2772385"/>
              <a:gd name="connsiteY76" fmla="*/ 2032858 h 3811169"/>
              <a:gd name="connsiteX77" fmla="*/ 2547090 w 2772385"/>
              <a:gd name="connsiteY77" fmla="*/ 1948711 h 3811169"/>
              <a:gd name="connsiteX78" fmla="*/ 2692946 w 2772385"/>
              <a:gd name="connsiteY78" fmla="*/ 1460657 h 3811169"/>
              <a:gd name="connsiteX79" fmla="*/ 2636848 w 2772385"/>
              <a:gd name="connsiteY79" fmla="*/ 1354071 h 3811169"/>
              <a:gd name="connsiteX80" fmla="*/ 2479772 w 2772385"/>
              <a:gd name="connsiteY80" fmla="*/ 798699 h 3811169"/>
              <a:gd name="connsiteX81" fmla="*/ 2737825 w 2772385"/>
              <a:gd name="connsiteY81" fmla="*/ 675283 h 3811169"/>
              <a:gd name="connsiteX82" fmla="*/ 2709775 w 2772385"/>
              <a:gd name="connsiteY82" fmla="*/ 434061 h 3811169"/>
              <a:gd name="connsiteX83" fmla="*/ 2625628 w 2772385"/>
              <a:gd name="connsiteY83" fmla="*/ 86253 h 3811169"/>
              <a:gd name="connsiteX0" fmla="*/ 2625628 w 2772385"/>
              <a:gd name="connsiteY0" fmla="*/ 86253 h 3811169"/>
              <a:gd name="connsiteX1" fmla="*/ 2429284 w 2772385"/>
              <a:gd name="connsiteY1" fmla="*/ 2105 h 3811169"/>
              <a:gd name="connsiteX2" fmla="*/ 2188062 w 2772385"/>
              <a:gd name="connsiteY2" fmla="*/ 159180 h 3811169"/>
              <a:gd name="connsiteX3" fmla="*/ 2087086 w 2772385"/>
              <a:gd name="connsiteY3" fmla="*/ 198449 h 3811169"/>
              <a:gd name="connsiteX4" fmla="*/ 2137574 w 2772385"/>
              <a:gd name="connsiteY4" fmla="*/ 288206 h 3811169"/>
              <a:gd name="connsiteX5" fmla="*/ 2025378 w 2772385"/>
              <a:gd name="connsiteY5" fmla="*/ 450890 h 3811169"/>
              <a:gd name="connsiteX6" fmla="*/ 2131966 w 2772385"/>
              <a:gd name="connsiteY6" fmla="*/ 585526 h 3811169"/>
              <a:gd name="connsiteX7" fmla="*/ 2154403 w 2772385"/>
              <a:gd name="connsiteY7" fmla="*/ 708942 h 3811169"/>
              <a:gd name="connsiteX8" fmla="*/ 2025378 w 2772385"/>
              <a:gd name="connsiteY8" fmla="*/ 753820 h 3811169"/>
              <a:gd name="connsiteX9" fmla="*/ 1991719 w 2772385"/>
              <a:gd name="connsiteY9" fmla="*/ 821138 h 3811169"/>
              <a:gd name="connsiteX10" fmla="*/ 1991719 w 2772385"/>
              <a:gd name="connsiteY10" fmla="*/ 708942 h 3811169"/>
              <a:gd name="connsiteX11" fmla="*/ 1941230 w 2772385"/>
              <a:gd name="connsiteY11" fmla="*/ 669673 h 3811169"/>
              <a:gd name="connsiteX12" fmla="*/ 1778546 w 2772385"/>
              <a:gd name="connsiteY12" fmla="*/ 770649 h 3811169"/>
              <a:gd name="connsiteX13" fmla="*/ 1397078 w 2772385"/>
              <a:gd name="connsiteY13" fmla="*/ 579916 h 3811169"/>
              <a:gd name="connsiteX14" fmla="*/ 1660739 w 2772385"/>
              <a:gd name="connsiteY14" fmla="*/ 1129678 h 3811169"/>
              <a:gd name="connsiteX15" fmla="*/ 1795375 w 2772385"/>
              <a:gd name="connsiteY15" fmla="*/ 1225045 h 3811169"/>
              <a:gd name="connsiteX16" fmla="*/ 1643910 w 2772385"/>
              <a:gd name="connsiteY16" fmla="*/ 1449437 h 3811169"/>
              <a:gd name="connsiteX17" fmla="*/ 1722448 w 2772385"/>
              <a:gd name="connsiteY17" fmla="*/ 1668220 h 3811169"/>
              <a:gd name="connsiteX18" fmla="*/ 1812205 w 2772385"/>
              <a:gd name="connsiteY18" fmla="*/ 1662611 h 3811169"/>
              <a:gd name="connsiteX19" fmla="*/ 1621470 w 2772385"/>
              <a:gd name="connsiteY19" fmla="*/ 1858954 h 3811169"/>
              <a:gd name="connsiteX20" fmla="*/ 909024 w 2772385"/>
              <a:gd name="connsiteY20" fmla="*/ 1578463 h 3811169"/>
              <a:gd name="connsiteX21" fmla="*/ 454629 w 2772385"/>
              <a:gd name="connsiteY21" fmla="*/ 2605060 h 3811169"/>
              <a:gd name="connsiteX22" fmla="*/ 258286 w 2772385"/>
              <a:gd name="connsiteY22" fmla="*/ 2812623 h 3811169"/>
              <a:gd name="connsiteX23" fmla="*/ 39503 w 2772385"/>
              <a:gd name="connsiteY23" fmla="*/ 2857501 h 3811169"/>
              <a:gd name="connsiteX24" fmla="*/ 28282 w 2772385"/>
              <a:gd name="connsiteY24" fmla="*/ 2975307 h 3811169"/>
              <a:gd name="connsiteX25" fmla="*/ 258285 w 2772385"/>
              <a:gd name="connsiteY25" fmla="*/ 3087504 h 3811169"/>
              <a:gd name="connsiteX26" fmla="*/ 527559 w 2772385"/>
              <a:gd name="connsiteY26" fmla="*/ 2986527 h 3811169"/>
              <a:gd name="connsiteX27" fmla="*/ 488288 w 2772385"/>
              <a:gd name="connsiteY27" fmla="*/ 3154821 h 3811169"/>
              <a:gd name="connsiteX28" fmla="*/ 561215 w 2772385"/>
              <a:gd name="connsiteY28" fmla="*/ 3194090 h 3811169"/>
              <a:gd name="connsiteX29" fmla="*/ 381702 w 2772385"/>
              <a:gd name="connsiteY29" fmla="*/ 3592387 h 3811169"/>
              <a:gd name="connsiteX30" fmla="*/ 213408 w 2772385"/>
              <a:gd name="connsiteY30" fmla="*/ 3698973 h 3811169"/>
              <a:gd name="connsiteX31" fmla="*/ 280726 w 2772385"/>
              <a:gd name="connsiteY31" fmla="*/ 3811169 h 3811169"/>
              <a:gd name="connsiteX32" fmla="*/ 477068 w 2772385"/>
              <a:gd name="connsiteY32" fmla="*/ 3771902 h 3811169"/>
              <a:gd name="connsiteX33" fmla="*/ 622923 w 2772385"/>
              <a:gd name="connsiteY33" fmla="*/ 3547509 h 3811169"/>
              <a:gd name="connsiteX34" fmla="*/ 662193 w 2772385"/>
              <a:gd name="connsiteY34" fmla="*/ 3743852 h 3811169"/>
              <a:gd name="connsiteX35" fmla="*/ 735121 w 2772385"/>
              <a:gd name="connsiteY35" fmla="*/ 3732634 h 3811169"/>
              <a:gd name="connsiteX36" fmla="*/ 774389 w 2772385"/>
              <a:gd name="connsiteY36" fmla="*/ 3474581 h 3811169"/>
              <a:gd name="connsiteX37" fmla="*/ 684632 w 2772385"/>
              <a:gd name="connsiteY37" fmla="*/ 3216530 h 3811169"/>
              <a:gd name="connsiteX38" fmla="*/ 897805 w 2772385"/>
              <a:gd name="connsiteY38" fmla="*/ 2627499 h 3811169"/>
              <a:gd name="connsiteX39" fmla="*/ 1161466 w 2772385"/>
              <a:gd name="connsiteY39" fmla="*/ 2520912 h 3811169"/>
              <a:gd name="connsiteX40" fmla="*/ 1526104 w 2772385"/>
              <a:gd name="connsiteY40" fmla="*/ 2627499 h 3811169"/>
              <a:gd name="connsiteX41" fmla="*/ 1587812 w 2772385"/>
              <a:gd name="connsiteY41" fmla="*/ 2627499 h 3811169"/>
              <a:gd name="connsiteX42" fmla="*/ 1643910 w 2772385"/>
              <a:gd name="connsiteY42" fmla="*/ 2728476 h 3811169"/>
              <a:gd name="connsiteX43" fmla="*/ 1795375 w 2772385"/>
              <a:gd name="connsiteY43" fmla="*/ 2762134 h 3811169"/>
              <a:gd name="connsiteX44" fmla="*/ 1806595 w 2772385"/>
              <a:gd name="connsiteY44" fmla="*/ 2795793 h 3811169"/>
              <a:gd name="connsiteX45" fmla="*/ 1767326 w 2772385"/>
              <a:gd name="connsiteY45" fmla="*/ 2997747 h 3811169"/>
              <a:gd name="connsiteX46" fmla="*/ 1744887 w 2772385"/>
              <a:gd name="connsiteY46" fmla="*/ 3323116 h 3811169"/>
              <a:gd name="connsiteX47" fmla="*/ 1537324 w 2772385"/>
              <a:gd name="connsiteY47" fmla="*/ 3345555 h 3811169"/>
              <a:gd name="connsiteX48" fmla="*/ 1200735 w 2772385"/>
              <a:gd name="connsiteY48" fmla="*/ 3396044 h 3811169"/>
              <a:gd name="connsiteX49" fmla="*/ 1172686 w 2772385"/>
              <a:gd name="connsiteY49" fmla="*/ 3468971 h 3811169"/>
              <a:gd name="connsiteX50" fmla="*/ 1110978 w 2772385"/>
              <a:gd name="connsiteY50" fmla="*/ 3497020 h 3811169"/>
              <a:gd name="connsiteX51" fmla="*/ 1139027 w 2772385"/>
              <a:gd name="connsiteY51" fmla="*/ 3631656 h 3811169"/>
              <a:gd name="connsiteX52" fmla="*/ 1279272 w 2772385"/>
              <a:gd name="connsiteY52" fmla="*/ 3637266 h 3811169"/>
              <a:gd name="connsiteX53" fmla="*/ 1273662 w 2772385"/>
              <a:gd name="connsiteY53" fmla="*/ 3485801 h 3811169"/>
              <a:gd name="connsiteX54" fmla="*/ 1453176 w 2772385"/>
              <a:gd name="connsiteY54" fmla="*/ 3497020 h 3811169"/>
              <a:gd name="connsiteX55" fmla="*/ 1425127 w 2772385"/>
              <a:gd name="connsiteY55" fmla="*/ 3575558 h 3811169"/>
              <a:gd name="connsiteX56" fmla="*/ 1397078 w 2772385"/>
              <a:gd name="connsiteY56" fmla="*/ 3637266 h 3811169"/>
              <a:gd name="connsiteX57" fmla="*/ 1312931 w 2772385"/>
              <a:gd name="connsiteY57" fmla="*/ 3654095 h 3811169"/>
              <a:gd name="connsiteX58" fmla="*/ 1447567 w 2772385"/>
              <a:gd name="connsiteY58" fmla="*/ 3777511 h 3811169"/>
              <a:gd name="connsiteX59" fmla="*/ 1514884 w 2772385"/>
              <a:gd name="connsiteY59" fmla="*/ 3642876 h 3811169"/>
              <a:gd name="connsiteX60" fmla="*/ 1817814 w 2772385"/>
              <a:gd name="connsiteY60" fmla="*/ 3541899 h 3811169"/>
              <a:gd name="connsiteX61" fmla="*/ 2154403 w 2772385"/>
              <a:gd name="connsiteY61" fmla="*/ 3614826 h 3811169"/>
              <a:gd name="connsiteX62" fmla="*/ 2109525 w 2772385"/>
              <a:gd name="connsiteY62" fmla="*/ 3715803 h 3811169"/>
              <a:gd name="connsiteX63" fmla="*/ 2204892 w 2772385"/>
              <a:gd name="connsiteY63" fmla="*/ 3783121 h 3811169"/>
              <a:gd name="connsiteX64" fmla="*/ 2277819 w 2772385"/>
              <a:gd name="connsiteY64" fmla="*/ 3732633 h 3811169"/>
              <a:gd name="connsiteX65" fmla="*/ 2266600 w 2772385"/>
              <a:gd name="connsiteY65" fmla="*/ 3637266 h 3811169"/>
              <a:gd name="connsiteX66" fmla="*/ 2446114 w 2772385"/>
              <a:gd name="connsiteY66" fmla="*/ 3558728 h 3811169"/>
              <a:gd name="connsiteX67" fmla="*/ 2429284 w 2772385"/>
              <a:gd name="connsiteY67" fmla="*/ 3384824 h 3811169"/>
              <a:gd name="connsiteX68" fmla="*/ 1924401 w 2772385"/>
              <a:gd name="connsiteY68" fmla="*/ 3356775 h 3811169"/>
              <a:gd name="connsiteX69" fmla="*/ 1913181 w 2772385"/>
              <a:gd name="connsiteY69" fmla="*/ 3031406 h 3811169"/>
              <a:gd name="connsiteX70" fmla="*/ 1879522 w 2772385"/>
              <a:gd name="connsiteY70" fmla="*/ 3014576 h 3811169"/>
              <a:gd name="connsiteX71" fmla="*/ 1901962 w 2772385"/>
              <a:gd name="connsiteY71" fmla="*/ 2835062 h 3811169"/>
              <a:gd name="connsiteX72" fmla="*/ 1857083 w 2772385"/>
              <a:gd name="connsiteY72" fmla="*/ 2773354 h 3811169"/>
              <a:gd name="connsiteX73" fmla="*/ 2103915 w 2772385"/>
              <a:gd name="connsiteY73" fmla="*/ 2717256 h 3811169"/>
              <a:gd name="connsiteX74" fmla="*/ 2126354 w 2772385"/>
              <a:gd name="connsiteY74" fmla="*/ 2588230 h 3811169"/>
              <a:gd name="connsiteX75" fmla="*/ 2367576 w 2772385"/>
              <a:gd name="connsiteY75" fmla="*/ 2621889 h 3811169"/>
              <a:gd name="connsiteX76" fmla="*/ 2591969 w 2772385"/>
              <a:gd name="connsiteY76" fmla="*/ 2032858 h 3811169"/>
              <a:gd name="connsiteX77" fmla="*/ 2547090 w 2772385"/>
              <a:gd name="connsiteY77" fmla="*/ 1948711 h 3811169"/>
              <a:gd name="connsiteX78" fmla="*/ 2692946 w 2772385"/>
              <a:gd name="connsiteY78" fmla="*/ 1460657 h 3811169"/>
              <a:gd name="connsiteX79" fmla="*/ 2636848 w 2772385"/>
              <a:gd name="connsiteY79" fmla="*/ 1354071 h 3811169"/>
              <a:gd name="connsiteX80" fmla="*/ 2479772 w 2772385"/>
              <a:gd name="connsiteY80" fmla="*/ 798699 h 3811169"/>
              <a:gd name="connsiteX81" fmla="*/ 2737825 w 2772385"/>
              <a:gd name="connsiteY81" fmla="*/ 675283 h 3811169"/>
              <a:gd name="connsiteX82" fmla="*/ 2709775 w 2772385"/>
              <a:gd name="connsiteY82" fmla="*/ 434061 h 3811169"/>
              <a:gd name="connsiteX83" fmla="*/ 2625628 w 2772385"/>
              <a:gd name="connsiteY83" fmla="*/ 86253 h 3811169"/>
              <a:gd name="connsiteX0" fmla="*/ 2625628 w 2772385"/>
              <a:gd name="connsiteY0" fmla="*/ 86253 h 3811169"/>
              <a:gd name="connsiteX1" fmla="*/ 2429284 w 2772385"/>
              <a:gd name="connsiteY1" fmla="*/ 2105 h 3811169"/>
              <a:gd name="connsiteX2" fmla="*/ 2188062 w 2772385"/>
              <a:gd name="connsiteY2" fmla="*/ 159180 h 3811169"/>
              <a:gd name="connsiteX3" fmla="*/ 2087086 w 2772385"/>
              <a:gd name="connsiteY3" fmla="*/ 198449 h 3811169"/>
              <a:gd name="connsiteX4" fmla="*/ 2137574 w 2772385"/>
              <a:gd name="connsiteY4" fmla="*/ 288206 h 3811169"/>
              <a:gd name="connsiteX5" fmla="*/ 2025378 w 2772385"/>
              <a:gd name="connsiteY5" fmla="*/ 450890 h 3811169"/>
              <a:gd name="connsiteX6" fmla="*/ 2131966 w 2772385"/>
              <a:gd name="connsiteY6" fmla="*/ 585526 h 3811169"/>
              <a:gd name="connsiteX7" fmla="*/ 2154403 w 2772385"/>
              <a:gd name="connsiteY7" fmla="*/ 708942 h 3811169"/>
              <a:gd name="connsiteX8" fmla="*/ 2025378 w 2772385"/>
              <a:gd name="connsiteY8" fmla="*/ 753820 h 3811169"/>
              <a:gd name="connsiteX9" fmla="*/ 1991719 w 2772385"/>
              <a:gd name="connsiteY9" fmla="*/ 821138 h 3811169"/>
              <a:gd name="connsiteX10" fmla="*/ 1991719 w 2772385"/>
              <a:gd name="connsiteY10" fmla="*/ 708942 h 3811169"/>
              <a:gd name="connsiteX11" fmla="*/ 1941230 w 2772385"/>
              <a:gd name="connsiteY11" fmla="*/ 669673 h 3811169"/>
              <a:gd name="connsiteX12" fmla="*/ 1778546 w 2772385"/>
              <a:gd name="connsiteY12" fmla="*/ 770649 h 3811169"/>
              <a:gd name="connsiteX13" fmla="*/ 1397078 w 2772385"/>
              <a:gd name="connsiteY13" fmla="*/ 579916 h 3811169"/>
              <a:gd name="connsiteX14" fmla="*/ 1660739 w 2772385"/>
              <a:gd name="connsiteY14" fmla="*/ 1129678 h 3811169"/>
              <a:gd name="connsiteX15" fmla="*/ 1795375 w 2772385"/>
              <a:gd name="connsiteY15" fmla="*/ 1225045 h 3811169"/>
              <a:gd name="connsiteX16" fmla="*/ 1643910 w 2772385"/>
              <a:gd name="connsiteY16" fmla="*/ 1449437 h 3811169"/>
              <a:gd name="connsiteX17" fmla="*/ 1722448 w 2772385"/>
              <a:gd name="connsiteY17" fmla="*/ 1668220 h 3811169"/>
              <a:gd name="connsiteX18" fmla="*/ 1812205 w 2772385"/>
              <a:gd name="connsiteY18" fmla="*/ 1662611 h 3811169"/>
              <a:gd name="connsiteX19" fmla="*/ 1621470 w 2772385"/>
              <a:gd name="connsiteY19" fmla="*/ 1858954 h 3811169"/>
              <a:gd name="connsiteX20" fmla="*/ 909024 w 2772385"/>
              <a:gd name="connsiteY20" fmla="*/ 1578463 h 3811169"/>
              <a:gd name="connsiteX21" fmla="*/ 454629 w 2772385"/>
              <a:gd name="connsiteY21" fmla="*/ 2605060 h 3811169"/>
              <a:gd name="connsiteX22" fmla="*/ 258286 w 2772385"/>
              <a:gd name="connsiteY22" fmla="*/ 2812623 h 3811169"/>
              <a:gd name="connsiteX23" fmla="*/ 39503 w 2772385"/>
              <a:gd name="connsiteY23" fmla="*/ 2857501 h 3811169"/>
              <a:gd name="connsiteX24" fmla="*/ 28282 w 2772385"/>
              <a:gd name="connsiteY24" fmla="*/ 2975307 h 3811169"/>
              <a:gd name="connsiteX25" fmla="*/ 258285 w 2772385"/>
              <a:gd name="connsiteY25" fmla="*/ 3087504 h 3811169"/>
              <a:gd name="connsiteX26" fmla="*/ 527559 w 2772385"/>
              <a:gd name="connsiteY26" fmla="*/ 2986527 h 3811169"/>
              <a:gd name="connsiteX27" fmla="*/ 488288 w 2772385"/>
              <a:gd name="connsiteY27" fmla="*/ 3154821 h 3811169"/>
              <a:gd name="connsiteX28" fmla="*/ 561215 w 2772385"/>
              <a:gd name="connsiteY28" fmla="*/ 3194090 h 3811169"/>
              <a:gd name="connsiteX29" fmla="*/ 381702 w 2772385"/>
              <a:gd name="connsiteY29" fmla="*/ 3592387 h 3811169"/>
              <a:gd name="connsiteX30" fmla="*/ 213408 w 2772385"/>
              <a:gd name="connsiteY30" fmla="*/ 3698973 h 3811169"/>
              <a:gd name="connsiteX31" fmla="*/ 280726 w 2772385"/>
              <a:gd name="connsiteY31" fmla="*/ 3811169 h 3811169"/>
              <a:gd name="connsiteX32" fmla="*/ 477068 w 2772385"/>
              <a:gd name="connsiteY32" fmla="*/ 3771902 h 3811169"/>
              <a:gd name="connsiteX33" fmla="*/ 622923 w 2772385"/>
              <a:gd name="connsiteY33" fmla="*/ 3547509 h 3811169"/>
              <a:gd name="connsiteX34" fmla="*/ 662193 w 2772385"/>
              <a:gd name="connsiteY34" fmla="*/ 3743852 h 3811169"/>
              <a:gd name="connsiteX35" fmla="*/ 735121 w 2772385"/>
              <a:gd name="connsiteY35" fmla="*/ 3732634 h 3811169"/>
              <a:gd name="connsiteX36" fmla="*/ 774389 w 2772385"/>
              <a:gd name="connsiteY36" fmla="*/ 3474581 h 3811169"/>
              <a:gd name="connsiteX37" fmla="*/ 684632 w 2772385"/>
              <a:gd name="connsiteY37" fmla="*/ 3216530 h 3811169"/>
              <a:gd name="connsiteX38" fmla="*/ 897805 w 2772385"/>
              <a:gd name="connsiteY38" fmla="*/ 2627499 h 3811169"/>
              <a:gd name="connsiteX39" fmla="*/ 1161466 w 2772385"/>
              <a:gd name="connsiteY39" fmla="*/ 2520912 h 3811169"/>
              <a:gd name="connsiteX40" fmla="*/ 1526104 w 2772385"/>
              <a:gd name="connsiteY40" fmla="*/ 2627499 h 3811169"/>
              <a:gd name="connsiteX41" fmla="*/ 1587812 w 2772385"/>
              <a:gd name="connsiteY41" fmla="*/ 2627499 h 3811169"/>
              <a:gd name="connsiteX42" fmla="*/ 1643910 w 2772385"/>
              <a:gd name="connsiteY42" fmla="*/ 2728476 h 3811169"/>
              <a:gd name="connsiteX43" fmla="*/ 1795375 w 2772385"/>
              <a:gd name="connsiteY43" fmla="*/ 2762134 h 3811169"/>
              <a:gd name="connsiteX44" fmla="*/ 1806595 w 2772385"/>
              <a:gd name="connsiteY44" fmla="*/ 2795793 h 3811169"/>
              <a:gd name="connsiteX45" fmla="*/ 1767326 w 2772385"/>
              <a:gd name="connsiteY45" fmla="*/ 2997747 h 3811169"/>
              <a:gd name="connsiteX46" fmla="*/ 1744887 w 2772385"/>
              <a:gd name="connsiteY46" fmla="*/ 3323116 h 3811169"/>
              <a:gd name="connsiteX47" fmla="*/ 1537324 w 2772385"/>
              <a:gd name="connsiteY47" fmla="*/ 3345555 h 3811169"/>
              <a:gd name="connsiteX48" fmla="*/ 1200735 w 2772385"/>
              <a:gd name="connsiteY48" fmla="*/ 3396044 h 3811169"/>
              <a:gd name="connsiteX49" fmla="*/ 1172686 w 2772385"/>
              <a:gd name="connsiteY49" fmla="*/ 3468971 h 3811169"/>
              <a:gd name="connsiteX50" fmla="*/ 1110978 w 2772385"/>
              <a:gd name="connsiteY50" fmla="*/ 3497020 h 3811169"/>
              <a:gd name="connsiteX51" fmla="*/ 1139027 w 2772385"/>
              <a:gd name="connsiteY51" fmla="*/ 3631656 h 3811169"/>
              <a:gd name="connsiteX52" fmla="*/ 1279272 w 2772385"/>
              <a:gd name="connsiteY52" fmla="*/ 3637266 h 3811169"/>
              <a:gd name="connsiteX53" fmla="*/ 1273662 w 2772385"/>
              <a:gd name="connsiteY53" fmla="*/ 3485801 h 3811169"/>
              <a:gd name="connsiteX54" fmla="*/ 1453176 w 2772385"/>
              <a:gd name="connsiteY54" fmla="*/ 3497020 h 3811169"/>
              <a:gd name="connsiteX55" fmla="*/ 1425127 w 2772385"/>
              <a:gd name="connsiteY55" fmla="*/ 3575558 h 3811169"/>
              <a:gd name="connsiteX56" fmla="*/ 1397078 w 2772385"/>
              <a:gd name="connsiteY56" fmla="*/ 3637266 h 3811169"/>
              <a:gd name="connsiteX57" fmla="*/ 1312931 w 2772385"/>
              <a:gd name="connsiteY57" fmla="*/ 3654095 h 3811169"/>
              <a:gd name="connsiteX58" fmla="*/ 1447567 w 2772385"/>
              <a:gd name="connsiteY58" fmla="*/ 3777511 h 3811169"/>
              <a:gd name="connsiteX59" fmla="*/ 1514884 w 2772385"/>
              <a:gd name="connsiteY59" fmla="*/ 3642876 h 3811169"/>
              <a:gd name="connsiteX60" fmla="*/ 1817814 w 2772385"/>
              <a:gd name="connsiteY60" fmla="*/ 3541899 h 3811169"/>
              <a:gd name="connsiteX61" fmla="*/ 2154403 w 2772385"/>
              <a:gd name="connsiteY61" fmla="*/ 3614826 h 3811169"/>
              <a:gd name="connsiteX62" fmla="*/ 2109525 w 2772385"/>
              <a:gd name="connsiteY62" fmla="*/ 3715803 h 3811169"/>
              <a:gd name="connsiteX63" fmla="*/ 2204892 w 2772385"/>
              <a:gd name="connsiteY63" fmla="*/ 3783121 h 3811169"/>
              <a:gd name="connsiteX64" fmla="*/ 2277819 w 2772385"/>
              <a:gd name="connsiteY64" fmla="*/ 3732633 h 3811169"/>
              <a:gd name="connsiteX65" fmla="*/ 2266600 w 2772385"/>
              <a:gd name="connsiteY65" fmla="*/ 3637266 h 3811169"/>
              <a:gd name="connsiteX66" fmla="*/ 2446114 w 2772385"/>
              <a:gd name="connsiteY66" fmla="*/ 3558728 h 3811169"/>
              <a:gd name="connsiteX67" fmla="*/ 2429284 w 2772385"/>
              <a:gd name="connsiteY67" fmla="*/ 3384824 h 3811169"/>
              <a:gd name="connsiteX68" fmla="*/ 1924401 w 2772385"/>
              <a:gd name="connsiteY68" fmla="*/ 3356775 h 3811169"/>
              <a:gd name="connsiteX69" fmla="*/ 1913181 w 2772385"/>
              <a:gd name="connsiteY69" fmla="*/ 3031406 h 3811169"/>
              <a:gd name="connsiteX70" fmla="*/ 1879522 w 2772385"/>
              <a:gd name="connsiteY70" fmla="*/ 3014576 h 3811169"/>
              <a:gd name="connsiteX71" fmla="*/ 1901962 w 2772385"/>
              <a:gd name="connsiteY71" fmla="*/ 2835062 h 3811169"/>
              <a:gd name="connsiteX72" fmla="*/ 1857083 w 2772385"/>
              <a:gd name="connsiteY72" fmla="*/ 2773354 h 3811169"/>
              <a:gd name="connsiteX73" fmla="*/ 2103915 w 2772385"/>
              <a:gd name="connsiteY73" fmla="*/ 2717256 h 3811169"/>
              <a:gd name="connsiteX74" fmla="*/ 2126354 w 2772385"/>
              <a:gd name="connsiteY74" fmla="*/ 2588230 h 3811169"/>
              <a:gd name="connsiteX75" fmla="*/ 2367576 w 2772385"/>
              <a:gd name="connsiteY75" fmla="*/ 2621889 h 3811169"/>
              <a:gd name="connsiteX76" fmla="*/ 2591969 w 2772385"/>
              <a:gd name="connsiteY76" fmla="*/ 2032858 h 3811169"/>
              <a:gd name="connsiteX77" fmla="*/ 2547090 w 2772385"/>
              <a:gd name="connsiteY77" fmla="*/ 1948711 h 3811169"/>
              <a:gd name="connsiteX78" fmla="*/ 2692946 w 2772385"/>
              <a:gd name="connsiteY78" fmla="*/ 1460657 h 3811169"/>
              <a:gd name="connsiteX79" fmla="*/ 2636848 w 2772385"/>
              <a:gd name="connsiteY79" fmla="*/ 1354071 h 3811169"/>
              <a:gd name="connsiteX80" fmla="*/ 2479772 w 2772385"/>
              <a:gd name="connsiteY80" fmla="*/ 798699 h 3811169"/>
              <a:gd name="connsiteX81" fmla="*/ 2737825 w 2772385"/>
              <a:gd name="connsiteY81" fmla="*/ 675283 h 3811169"/>
              <a:gd name="connsiteX82" fmla="*/ 2709775 w 2772385"/>
              <a:gd name="connsiteY82" fmla="*/ 434061 h 3811169"/>
              <a:gd name="connsiteX83" fmla="*/ 2625628 w 2772385"/>
              <a:gd name="connsiteY83" fmla="*/ 86253 h 3811169"/>
              <a:gd name="connsiteX0" fmla="*/ 2625628 w 2772385"/>
              <a:gd name="connsiteY0" fmla="*/ 86253 h 3811169"/>
              <a:gd name="connsiteX1" fmla="*/ 2429284 w 2772385"/>
              <a:gd name="connsiteY1" fmla="*/ 2105 h 3811169"/>
              <a:gd name="connsiteX2" fmla="*/ 2188062 w 2772385"/>
              <a:gd name="connsiteY2" fmla="*/ 159180 h 3811169"/>
              <a:gd name="connsiteX3" fmla="*/ 2087086 w 2772385"/>
              <a:gd name="connsiteY3" fmla="*/ 198449 h 3811169"/>
              <a:gd name="connsiteX4" fmla="*/ 2137574 w 2772385"/>
              <a:gd name="connsiteY4" fmla="*/ 288206 h 3811169"/>
              <a:gd name="connsiteX5" fmla="*/ 2025378 w 2772385"/>
              <a:gd name="connsiteY5" fmla="*/ 450890 h 3811169"/>
              <a:gd name="connsiteX6" fmla="*/ 2131966 w 2772385"/>
              <a:gd name="connsiteY6" fmla="*/ 585526 h 3811169"/>
              <a:gd name="connsiteX7" fmla="*/ 2154403 w 2772385"/>
              <a:gd name="connsiteY7" fmla="*/ 708942 h 3811169"/>
              <a:gd name="connsiteX8" fmla="*/ 2025378 w 2772385"/>
              <a:gd name="connsiteY8" fmla="*/ 753820 h 3811169"/>
              <a:gd name="connsiteX9" fmla="*/ 1991719 w 2772385"/>
              <a:gd name="connsiteY9" fmla="*/ 821138 h 3811169"/>
              <a:gd name="connsiteX10" fmla="*/ 1991719 w 2772385"/>
              <a:gd name="connsiteY10" fmla="*/ 708942 h 3811169"/>
              <a:gd name="connsiteX11" fmla="*/ 1941230 w 2772385"/>
              <a:gd name="connsiteY11" fmla="*/ 669673 h 3811169"/>
              <a:gd name="connsiteX12" fmla="*/ 1778546 w 2772385"/>
              <a:gd name="connsiteY12" fmla="*/ 770649 h 3811169"/>
              <a:gd name="connsiteX13" fmla="*/ 1397078 w 2772385"/>
              <a:gd name="connsiteY13" fmla="*/ 579916 h 3811169"/>
              <a:gd name="connsiteX14" fmla="*/ 1660739 w 2772385"/>
              <a:gd name="connsiteY14" fmla="*/ 1129678 h 3811169"/>
              <a:gd name="connsiteX15" fmla="*/ 1795375 w 2772385"/>
              <a:gd name="connsiteY15" fmla="*/ 1225045 h 3811169"/>
              <a:gd name="connsiteX16" fmla="*/ 1643910 w 2772385"/>
              <a:gd name="connsiteY16" fmla="*/ 1449437 h 3811169"/>
              <a:gd name="connsiteX17" fmla="*/ 1722448 w 2772385"/>
              <a:gd name="connsiteY17" fmla="*/ 1668220 h 3811169"/>
              <a:gd name="connsiteX18" fmla="*/ 1812205 w 2772385"/>
              <a:gd name="connsiteY18" fmla="*/ 1662611 h 3811169"/>
              <a:gd name="connsiteX19" fmla="*/ 1621470 w 2772385"/>
              <a:gd name="connsiteY19" fmla="*/ 1858954 h 3811169"/>
              <a:gd name="connsiteX20" fmla="*/ 909024 w 2772385"/>
              <a:gd name="connsiteY20" fmla="*/ 1578463 h 3811169"/>
              <a:gd name="connsiteX21" fmla="*/ 454629 w 2772385"/>
              <a:gd name="connsiteY21" fmla="*/ 2605060 h 3811169"/>
              <a:gd name="connsiteX22" fmla="*/ 258286 w 2772385"/>
              <a:gd name="connsiteY22" fmla="*/ 2812623 h 3811169"/>
              <a:gd name="connsiteX23" fmla="*/ 39503 w 2772385"/>
              <a:gd name="connsiteY23" fmla="*/ 2857501 h 3811169"/>
              <a:gd name="connsiteX24" fmla="*/ 28282 w 2772385"/>
              <a:gd name="connsiteY24" fmla="*/ 2975307 h 3811169"/>
              <a:gd name="connsiteX25" fmla="*/ 258285 w 2772385"/>
              <a:gd name="connsiteY25" fmla="*/ 3087504 h 3811169"/>
              <a:gd name="connsiteX26" fmla="*/ 527559 w 2772385"/>
              <a:gd name="connsiteY26" fmla="*/ 2986527 h 3811169"/>
              <a:gd name="connsiteX27" fmla="*/ 488288 w 2772385"/>
              <a:gd name="connsiteY27" fmla="*/ 3154821 h 3811169"/>
              <a:gd name="connsiteX28" fmla="*/ 561215 w 2772385"/>
              <a:gd name="connsiteY28" fmla="*/ 3194090 h 3811169"/>
              <a:gd name="connsiteX29" fmla="*/ 381702 w 2772385"/>
              <a:gd name="connsiteY29" fmla="*/ 3592387 h 3811169"/>
              <a:gd name="connsiteX30" fmla="*/ 213408 w 2772385"/>
              <a:gd name="connsiteY30" fmla="*/ 3698973 h 3811169"/>
              <a:gd name="connsiteX31" fmla="*/ 280726 w 2772385"/>
              <a:gd name="connsiteY31" fmla="*/ 3811169 h 3811169"/>
              <a:gd name="connsiteX32" fmla="*/ 477068 w 2772385"/>
              <a:gd name="connsiteY32" fmla="*/ 3771902 h 3811169"/>
              <a:gd name="connsiteX33" fmla="*/ 622923 w 2772385"/>
              <a:gd name="connsiteY33" fmla="*/ 3547509 h 3811169"/>
              <a:gd name="connsiteX34" fmla="*/ 662193 w 2772385"/>
              <a:gd name="connsiteY34" fmla="*/ 3743852 h 3811169"/>
              <a:gd name="connsiteX35" fmla="*/ 735121 w 2772385"/>
              <a:gd name="connsiteY35" fmla="*/ 3732634 h 3811169"/>
              <a:gd name="connsiteX36" fmla="*/ 774389 w 2772385"/>
              <a:gd name="connsiteY36" fmla="*/ 3474581 h 3811169"/>
              <a:gd name="connsiteX37" fmla="*/ 684632 w 2772385"/>
              <a:gd name="connsiteY37" fmla="*/ 3216530 h 3811169"/>
              <a:gd name="connsiteX38" fmla="*/ 897805 w 2772385"/>
              <a:gd name="connsiteY38" fmla="*/ 2627499 h 3811169"/>
              <a:gd name="connsiteX39" fmla="*/ 1161466 w 2772385"/>
              <a:gd name="connsiteY39" fmla="*/ 2520912 h 3811169"/>
              <a:gd name="connsiteX40" fmla="*/ 1526104 w 2772385"/>
              <a:gd name="connsiteY40" fmla="*/ 2627499 h 3811169"/>
              <a:gd name="connsiteX41" fmla="*/ 1587812 w 2772385"/>
              <a:gd name="connsiteY41" fmla="*/ 2627499 h 3811169"/>
              <a:gd name="connsiteX42" fmla="*/ 1643910 w 2772385"/>
              <a:gd name="connsiteY42" fmla="*/ 2728476 h 3811169"/>
              <a:gd name="connsiteX43" fmla="*/ 1795375 w 2772385"/>
              <a:gd name="connsiteY43" fmla="*/ 2762134 h 3811169"/>
              <a:gd name="connsiteX44" fmla="*/ 1806595 w 2772385"/>
              <a:gd name="connsiteY44" fmla="*/ 2795793 h 3811169"/>
              <a:gd name="connsiteX45" fmla="*/ 1767326 w 2772385"/>
              <a:gd name="connsiteY45" fmla="*/ 2997747 h 3811169"/>
              <a:gd name="connsiteX46" fmla="*/ 1744887 w 2772385"/>
              <a:gd name="connsiteY46" fmla="*/ 3323116 h 3811169"/>
              <a:gd name="connsiteX47" fmla="*/ 1537324 w 2772385"/>
              <a:gd name="connsiteY47" fmla="*/ 3345555 h 3811169"/>
              <a:gd name="connsiteX48" fmla="*/ 1200735 w 2772385"/>
              <a:gd name="connsiteY48" fmla="*/ 3396044 h 3811169"/>
              <a:gd name="connsiteX49" fmla="*/ 1172686 w 2772385"/>
              <a:gd name="connsiteY49" fmla="*/ 3468971 h 3811169"/>
              <a:gd name="connsiteX50" fmla="*/ 1110978 w 2772385"/>
              <a:gd name="connsiteY50" fmla="*/ 3497020 h 3811169"/>
              <a:gd name="connsiteX51" fmla="*/ 1139027 w 2772385"/>
              <a:gd name="connsiteY51" fmla="*/ 3631656 h 3811169"/>
              <a:gd name="connsiteX52" fmla="*/ 1279272 w 2772385"/>
              <a:gd name="connsiteY52" fmla="*/ 3637266 h 3811169"/>
              <a:gd name="connsiteX53" fmla="*/ 1273662 w 2772385"/>
              <a:gd name="connsiteY53" fmla="*/ 3485801 h 3811169"/>
              <a:gd name="connsiteX54" fmla="*/ 1453176 w 2772385"/>
              <a:gd name="connsiteY54" fmla="*/ 3497020 h 3811169"/>
              <a:gd name="connsiteX55" fmla="*/ 1425127 w 2772385"/>
              <a:gd name="connsiteY55" fmla="*/ 3575558 h 3811169"/>
              <a:gd name="connsiteX56" fmla="*/ 1397078 w 2772385"/>
              <a:gd name="connsiteY56" fmla="*/ 3637266 h 3811169"/>
              <a:gd name="connsiteX57" fmla="*/ 1312931 w 2772385"/>
              <a:gd name="connsiteY57" fmla="*/ 3654095 h 3811169"/>
              <a:gd name="connsiteX58" fmla="*/ 1447567 w 2772385"/>
              <a:gd name="connsiteY58" fmla="*/ 3777511 h 3811169"/>
              <a:gd name="connsiteX59" fmla="*/ 1514884 w 2772385"/>
              <a:gd name="connsiteY59" fmla="*/ 3642876 h 3811169"/>
              <a:gd name="connsiteX60" fmla="*/ 1817814 w 2772385"/>
              <a:gd name="connsiteY60" fmla="*/ 3541899 h 3811169"/>
              <a:gd name="connsiteX61" fmla="*/ 2154403 w 2772385"/>
              <a:gd name="connsiteY61" fmla="*/ 3614826 h 3811169"/>
              <a:gd name="connsiteX62" fmla="*/ 2109525 w 2772385"/>
              <a:gd name="connsiteY62" fmla="*/ 3715803 h 3811169"/>
              <a:gd name="connsiteX63" fmla="*/ 2204892 w 2772385"/>
              <a:gd name="connsiteY63" fmla="*/ 3783121 h 3811169"/>
              <a:gd name="connsiteX64" fmla="*/ 2277819 w 2772385"/>
              <a:gd name="connsiteY64" fmla="*/ 3732633 h 3811169"/>
              <a:gd name="connsiteX65" fmla="*/ 2266600 w 2772385"/>
              <a:gd name="connsiteY65" fmla="*/ 3637266 h 3811169"/>
              <a:gd name="connsiteX66" fmla="*/ 2446114 w 2772385"/>
              <a:gd name="connsiteY66" fmla="*/ 3558728 h 3811169"/>
              <a:gd name="connsiteX67" fmla="*/ 2429284 w 2772385"/>
              <a:gd name="connsiteY67" fmla="*/ 3384824 h 3811169"/>
              <a:gd name="connsiteX68" fmla="*/ 1924401 w 2772385"/>
              <a:gd name="connsiteY68" fmla="*/ 3356775 h 3811169"/>
              <a:gd name="connsiteX69" fmla="*/ 1913181 w 2772385"/>
              <a:gd name="connsiteY69" fmla="*/ 3031406 h 3811169"/>
              <a:gd name="connsiteX70" fmla="*/ 1879522 w 2772385"/>
              <a:gd name="connsiteY70" fmla="*/ 3014576 h 3811169"/>
              <a:gd name="connsiteX71" fmla="*/ 1901962 w 2772385"/>
              <a:gd name="connsiteY71" fmla="*/ 2835062 h 3811169"/>
              <a:gd name="connsiteX72" fmla="*/ 1857083 w 2772385"/>
              <a:gd name="connsiteY72" fmla="*/ 2773354 h 3811169"/>
              <a:gd name="connsiteX73" fmla="*/ 2103915 w 2772385"/>
              <a:gd name="connsiteY73" fmla="*/ 2717256 h 3811169"/>
              <a:gd name="connsiteX74" fmla="*/ 2126354 w 2772385"/>
              <a:gd name="connsiteY74" fmla="*/ 2588230 h 3811169"/>
              <a:gd name="connsiteX75" fmla="*/ 2367576 w 2772385"/>
              <a:gd name="connsiteY75" fmla="*/ 2621889 h 3811169"/>
              <a:gd name="connsiteX76" fmla="*/ 2591969 w 2772385"/>
              <a:gd name="connsiteY76" fmla="*/ 2032858 h 3811169"/>
              <a:gd name="connsiteX77" fmla="*/ 2547090 w 2772385"/>
              <a:gd name="connsiteY77" fmla="*/ 1948711 h 3811169"/>
              <a:gd name="connsiteX78" fmla="*/ 2692946 w 2772385"/>
              <a:gd name="connsiteY78" fmla="*/ 1460657 h 3811169"/>
              <a:gd name="connsiteX79" fmla="*/ 2636848 w 2772385"/>
              <a:gd name="connsiteY79" fmla="*/ 1354071 h 3811169"/>
              <a:gd name="connsiteX80" fmla="*/ 2479772 w 2772385"/>
              <a:gd name="connsiteY80" fmla="*/ 798699 h 3811169"/>
              <a:gd name="connsiteX81" fmla="*/ 2737825 w 2772385"/>
              <a:gd name="connsiteY81" fmla="*/ 675283 h 3811169"/>
              <a:gd name="connsiteX82" fmla="*/ 2709775 w 2772385"/>
              <a:gd name="connsiteY82" fmla="*/ 434061 h 3811169"/>
              <a:gd name="connsiteX83" fmla="*/ 2625628 w 2772385"/>
              <a:gd name="connsiteY83" fmla="*/ 86253 h 3811169"/>
              <a:gd name="connsiteX0" fmla="*/ 2625628 w 2772385"/>
              <a:gd name="connsiteY0" fmla="*/ 86253 h 3811169"/>
              <a:gd name="connsiteX1" fmla="*/ 2429284 w 2772385"/>
              <a:gd name="connsiteY1" fmla="*/ 2105 h 3811169"/>
              <a:gd name="connsiteX2" fmla="*/ 2188062 w 2772385"/>
              <a:gd name="connsiteY2" fmla="*/ 159180 h 3811169"/>
              <a:gd name="connsiteX3" fmla="*/ 2087086 w 2772385"/>
              <a:gd name="connsiteY3" fmla="*/ 198449 h 3811169"/>
              <a:gd name="connsiteX4" fmla="*/ 2137574 w 2772385"/>
              <a:gd name="connsiteY4" fmla="*/ 288206 h 3811169"/>
              <a:gd name="connsiteX5" fmla="*/ 2025378 w 2772385"/>
              <a:gd name="connsiteY5" fmla="*/ 450890 h 3811169"/>
              <a:gd name="connsiteX6" fmla="*/ 2131966 w 2772385"/>
              <a:gd name="connsiteY6" fmla="*/ 585526 h 3811169"/>
              <a:gd name="connsiteX7" fmla="*/ 2154403 w 2772385"/>
              <a:gd name="connsiteY7" fmla="*/ 708942 h 3811169"/>
              <a:gd name="connsiteX8" fmla="*/ 2025378 w 2772385"/>
              <a:gd name="connsiteY8" fmla="*/ 753820 h 3811169"/>
              <a:gd name="connsiteX9" fmla="*/ 1991719 w 2772385"/>
              <a:gd name="connsiteY9" fmla="*/ 821138 h 3811169"/>
              <a:gd name="connsiteX10" fmla="*/ 1991719 w 2772385"/>
              <a:gd name="connsiteY10" fmla="*/ 708942 h 3811169"/>
              <a:gd name="connsiteX11" fmla="*/ 1941230 w 2772385"/>
              <a:gd name="connsiteY11" fmla="*/ 669673 h 3811169"/>
              <a:gd name="connsiteX12" fmla="*/ 1778546 w 2772385"/>
              <a:gd name="connsiteY12" fmla="*/ 770649 h 3811169"/>
              <a:gd name="connsiteX13" fmla="*/ 1397078 w 2772385"/>
              <a:gd name="connsiteY13" fmla="*/ 579916 h 3811169"/>
              <a:gd name="connsiteX14" fmla="*/ 1660739 w 2772385"/>
              <a:gd name="connsiteY14" fmla="*/ 1129678 h 3811169"/>
              <a:gd name="connsiteX15" fmla="*/ 1795375 w 2772385"/>
              <a:gd name="connsiteY15" fmla="*/ 1225045 h 3811169"/>
              <a:gd name="connsiteX16" fmla="*/ 1643910 w 2772385"/>
              <a:gd name="connsiteY16" fmla="*/ 1449437 h 3811169"/>
              <a:gd name="connsiteX17" fmla="*/ 1722448 w 2772385"/>
              <a:gd name="connsiteY17" fmla="*/ 1668220 h 3811169"/>
              <a:gd name="connsiteX18" fmla="*/ 1812205 w 2772385"/>
              <a:gd name="connsiteY18" fmla="*/ 1662611 h 3811169"/>
              <a:gd name="connsiteX19" fmla="*/ 1621470 w 2772385"/>
              <a:gd name="connsiteY19" fmla="*/ 1858954 h 3811169"/>
              <a:gd name="connsiteX20" fmla="*/ 909024 w 2772385"/>
              <a:gd name="connsiteY20" fmla="*/ 1578463 h 3811169"/>
              <a:gd name="connsiteX21" fmla="*/ 454629 w 2772385"/>
              <a:gd name="connsiteY21" fmla="*/ 2605060 h 3811169"/>
              <a:gd name="connsiteX22" fmla="*/ 258286 w 2772385"/>
              <a:gd name="connsiteY22" fmla="*/ 2812623 h 3811169"/>
              <a:gd name="connsiteX23" fmla="*/ 39503 w 2772385"/>
              <a:gd name="connsiteY23" fmla="*/ 2857501 h 3811169"/>
              <a:gd name="connsiteX24" fmla="*/ 28282 w 2772385"/>
              <a:gd name="connsiteY24" fmla="*/ 2975307 h 3811169"/>
              <a:gd name="connsiteX25" fmla="*/ 258285 w 2772385"/>
              <a:gd name="connsiteY25" fmla="*/ 3087504 h 3811169"/>
              <a:gd name="connsiteX26" fmla="*/ 527559 w 2772385"/>
              <a:gd name="connsiteY26" fmla="*/ 2986527 h 3811169"/>
              <a:gd name="connsiteX27" fmla="*/ 488288 w 2772385"/>
              <a:gd name="connsiteY27" fmla="*/ 3154821 h 3811169"/>
              <a:gd name="connsiteX28" fmla="*/ 561215 w 2772385"/>
              <a:gd name="connsiteY28" fmla="*/ 3194090 h 3811169"/>
              <a:gd name="connsiteX29" fmla="*/ 381702 w 2772385"/>
              <a:gd name="connsiteY29" fmla="*/ 3592387 h 3811169"/>
              <a:gd name="connsiteX30" fmla="*/ 213408 w 2772385"/>
              <a:gd name="connsiteY30" fmla="*/ 3698973 h 3811169"/>
              <a:gd name="connsiteX31" fmla="*/ 280726 w 2772385"/>
              <a:gd name="connsiteY31" fmla="*/ 3811169 h 3811169"/>
              <a:gd name="connsiteX32" fmla="*/ 477068 w 2772385"/>
              <a:gd name="connsiteY32" fmla="*/ 3771902 h 3811169"/>
              <a:gd name="connsiteX33" fmla="*/ 622923 w 2772385"/>
              <a:gd name="connsiteY33" fmla="*/ 3547509 h 3811169"/>
              <a:gd name="connsiteX34" fmla="*/ 662193 w 2772385"/>
              <a:gd name="connsiteY34" fmla="*/ 3743852 h 3811169"/>
              <a:gd name="connsiteX35" fmla="*/ 735121 w 2772385"/>
              <a:gd name="connsiteY35" fmla="*/ 3732634 h 3811169"/>
              <a:gd name="connsiteX36" fmla="*/ 774389 w 2772385"/>
              <a:gd name="connsiteY36" fmla="*/ 3474581 h 3811169"/>
              <a:gd name="connsiteX37" fmla="*/ 695851 w 2772385"/>
              <a:gd name="connsiteY37" fmla="*/ 3238969 h 3811169"/>
              <a:gd name="connsiteX38" fmla="*/ 897805 w 2772385"/>
              <a:gd name="connsiteY38" fmla="*/ 2627499 h 3811169"/>
              <a:gd name="connsiteX39" fmla="*/ 1161466 w 2772385"/>
              <a:gd name="connsiteY39" fmla="*/ 2520912 h 3811169"/>
              <a:gd name="connsiteX40" fmla="*/ 1526104 w 2772385"/>
              <a:gd name="connsiteY40" fmla="*/ 2627499 h 3811169"/>
              <a:gd name="connsiteX41" fmla="*/ 1587812 w 2772385"/>
              <a:gd name="connsiteY41" fmla="*/ 2627499 h 3811169"/>
              <a:gd name="connsiteX42" fmla="*/ 1643910 w 2772385"/>
              <a:gd name="connsiteY42" fmla="*/ 2728476 h 3811169"/>
              <a:gd name="connsiteX43" fmla="*/ 1795375 w 2772385"/>
              <a:gd name="connsiteY43" fmla="*/ 2762134 h 3811169"/>
              <a:gd name="connsiteX44" fmla="*/ 1806595 w 2772385"/>
              <a:gd name="connsiteY44" fmla="*/ 2795793 h 3811169"/>
              <a:gd name="connsiteX45" fmla="*/ 1767326 w 2772385"/>
              <a:gd name="connsiteY45" fmla="*/ 2997747 h 3811169"/>
              <a:gd name="connsiteX46" fmla="*/ 1744887 w 2772385"/>
              <a:gd name="connsiteY46" fmla="*/ 3323116 h 3811169"/>
              <a:gd name="connsiteX47" fmla="*/ 1537324 w 2772385"/>
              <a:gd name="connsiteY47" fmla="*/ 3345555 h 3811169"/>
              <a:gd name="connsiteX48" fmla="*/ 1200735 w 2772385"/>
              <a:gd name="connsiteY48" fmla="*/ 3396044 h 3811169"/>
              <a:gd name="connsiteX49" fmla="*/ 1172686 w 2772385"/>
              <a:gd name="connsiteY49" fmla="*/ 3468971 h 3811169"/>
              <a:gd name="connsiteX50" fmla="*/ 1110978 w 2772385"/>
              <a:gd name="connsiteY50" fmla="*/ 3497020 h 3811169"/>
              <a:gd name="connsiteX51" fmla="*/ 1139027 w 2772385"/>
              <a:gd name="connsiteY51" fmla="*/ 3631656 h 3811169"/>
              <a:gd name="connsiteX52" fmla="*/ 1279272 w 2772385"/>
              <a:gd name="connsiteY52" fmla="*/ 3637266 h 3811169"/>
              <a:gd name="connsiteX53" fmla="*/ 1273662 w 2772385"/>
              <a:gd name="connsiteY53" fmla="*/ 3485801 h 3811169"/>
              <a:gd name="connsiteX54" fmla="*/ 1453176 w 2772385"/>
              <a:gd name="connsiteY54" fmla="*/ 3497020 h 3811169"/>
              <a:gd name="connsiteX55" fmla="*/ 1425127 w 2772385"/>
              <a:gd name="connsiteY55" fmla="*/ 3575558 h 3811169"/>
              <a:gd name="connsiteX56" fmla="*/ 1397078 w 2772385"/>
              <a:gd name="connsiteY56" fmla="*/ 3637266 h 3811169"/>
              <a:gd name="connsiteX57" fmla="*/ 1312931 w 2772385"/>
              <a:gd name="connsiteY57" fmla="*/ 3654095 h 3811169"/>
              <a:gd name="connsiteX58" fmla="*/ 1447567 w 2772385"/>
              <a:gd name="connsiteY58" fmla="*/ 3777511 h 3811169"/>
              <a:gd name="connsiteX59" fmla="*/ 1514884 w 2772385"/>
              <a:gd name="connsiteY59" fmla="*/ 3642876 h 3811169"/>
              <a:gd name="connsiteX60" fmla="*/ 1817814 w 2772385"/>
              <a:gd name="connsiteY60" fmla="*/ 3541899 h 3811169"/>
              <a:gd name="connsiteX61" fmla="*/ 2154403 w 2772385"/>
              <a:gd name="connsiteY61" fmla="*/ 3614826 h 3811169"/>
              <a:gd name="connsiteX62" fmla="*/ 2109525 w 2772385"/>
              <a:gd name="connsiteY62" fmla="*/ 3715803 h 3811169"/>
              <a:gd name="connsiteX63" fmla="*/ 2204892 w 2772385"/>
              <a:gd name="connsiteY63" fmla="*/ 3783121 h 3811169"/>
              <a:gd name="connsiteX64" fmla="*/ 2277819 w 2772385"/>
              <a:gd name="connsiteY64" fmla="*/ 3732633 h 3811169"/>
              <a:gd name="connsiteX65" fmla="*/ 2266600 w 2772385"/>
              <a:gd name="connsiteY65" fmla="*/ 3637266 h 3811169"/>
              <a:gd name="connsiteX66" fmla="*/ 2446114 w 2772385"/>
              <a:gd name="connsiteY66" fmla="*/ 3558728 h 3811169"/>
              <a:gd name="connsiteX67" fmla="*/ 2429284 w 2772385"/>
              <a:gd name="connsiteY67" fmla="*/ 3384824 h 3811169"/>
              <a:gd name="connsiteX68" fmla="*/ 1924401 w 2772385"/>
              <a:gd name="connsiteY68" fmla="*/ 3356775 h 3811169"/>
              <a:gd name="connsiteX69" fmla="*/ 1913181 w 2772385"/>
              <a:gd name="connsiteY69" fmla="*/ 3031406 h 3811169"/>
              <a:gd name="connsiteX70" fmla="*/ 1879522 w 2772385"/>
              <a:gd name="connsiteY70" fmla="*/ 3014576 h 3811169"/>
              <a:gd name="connsiteX71" fmla="*/ 1901962 w 2772385"/>
              <a:gd name="connsiteY71" fmla="*/ 2835062 h 3811169"/>
              <a:gd name="connsiteX72" fmla="*/ 1857083 w 2772385"/>
              <a:gd name="connsiteY72" fmla="*/ 2773354 h 3811169"/>
              <a:gd name="connsiteX73" fmla="*/ 2103915 w 2772385"/>
              <a:gd name="connsiteY73" fmla="*/ 2717256 h 3811169"/>
              <a:gd name="connsiteX74" fmla="*/ 2126354 w 2772385"/>
              <a:gd name="connsiteY74" fmla="*/ 2588230 h 3811169"/>
              <a:gd name="connsiteX75" fmla="*/ 2367576 w 2772385"/>
              <a:gd name="connsiteY75" fmla="*/ 2621889 h 3811169"/>
              <a:gd name="connsiteX76" fmla="*/ 2591969 w 2772385"/>
              <a:gd name="connsiteY76" fmla="*/ 2032858 h 3811169"/>
              <a:gd name="connsiteX77" fmla="*/ 2547090 w 2772385"/>
              <a:gd name="connsiteY77" fmla="*/ 1948711 h 3811169"/>
              <a:gd name="connsiteX78" fmla="*/ 2692946 w 2772385"/>
              <a:gd name="connsiteY78" fmla="*/ 1460657 h 3811169"/>
              <a:gd name="connsiteX79" fmla="*/ 2636848 w 2772385"/>
              <a:gd name="connsiteY79" fmla="*/ 1354071 h 3811169"/>
              <a:gd name="connsiteX80" fmla="*/ 2479772 w 2772385"/>
              <a:gd name="connsiteY80" fmla="*/ 798699 h 3811169"/>
              <a:gd name="connsiteX81" fmla="*/ 2737825 w 2772385"/>
              <a:gd name="connsiteY81" fmla="*/ 675283 h 3811169"/>
              <a:gd name="connsiteX82" fmla="*/ 2709775 w 2772385"/>
              <a:gd name="connsiteY82" fmla="*/ 434061 h 3811169"/>
              <a:gd name="connsiteX83" fmla="*/ 2625628 w 2772385"/>
              <a:gd name="connsiteY83" fmla="*/ 86253 h 3811169"/>
              <a:gd name="connsiteX0" fmla="*/ 2625628 w 2772385"/>
              <a:gd name="connsiteY0" fmla="*/ 86253 h 3811169"/>
              <a:gd name="connsiteX1" fmla="*/ 2429284 w 2772385"/>
              <a:gd name="connsiteY1" fmla="*/ 2105 h 3811169"/>
              <a:gd name="connsiteX2" fmla="*/ 2188062 w 2772385"/>
              <a:gd name="connsiteY2" fmla="*/ 159180 h 3811169"/>
              <a:gd name="connsiteX3" fmla="*/ 2087086 w 2772385"/>
              <a:gd name="connsiteY3" fmla="*/ 198449 h 3811169"/>
              <a:gd name="connsiteX4" fmla="*/ 2137574 w 2772385"/>
              <a:gd name="connsiteY4" fmla="*/ 288206 h 3811169"/>
              <a:gd name="connsiteX5" fmla="*/ 2025378 w 2772385"/>
              <a:gd name="connsiteY5" fmla="*/ 450890 h 3811169"/>
              <a:gd name="connsiteX6" fmla="*/ 2131966 w 2772385"/>
              <a:gd name="connsiteY6" fmla="*/ 585526 h 3811169"/>
              <a:gd name="connsiteX7" fmla="*/ 2154403 w 2772385"/>
              <a:gd name="connsiteY7" fmla="*/ 708942 h 3811169"/>
              <a:gd name="connsiteX8" fmla="*/ 2025378 w 2772385"/>
              <a:gd name="connsiteY8" fmla="*/ 753820 h 3811169"/>
              <a:gd name="connsiteX9" fmla="*/ 1991719 w 2772385"/>
              <a:gd name="connsiteY9" fmla="*/ 821138 h 3811169"/>
              <a:gd name="connsiteX10" fmla="*/ 1991719 w 2772385"/>
              <a:gd name="connsiteY10" fmla="*/ 708942 h 3811169"/>
              <a:gd name="connsiteX11" fmla="*/ 1941230 w 2772385"/>
              <a:gd name="connsiteY11" fmla="*/ 669673 h 3811169"/>
              <a:gd name="connsiteX12" fmla="*/ 1778546 w 2772385"/>
              <a:gd name="connsiteY12" fmla="*/ 770649 h 3811169"/>
              <a:gd name="connsiteX13" fmla="*/ 1397078 w 2772385"/>
              <a:gd name="connsiteY13" fmla="*/ 579916 h 3811169"/>
              <a:gd name="connsiteX14" fmla="*/ 1660739 w 2772385"/>
              <a:gd name="connsiteY14" fmla="*/ 1129678 h 3811169"/>
              <a:gd name="connsiteX15" fmla="*/ 1795375 w 2772385"/>
              <a:gd name="connsiteY15" fmla="*/ 1225045 h 3811169"/>
              <a:gd name="connsiteX16" fmla="*/ 1643910 w 2772385"/>
              <a:gd name="connsiteY16" fmla="*/ 1449437 h 3811169"/>
              <a:gd name="connsiteX17" fmla="*/ 1722448 w 2772385"/>
              <a:gd name="connsiteY17" fmla="*/ 1668220 h 3811169"/>
              <a:gd name="connsiteX18" fmla="*/ 1812205 w 2772385"/>
              <a:gd name="connsiteY18" fmla="*/ 1662611 h 3811169"/>
              <a:gd name="connsiteX19" fmla="*/ 1621470 w 2772385"/>
              <a:gd name="connsiteY19" fmla="*/ 1858954 h 3811169"/>
              <a:gd name="connsiteX20" fmla="*/ 909024 w 2772385"/>
              <a:gd name="connsiteY20" fmla="*/ 1578463 h 3811169"/>
              <a:gd name="connsiteX21" fmla="*/ 454629 w 2772385"/>
              <a:gd name="connsiteY21" fmla="*/ 2605060 h 3811169"/>
              <a:gd name="connsiteX22" fmla="*/ 258286 w 2772385"/>
              <a:gd name="connsiteY22" fmla="*/ 2812623 h 3811169"/>
              <a:gd name="connsiteX23" fmla="*/ 39503 w 2772385"/>
              <a:gd name="connsiteY23" fmla="*/ 2857501 h 3811169"/>
              <a:gd name="connsiteX24" fmla="*/ 28282 w 2772385"/>
              <a:gd name="connsiteY24" fmla="*/ 2975307 h 3811169"/>
              <a:gd name="connsiteX25" fmla="*/ 258285 w 2772385"/>
              <a:gd name="connsiteY25" fmla="*/ 3087504 h 3811169"/>
              <a:gd name="connsiteX26" fmla="*/ 527559 w 2772385"/>
              <a:gd name="connsiteY26" fmla="*/ 2986527 h 3811169"/>
              <a:gd name="connsiteX27" fmla="*/ 488288 w 2772385"/>
              <a:gd name="connsiteY27" fmla="*/ 3154821 h 3811169"/>
              <a:gd name="connsiteX28" fmla="*/ 561215 w 2772385"/>
              <a:gd name="connsiteY28" fmla="*/ 3194090 h 3811169"/>
              <a:gd name="connsiteX29" fmla="*/ 381702 w 2772385"/>
              <a:gd name="connsiteY29" fmla="*/ 3592387 h 3811169"/>
              <a:gd name="connsiteX30" fmla="*/ 213408 w 2772385"/>
              <a:gd name="connsiteY30" fmla="*/ 3698973 h 3811169"/>
              <a:gd name="connsiteX31" fmla="*/ 280726 w 2772385"/>
              <a:gd name="connsiteY31" fmla="*/ 3811169 h 3811169"/>
              <a:gd name="connsiteX32" fmla="*/ 477068 w 2772385"/>
              <a:gd name="connsiteY32" fmla="*/ 3771902 h 3811169"/>
              <a:gd name="connsiteX33" fmla="*/ 622923 w 2772385"/>
              <a:gd name="connsiteY33" fmla="*/ 3547509 h 3811169"/>
              <a:gd name="connsiteX34" fmla="*/ 662193 w 2772385"/>
              <a:gd name="connsiteY34" fmla="*/ 3743852 h 3811169"/>
              <a:gd name="connsiteX35" fmla="*/ 735121 w 2772385"/>
              <a:gd name="connsiteY35" fmla="*/ 3732634 h 3811169"/>
              <a:gd name="connsiteX36" fmla="*/ 774389 w 2772385"/>
              <a:gd name="connsiteY36" fmla="*/ 3474581 h 3811169"/>
              <a:gd name="connsiteX37" fmla="*/ 695851 w 2772385"/>
              <a:gd name="connsiteY37" fmla="*/ 3238969 h 3811169"/>
              <a:gd name="connsiteX38" fmla="*/ 897805 w 2772385"/>
              <a:gd name="connsiteY38" fmla="*/ 2627499 h 3811169"/>
              <a:gd name="connsiteX39" fmla="*/ 1161466 w 2772385"/>
              <a:gd name="connsiteY39" fmla="*/ 2520912 h 3811169"/>
              <a:gd name="connsiteX40" fmla="*/ 1492445 w 2772385"/>
              <a:gd name="connsiteY40" fmla="*/ 2638718 h 3811169"/>
              <a:gd name="connsiteX41" fmla="*/ 1587812 w 2772385"/>
              <a:gd name="connsiteY41" fmla="*/ 2627499 h 3811169"/>
              <a:gd name="connsiteX42" fmla="*/ 1643910 w 2772385"/>
              <a:gd name="connsiteY42" fmla="*/ 2728476 h 3811169"/>
              <a:gd name="connsiteX43" fmla="*/ 1795375 w 2772385"/>
              <a:gd name="connsiteY43" fmla="*/ 2762134 h 3811169"/>
              <a:gd name="connsiteX44" fmla="*/ 1806595 w 2772385"/>
              <a:gd name="connsiteY44" fmla="*/ 2795793 h 3811169"/>
              <a:gd name="connsiteX45" fmla="*/ 1767326 w 2772385"/>
              <a:gd name="connsiteY45" fmla="*/ 2997747 h 3811169"/>
              <a:gd name="connsiteX46" fmla="*/ 1744887 w 2772385"/>
              <a:gd name="connsiteY46" fmla="*/ 3323116 h 3811169"/>
              <a:gd name="connsiteX47" fmla="*/ 1537324 w 2772385"/>
              <a:gd name="connsiteY47" fmla="*/ 3345555 h 3811169"/>
              <a:gd name="connsiteX48" fmla="*/ 1200735 w 2772385"/>
              <a:gd name="connsiteY48" fmla="*/ 3396044 h 3811169"/>
              <a:gd name="connsiteX49" fmla="*/ 1172686 w 2772385"/>
              <a:gd name="connsiteY49" fmla="*/ 3468971 h 3811169"/>
              <a:gd name="connsiteX50" fmla="*/ 1110978 w 2772385"/>
              <a:gd name="connsiteY50" fmla="*/ 3497020 h 3811169"/>
              <a:gd name="connsiteX51" fmla="*/ 1139027 w 2772385"/>
              <a:gd name="connsiteY51" fmla="*/ 3631656 h 3811169"/>
              <a:gd name="connsiteX52" fmla="*/ 1279272 w 2772385"/>
              <a:gd name="connsiteY52" fmla="*/ 3637266 h 3811169"/>
              <a:gd name="connsiteX53" fmla="*/ 1273662 w 2772385"/>
              <a:gd name="connsiteY53" fmla="*/ 3485801 h 3811169"/>
              <a:gd name="connsiteX54" fmla="*/ 1453176 w 2772385"/>
              <a:gd name="connsiteY54" fmla="*/ 3497020 h 3811169"/>
              <a:gd name="connsiteX55" fmla="*/ 1425127 w 2772385"/>
              <a:gd name="connsiteY55" fmla="*/ 3575558 h 3811169"/>
              <a:gd name="connsiteX56" fmla="*/ 1397078 w 2772385"/>
              <a:gd name="connsiteY56" fmla="*/ 3637266 h 3811169"/>
              <a:gd name="connsiteX57" fmla="*/ 1312931 w 2772385"/>
              <a:gd name="connsiteY57" fmla="*/ 3654095 h 3811169"/>
              <a:gd name="connsiteX58" fmla="*/ 1447567 w 2772385"/>
              <a:gd name="connsiteY58" fmla="*/ 3777511 h 3811169"/>
              <a:gd name="connsiteX59" fmla="*/ 1514884 w 2772385"/>
              <a:gd name="connsiteY59" fmla="*/ 3642876 h 3811169"/>
              <a:gd name="connsiteX60" fmla="*/ 1817814 w 2772385"/>
              <a:gd name="connsiteY60" fmla="*/ 3541899 h 3811169"/>
              <a:gd name="connsiteX61" fmla="*/ 2154403 w 2772385"/>
              <a:gd name="connsiteY61" fmla="*/ 3614826 h 3811169"/>
              <a:gd name="connsiteX62" fmla="*/ 2109525 w 2772385"/>
              <a:gd name="connsiteY62" fmla="*/ 3715803 h 3811169"/>
              <a:gd name="connsiteX63" fmla="*/ 2204892 w 2772385"/>
              <a:gd name="connsiteY63" fmla="*/ 3783121 h 3811169"/>
              <a:gd name="connsiteX64" fmla="*/ 2277819 w 2772385"/>
              <a:gd name="connsiteY64" fmla="*/ 3732633 h 3811169"/>
              <a:gd name="connsiteX65" fmla="*/ 2266600 w 2772385"/>
              <a:gd name="connsiteY65" fmla="*/ 3637266 h 3811169"/>
              <a:gd name="connsiteX66" fmla="*/ 2446114 w 2772385"/>
              <a:gd name="connsiteY66" fmla="*/ 3558728 h 3811169"/>
              <a:gd name="connsiteX67" fmla="*/ 2429284 w 2772385"/>
              <a:gd name="connsiteY67" fmla="*/ 3384824 h 3811169"/>
              <a:gd name="connsiteX68" fmla="*/ 1924401 w 2772385"/>
              <a:gd name="connsiteY68" fmla="*/ 3356775 h 3811169"/>
              <a:gd name="connsiteX69" fmla="*/ 1913181 w 2772385"/>
              <a:gd name="connsiteY69" fmla="*/ 3031406 h 3811169"/>
              <a:gd name="connsiteX70" fmla="*/ 1879522 w 2772385"/>
              <a:gd name="connsiteY70" fmla="*/ 3014576 h 3811169"/>
              <a:gd name="connsiteX71" fmla="*/ 1901962 w 2772385"/>
              <a:gd name="connsiteY71" fmla="*/ 2835062 h 3811169"/>
              <a:gd name="connsiteX72" fmla="*/ 1857083 w 2772385"/>
              <a:gd name="connsiteY72" fmla="*/ 2773354 h 3811169"/>
              <a:gd name="connsiteX73" fmla="*/ 2103915 w 2772385"/>
              <a:gd name="connsiteY73" fmla="*/ 2717256 h 3811169"/>
              <a:gd name="connsiteX74" fmla="*/ 2126354 w 2772385"/>
              <a:gd name="connsiteY74" fmla="*/ 2588230 h 3811169"/>
              <a:gd name="connsiteX75" fmla="*/ 2367576 w 2772385"/>
              <a:gd name="connsiteY75" fmla="*/ 2621889 h 3811169"/>
              <a:gd name="connsiteX76" fmla="*/ 2591969 w 2772385"/>
              <a:gd name="connsiteY76" fmla="*/ 2032858 h 3811169"/>
              <a:gd name="connsiteX77" fmla="*/ 2547090 w 2772385"/>
              <a:gd name="connsiteY77" fmla="*/ 1948711 h 3811169"/>
              <a:gd name="connsiteX78" fmla="*/ 2692946 w 2772385"/>
              <a:gd name="connsiteY78" fmla="*/ 1460657 h 3811169"/>
              <a:gd name="connsiteX79" fmla="*/ 2636848 w 2772385"/>
              <a:gd name="connsiteY79" fmla="*/ 1354071 h 3811169"/>
              <a:gd name="connsiteX80" fmla="*/ 2479772 w 2772385"/>
              <a:gd name="connsiteY80" fmla="*/ 798699 h 3811169"/>
              <a:gd name="connsiteX81" fmla="*/ 2737825 w 2772385"/>
              <a:gd name="connsiteY81" fmla="*/ 675283 h 3811169"/>
              <a:gd name="connsiteX82" fmla="*/ 2709775 w 2772385"/>
              <a:gd name="connsiteY82" fmla="*/ 434061 h 3811169"/>
              <a:gd name="connsiteX83" fmla="*/ 2625628 w 2772385"/>
              <a:gd name="connsiteY83" fmla="*/ 86253 h 3811169"/>
              <a:gd name="connsiteX0" fmla="*/ 2625628 w 2772385"/>
              <a:gd name="connsiteY0" fmla="*/ 86253 h 3811169"/>
              <a:gd name="connsiteX1" fmla="*/ 2429284 w 2772385"/>
              <a:gd name="connsiteY1" fmla="*/ 2105 h 3811169"/>
              <a:gd name="connsiteX2" fmla="*/ 2188062 w 2772385"/>
              <a:gd name="connsiteY2" fmla="*/ 159180 h 3811169"/>
              <a:gd name="connsiteX3" fmla="*/ 2087086 w 2772385"/>
              <a:gd name="connsiteY3" fmla="*/ 198449 h 3811169"/>
              <a:gd name="connsiteX4" fmla="*/ 2137574 w 2772385"/>
              <a:gd name="connsiteY4" fmla="*/ 288206 h 3811169"/>
              <a:gd name="connsiteX5" fmla="*/ 2025378 w 2772385"/>
              <a:gd name="connsiteY5" fmla="*/ 450890 h 3811169"/>
              <a:gd name="connsiteX6" fmla="*/ 2131966 w 2772385"/>
              <a:gd name="connsiteY6" fmla="*/ 585526 h 3811169"/>
              <a:gd name="connsiteX7" fmla="*/ 2154403 w 2772385"/>
              <a:gd name="connsiteY7" fmla="*/ 708942 h 3811169"/>
              <a:gd name="connsiteX8" fmla="*/ 2025378 w 2772385"/>
              <a:gd name="connsiteY8" fmla="*/ 753820 h 3811169"/>
              <a:gd name="connsiteX9" fmla="*/ 1991719 w 2772385"/>
              <a:gd name="connsiteY9" fmla="*/ 821138 h 3811169"/>
              <a:gd name="connsiteX10" fmla="*/ 1991719 w 2772385"/>
              <a:gd name="connsiteY10" fmla="*/ 708942 h 3811169"/>
              <a:gd name="connsiteX11" fmla="*/ 1941230 w 2772385"/>
              <a:gd name="connsiteY11" fmla="*/ 669673 h 3811169"/>
              <a:gd name="connsiteX12" fmla="*/ 1778546 w 2772385"/>
              <a:gd name="connsiteY12" fmla="*/ 770649 h 3811169"/>
              <a:gd name="connsiteX13" fmla="*/ 1397078 w 2772385"/>
              <a:gd name="connsiteY13" fmla="*/ 579916 h 3811169"/>
              <a:gd name="connsiteX14" fmla="*/ 1660739 w 2772385"/>
              <a:gd name="connsiteY14" fmla="*/ 1129678 h 3811169"/>
              <a:gd name="connsiteX15" fmla="*/ 1795375 w 2772385"/>
              <a:gd name="connsiteY15" fmla="*/ 1225045 h 3811169"/>
              <a:gd name="connsiteX16" fmla="*/ 1643910 w 2772385"/>
              <a:gd name="connsiteY16" fmla="*/ 1449437 h 3811169"/>
              <a:gd name="connsiteX17" fmla="*/ 1722448 w 2772385"/>
              <a:gd name="connsiteY17" fmla="*/ 1668220 h 3811169"/>
              <a:gd name="connsiteX18" fmla="*/ 1812205 w 2772385"/>
              <a:gd name="connsiteY18" fmla="*/ 1662611 h 3811169"/>
              <a:gd name="connsiteX19" fmla="*/ 1621470 w 2772385"/>
              <a:gd name="connsiteY19" fmla="*/ 1858954 h 3811169"/>
              <a:gd name="connsiteX20" fmla="*/ 909024 w 2772385"/>
              <a:gd name="connsiteY20" fmla="*/ 1578463 h 3811169"/>
              <a:gd name="connsiteX21" fmla="*/ 454629 w 2772385"/>
              <a:gd name="connsiteY21" fmla="*/ 2605060 h 3811169"/>
              <a:gd name="connsiteX22" fmla="*/ 258286 w 2772385"/>
              <a:gd name="connsiteY22" fmla="*/ 2812623 h 3811169"/>
              <a:gd name="connsiteX23" fmla="*/ 39503 w 2772385"/>
              <a:gd name="connsiteY23" fmla="*/ 2857501 h 3811169"/>
              <a:gd name="connsiteX24" fmla="*/ 28282 w 2772385"/>
              <a:gd name="connsiteY24" fmla="*/ 2975307 h 3811169"/>
              <a:gd name="connsiteX25" fmla="*/ 258285 w 2772385"/>
              <a:gd name="connsiteY25" fmla="*/ 3087504 h 3811169"/>
              <a:gd name="connsiteX26" fmla="*/ 527559 w 2772385"/>
              <a:gd name="connsiteY26" fmla="*/ 2986527 h 3811169"/>
              <a:gd name="connsiteX27" fmla="*/ 488288 w 2772385"/>
              <a:gd name="connsiteY27" fmla="*/ 3154821 h 3811169"/>
              <a:gd name="connsiteX28" fmla="*/ 561215 w 2772385"/>
              <a:gd name="connsiteY28" fmla="*/ 3194090 h 3811169"/>
              <a:gd name="connsiteX29" fmla="*/ 381702 w 2772385"/>
              <a:gd name="connsiteY29" fmla="*/ 3592387 h 3811169"/>
              <a:gd name="connsiteX30" fmla="*/ 213408 w 2772385"/>
              <a:gd name="connsiteY30" fmla="*/ 3698973 h 3811169"/>
              <a:gd name="connsiteX31" fmla="*/ 280726 w 2772385"/>
              <a:gd name="connsiteY31" fmla="*/ 3811169 h 3811169"/>
              <a:gd name="connsiteX32" fmla="*/ 477068 w 2772385"/>
              <a:gd name="connsiteY32" fmla="*/ 3771902 h 3811169"/>
              <a:gd name="connsiteX33" fmla="*/ 622923 w 2772385"/>
              <a:gd name="connsiteY33" fmla="*/ 3547509 h 3811169"/>
              <a:gd name="connsiteX34" fmla="*/ 662193 w 2772385"/>
              <a:gd name="connsiteY34" fmla="*/ 3743852 h 3811169"/>
              <a:gd name="connsiteX35" fmla="*/ 735121 w 2772385"/>
              <a:gd name="connsiteY35" fmla="*/ 3732634 h 3811169"/>
              <a:gd name="connsiteX36" fmla="*/ 774389 w 2772385"/>
              <a:gd name="connsiteY36" fmla="*/ 3474581 h 3811169"/>
              <a:gd name="connsiteX37" fmla="*/ 695851 w 2772385"/>
              <a:gd name="connsiteY37" fmla="*/ 3238969 h 3811169"/>
              <a:gd name="connsiteX38" fmla="*/ 897805 w 2772385"/>
              <a:gd name="connsiteY38" fmla="*/ 2627499 h 3811169"/>
              <a:gd name="connsiteX39" fmla="*/ 1161466 w 2772385"/>
              <a:gd name="connsiteY39" fmla="*/ 2520912 h 3811169"/>
              <a:gd name="connsiteX40" fmla="*/ 1492445 w 2772385"/>
              <a:gd name="connsiteY40" fmla="*/ 2638718 h 3811169"/>
              <a:gd name="connsiteX41" fmla="*/ 1587812 w 2772385"/>
              <a:gd name="connsiteY41" fmla="*/ 2627499 h 3811169"/>
              <a:gd name="connsiteX42" fmla="*/ 1643910 w 2772385"/>
              <a:gd name="connsiteY42" fmla="*/ 2728476 h 3811169"/>
              <a:gd name="connsiteX43" fmla="*/ 1795375 w 2772385"/>
              <a:gd name="connsiteY43" fmla="*/ 2762134 h 3811169"/>
              <a:gd name="connsiteX44" fmla="*/ 1806595 w 2772385"/>
              <a:gd name="connsiteY44" fmla="*/ 2795793 h 3811169"/>
              <a:gd name="connsiteX45" fmla="*/ 1767326 w 2772385"/>
              <a:gd name="connsiteY45" fmla="*/ 2997747 h 3811169"/>
              <a:gd name="connsiteX46" fmla="*/ 1744887 w 2772385"/>
              <a:gd name="connsiteY46" fmla="*/ 3323116 h 3811169"/>
              <a:gd name="connsiteX47" fmla="*/ 1537324 w 2772385"/>
              <a:gd name="connsiteY47" fmla="*/ 3345555 h 3811169"/>
              <a:gd name="connsiteX48" fmla="*/ 1200735 w 2772385"/>
              <a:gd name="connsiteY48" fmla="*/ 3396044 h 3811169"/>
              <a:gd name="connsiteX49" fmla="*/ 1172686 w 2772385"/>
              <a:gd name="connsiteY49" fmla="*/ 3468971 h 3811169"/>
              <a:gd name="connsiteX50" fmla="*/ 1110978 w 2772385"/>
              <a:gd name="connsiteY50" fmla="*/ 3497020 h 3811169"/>
              <a:gd name="connsiteX51" fmla="*/ 1139027 w 2772385"/>
              <a:gd name="connsiteY51" fmla="*/ 3631656 h 3811169"/>
              <a:gd name="connsiteX52" fmla="*/ 1279272 w 2772385"/>
              <a:gd name="connsiteY52" fmla="*/ 3637266 h 3811169"/>
              <a:gd name="connsiteX53" fmla="*/ 1273662 w 2772385"/>
              <a:gd name="connsiteY53" fmla="*/ 3485801 h 3811169"/>
              <a:gd name="connsiteX54" fmla="*/ 1453176 w 2772385"/>
              <a:gd name="connsiteY54" fmla="*/ 3497020 h 3811169"/>
              <a:gd name="connsiteX55" fmla="*/ 1425127 w 2772385"/>
              <a:gd name="connsiteY55" fmla="*/ 3575558 h 3811169"/>
              <a:gd name="connsiteX56" fmla="*/ 1397078 w 2772385"/>
              <a:gd name="connsiteY56" fmla="*/ 3637266 h 3811169"/>
              <a:gd name="connsiteX57" fmla="*/ 1312931 w 2772385"/>
              <a:gd name="connsiteY57" fmla="*/ 3654095 h 3811169"/>
              <a:gd name="connsiteX58" fmla="*/ 1447567 w 2772385"/>
              <a:gd name="connsiteY58" fmla="*/ 3777511 h 3811169"/>
              <a:gd name="connsiteX59" fmla="*/ 1514884 w 2772385"/>
              <a:gd name="connsiteY59" fmla="*/ 3642876 h 3811169"/>
              <a:gd name="connsiteX60" fmla="*/ 1817814 w 2772385"/>
              <a:gd name="connsiteY60" fmla="*/ 3541899 h 3811169"/>
              <a:gd name="connsiteX61" fmla="*/ 2154403 w 2772385"/>
              <a:gd name="connsiteY61" fmla="*/ 3614826 h 3811169"/>
              <a:gd name="connsiteX62" fmla="*/ 2109525 w 2772385"/>
              <a:gd name="connsiteY62" fmla="*/ 3715803 h 3811169"/>
              <a:gd name="connsiteX63" fmla="*/ 2204892 w 2772385"/>
              <a:gd name="connsiteY63" fmla="*/ 3783121 h 3811169"/>
              <a:gd name="connsiteX64" fmla="*/ 2277819 w 2772385"/>
              <a:gd name="connsiteY64" fmla="*/ 3732633 h 3811169"/>
              <a:gd name="connsiteX65" fmla="*/ 2266600 w 2772385"/>
              <a:gd name="connsiteY65" fmla="*/ 3637266 h 3811169"/>
              <a:gd name="connsiteX66" fmla="*/ 2446114 w 2772385"/>
              <a:gd name="connsiteY66" fmla="*/ 3558728 h 3811169"/>
              <a:gd name="connsiteX67" fmla="*/ 2429284 w 2772385"/>
              <a:gd name="connsiteY67" fmla="*/ 3384824 h 3811169"/>
              <a:gd name="connsiteX68" fmla="*/ 1924401 w 2772385"/>
              <a:gd name="connsiteY68" fmla="*/ 3356775 h 3811169"/>
              <a:gd name="connsiteX69" fmla="*/ 1913181 w 2772385"/>
              <a:gd name="connsiteY69" fmla="*/ 3031406 h 3811169"/>
              <a:gd name="connsiteX70" fmla="*/ 1879522 w 2772385"/>
              <a:gd name="connsiteY70" fmla="*/ 3014576 h 3811169"/>
              <a:gd name="connsiteX71" fmla="*/ 1901962 w 2772385"/>
              <a:gd name="connsiteY71" fmla="*/ 2835062 h 3811169"/>
              <a:gd name="connsiteX72" fmla="*/ 1857083 w 2772385"/>
              <a:gd name="connsiteY72" fmla="*/ 2773354 h 3811169"/>
              <a:gd name="connsiteX73" fmla="*/ 2103915 w 2772385"/>
              <a:gd name="connsiteY73" fmla="*/ 2717256 h 3811169"/>
              <a:gd name="connsiteX74" fmla="*/ 2126354 w 2772385"/>
              <a:gd name="connsiteY74" fmla="*/ 2588230 h 3811169"/>
              <a:gd name="connsiteX75" fmla="*/ 2367576 w 2772385"/>
              <a:gd name="connsiteY75" fmla="*/ 2621889 h 3811169"/>
              <a:gd name="connsiteX76" fmla="*/ 2591969 w 2772385"/>
              <a:gd name="connsiteY76" fmla="*/ 2032858 h 3811169"/>
              <a:gd name="connsiteX77" fmla="*/ 2547090 w 2772385"/>
              <a:gd name="connsiteY77" fmla="*/ 1948711 h 3811169"/>
              <a:gd name="connsiteX78" fmla="*/ 2692946 w 2772385"/>
              <a:gd name="connsiteY78" fmla="*/ 1460657 h 3811169"/>
              <a:gd name="connsiteX79" fmla="*/ 2636848 w 2772385"/>
              <a:gd name="connsiteY79" fmla="*/ 1354071 h 3811169"/>
              <a:gd name="connsiteX80" fmla="*/ 2479772 w 2772385"/>
              <a:gd name="connsiteY80" fmla="*/ 798699 h 3811169"/>
              <a:gd name="connsiteX81" fmla="*/ 2737825 w 2772385"/>
              <a:gd name="connsiteY81" fmla="*/ 675283 h 3811169"/>
              <a:gd name="connsiteX82" fmla="*/ 2709775 w 2772385"/>
              <a:gd name="connsiteY82" fmla="*/ 434061 h 3811169"/>
              <a:gd name="connsiteX83" fmla="*/ 2625628 w 2772385"/>
              <a:gd name="connsiteY83" fmla="*/ 86253 h 3811169"/>
              <a:gd name="connsiteX0" fmla="*/ 2625628 w 2772385"/>
              <a:gd name="connsiteY0" fmla="*/ 86253 h 3811169"/>
              <a:gd name="connsiteX1" fmla="*/ 2429284 w 2772385"/>
              <a:gd name="connsiteY1" fmla="*/ 2105 h 3811169"/>
              <a:gd name="connsiteX2" fmla="*/ 2188062 w 2772385"/>
              <a:gd name="connsiteY2" fmla="*/ 159180 h 3811169"/>
              <a:gd name="connsiteX3" fmla="*/ 2087086 w 2772385"/>
              <a:gd name="connsiteY3" fmla="*/ 198449 h 3811169"/>
              <a:gd name="connsiteX4" fmla="*/ 2137574 w 2772385"/>
              <a:gd name="connsiteY4" fmla="*/ 288206 h 3811169"/>
              <a:gd name="connsiteX5" fmla="*/ 2025378 w 2772385"/>
              <a:gd name="connsiteY5" fmla="*/ 450890 h 3811169"/>
              <a:gd name="connsiteX6" fmla="*/ 2131966 w 2772385"/>
              <a:gd name="connsiteY6" fmla="*/ 585526 h 3811169"/>
              <a:gd name="connsiteX7" fmla="*/ 2154403 w 2772385"/>
              <a:gd name="connsiteY7" fmla="*/ 708942 h 3811169"/>
              <a:gd name="connsiteX8" fmla="*/ 2025378 w 2772385"/>
              <a:gd name="connsiteY8" fmla="*/ 753820 h 3811169"/>
              <a:gd name="connsiteX9" fmla="*/ 1991719 w 2772385"/>
              <a:gd name="connsiteY9" fmla="*/ 821138 h 3811169"/>
              <a:gd name="connsiteX10" fmla="*/ 1991719 w 2772385"/>
              <a:gd name="connsiteY10" fmla="*/ 708942 h 3811169"/>
              <a:gd name="connsiteX11" fmla="*/ 1941230 w 2772385"/>
              <a:gd name="connsiteY11" fmla="*/ 669673 h 3811169"/>
              <a:gd name="connsiteX12" fmla="*/ 1778546 w 2772385"/>
              <a:gd name="connsiteY12" fmla="*/ 770649 h 3811169"/>
              <a:gd name="connsiteX13" fmla="*/ 1397078 w 2772385"/>
              <a:gd name="connsiteY13" fmla="*/ 579916 h 3811169"/>
              <a:gd name="connsiteX14" fmla="*/ 1660739 w 2772385"/>
              <a:gd name="connsiteY14" fmla="*/ 1129678 h 3811169"/>
              <a:gd name="connsiteX15" fmla="*/ 1795375 w 2772385"/>
              <a:gd name="connsiteY15" fmla="*/ 1225045 h 3811169"/>
              <a:gd name="connsiteX16" fmla="*/ 1643910 w 2772385"/>
              <a:gd name="connsiteY16" fmla="*/ 1449437 h 3811169"/>
              <a:gd name="connsiteX17" fmla="*/ 1722448 w 2772385"/>
              <a:gd name="connsiteY17" fmla="*/ 1668220 h 3811169"/>
              <a:gd name="connsiteX18" fmla="*/ 1812205 w 2772385"/>
              <a:gd name="connsiteY18" fmla="*/ 1662611 h 3811169"/>
              <a:gd name="connsiteX19" fmla="*/ 1621470 w 2772385"/>
              <a:gd name="connsiteY19" fmla="*/ 1858954 h 3811169"/>
              <a:gd name="connsiteX20" fmla="*/ 909024 w 2772385"/>
              <a:gd name="connsiteY20" fmla="*/ 1578463 h 3811169"/>
              <a:gd name="connsiteX21" fmla="*/ 454629 w 2772385"/>
              <a:gd name="connsiteY21" fmla="*/ 2605060 h 3811169"/>
              <a:gd name="connsiteX22" fmla="*/ 258286 w 2772385"/>
              <a:gd name="connsiteY22" fmla="*/ 2812623 h 3811169"/>
              <a:gd name="connsiteX23" fmla="*/ 39503 w 2772385"/>
              <a:gd name="connsiteY23" fmla="*/ 2857501 h 3811169"/>
              <a:gd name="connsiteX24" fmla="*/ 28282 w 2772385"/>
              <a:gd name="connsiteY24" fmla="*/ 2975307 h 3811169"/>
              <a:gd name="connsiteX25" fmla="*/ 258285 w 2772385"/>
              <a:gd name="connsiteY25" fmla="*/ 3087504 h 3811169"/>
              <a:gd name="connsiteX26" fmla="*/ 527559 w 2772385"/>
              <a:gd name="connsiteY26" fmla="*/ 2986527 h 3811169"/>
              <a:gd name="connsiteX27" fmla="*/ 488288 w 2772385"/>
              <a:gd name="connsiteY27" fmla="*/ 3154821 h 3811169"/>
              <a:gd name="connsiteX28" fmla="*/ 561215 w 2772385"/>
              <a:gd name="connsiteY28" fmla="*/ 3194090 h 3811169"/>
              <a:gd name="connsiteX29" fmla="*/ 381702 w 2772385"/>
              <a:gd name="connsiteY29" fmla="*/ 3592387 h 3811169"/>
              <a:gd name="connsiteX30" fmla="*/ 213408 w 2772385"/>
              <a:gd name="connsiteY30" fmla="*/ 3698973 h 3811169"/>
              <a:gd name="connsiteX31" fmla="*/ 280726 w 2772385"/>
              <a:gd name="connsiteY31" fmla="*/ 3811169 h 3811169"/>
              <a:gd name="connsiteX32" fmla="*/ 477068 w 2772385"/>
              <a:gd name="connsiteY32" fmla="*/ 3771902 h 3811169"/>
              <a:gd name="connsiteX33" fmla="*/ 622923 w 2772385"/>
              <a:gd name="connsiteY33" fmla="*/ 3547509 h 3811169"/>
              <a:gd name="connsiteX34" fmla="*/ 662193 w 2772385"/>
              <a:gd name="connsiteY34" fmla="*/ 3743852 h 3811169"/>
              <a:gd name="connsiteX35" fmla="*/ 735121 w 2772385"/>
              <a:gd name="connsiteY35" fmla="*/ 3732634 h 3811169"/>
              <a:gd name="connsiteX36" fmla="*/ 774389 w 2772385"/>
              <a:gd name="connsiteY36" fmla="*/ 3474581 h 3811169"/>
              <a:gd name="connsiteX37" fmla="*/ 695851 w 2772385"/>
              <a:gd name="connsiteY37" fmla="*/ 3238969 h 3811169"/>
              <a:gd name="connsiteX38" fmla="*/ 897805 w 2772385"/>
              <a:gd name="connsiteY38" fmla="*/ 2627499 h 3811169"/>
              <a:gd name="connsiteX39" fmla="*/ 1161466 w 2772385"/>
              <a:gd name="connsiteY39" fmla="*/ 2520912 h 3811169"/>
              <a:gd name="connsiteX40" fmla="*/ 1492445 w 2772385"/>
              <a:gd name="connsiteY40" fmla="*/ 2638718 h 3811169"/>
              <a:gd name="connsiteX41" fmla="*/ 1587812 w 2772385"/>
              <a:gd name="connsiteY41" fmla="*/ 2627499 h 3811169"/>
              <a:gd name="connsiteX42" fmla="*/ 1643910 w 2772385"/>
              <a:gd name="connsiteY42" fmla="*/ 2728476 h 3811169"/>
              <a:gd name="connsiteX43" fmla="*/ 1795375 w 2772385"/>
              <a:gd name="connsiteY43" fmla="*/ 2762134 h 3811169"/>
              <a:gd name="connsiteX44" fmla="*/ 1806595 w 2772385"/>
              <a:gd name="connsiteY44" fmla="*/ 2795793 h 3811169"/>
              <a:gd name="connsiteX45" fmla="*/ 1767326 w 2772385"/>
              <a:gd name="connsiteY45" fmla="*/ 2997747 h 3811169"/>
              <a:gd name="connsiteX46" fmla="*/ 1744887 w 2772385"/>
              <a:gd name="connsiteY46" fmla="*/ 3323116 h 3811169"/>
              <a:gd name="connsiteX47" fmla="*/ 1537324 w 2772385"/>
              <a:gd name="connsiteY47" fmla="*/ 3345555 h 3811169"/>
              <a:gd name="connsiteX48" fmla="*/ 1200735 w 2772385"/>
              <a:gd name="connsiteY48" fmla="*/ 3396044 h 3811169"/>
              <a:gd name="connsiteX49" fmla="*/ 1172686 w 2772385"/>
              <a:gd name="connsiteY49" fmla="*/ 3468971 h 3811169"/>
              <a:gd name="connsiteX50" fmla="*/ 1110978 w 2772385"/>
              <a:gd name="connsiteY50" fmla="*/ 3497020 h 3811169"/>
              <a:gd name="connsiteX51" fmla="*/ 1139027 w 2772385"/>
              <a:gd name="connsiteY51" fmla="*/ 3631656 h 3811169"/>
              <a:gd name="connsiteX52" fmla="*/ 1279272 w 2772385"/>
              <a:gd name="connsiteY52" fmla="*/ 3637266 h 3811169"/>
              <a:gd name="connsiteX53" fmla="*/ 1273662 w 2772385"/>
              <a:gd name="connsiteY53" fmla="*/ 3485801 h 3811169"/>
              <a:gd name="connsiteX54" fmla="*/ 1453176 w 2772385"/>
              <a:gd name="connsiteY54" fmla="*/ 3497020 h 3811169"/>
              <a:gd name="connsiteX55" fmla="*/ 1425127 w 2772385"/>
              <a:gd name="connsiteY55" fmla="*/ 3575558 h 3811169"/>
              <a:gd name="connsiteX56" fmla="*/ 1397078 w 2772385"/>
              <a:gd name="connsiteY56" fmla="*/ 3637266 h 3811169"/>
              <a:gd name="connsiteX57" fmla="*/ 1312931 w 2772385"/>
              <a:gd name="connsiteY57" fmla="*/ 3654095 h 3811169"/>
              <a:gd name="connsiteX58" fmla="*/ 1447567 w 2772385"/>
              <a:gd name="connsiteY58" fmla="*/ 3777511 h 3811169"/>
              <a:gd name="connsiteX59" fmla="*/ 1514884 w 2772385"/>
              <a:gd name="connsiteY59" fmla="*/ 3642876 h 3811169"/>
              <a:gd name="connsiteX60" fmla="*/ 1817814 w 2772385"/>
              <a:gd name="connsiteY60" fmla="*/ 3541899 h 3811169"/>
              <a:gd name="connsiteX61" fmla="*/ 2154403 w 2772385"/>
              <a:gd name="connsiteY61" fmla="*/ 3614826 h 3811169"/>
              <a:gd name="connsiteX62" fmla="*/ 2109525 w 2772385"/>
              <a:gd name="connsiteY62" fmla="*/ 3715803 h 3811169"/>
              <a:gd name="connsiteX63" fmla="*/ 2204892 w 2772385"/>
              <a:gd name="connsiteY63" fmla="*/ 3783121 h 3811169"/>
              <a:gd name="connsiteX64" fmla="*/ 2277819 w 2772385"/>
              <a:gd name="connsiteY64" fmla="*/ 3732633 h 3811169"/>
              <a:gd name="connsiteX65" fmla="*/ 2266600 w 2772385"/>
              <a:gd name="connsiteY65" fmla="*/ 3637266 h 3811169"/>
              <a:gd name="connsiteX66" fmla="*/ 2446114 w 2772385"/>
              <a:gd name="connsiteY66" fmla="*/ 3558728 h 3811169"/>
              <a:gd name="connsiteX67" fmla="*/ 2429284 w 2772385"/>
              <a:gd name="connsiteY67" fmla="*/ 3384824 h 3811169"/>
              <a:gd name="connsiteX68" fmla="*/ 1924401 w 2772385"/>
              <a:gd name="connsiteY68" fmla="*/ 3356775 h 3811169"/>
              <a:gd name="connsiteX69" fmla="*/ 1913181 w 2772385"/>
              <a:gd name="connsiteY69" fmla="*/ 3031406 h 3811169"/>
              <a:gd name="connsiteX70" fmla="*/ 1879522 w 2772385"/>
              <a:gd name="connsiteY70" fmla="*/ 3014576 h 3811169"/>
              <a:gd name="connsiteX71" fmla="*/ 1901962 w 2772385"/>
              <a:gd name="connsiteY71" fmla="*/ 2835062 h 3811169"/>
              <a:gd name="connsiteX72" fmla="*/ 1857083 w 2772385"/>
              <a:gd name="connsiteY72" fmla="*/ 2773354 h 3811169"/>
              <a:gd name="connsiteX73" fmla="*/ 2047817 w 2772385"/>
              <a:gd name="connsiteY73" fmla="*/ 2717256 h 3811169"/>
              <a:gd name="connsiteX74" fmla="*/ 2126354 w 2772385"/>
              <a:gd name="connsiteY74" fmla="*/ 2588230 h 3811169"/>
              <a:gd name="connsiteX75" fmla="*/ 2367576 w 2772385"/>
              <a:gd name="connsiteY75" fmla="*/ 2621889 h 3811169"/>
              <a:gd name="connsiteX76" fmla="*/ 2591969 w 2772385"/>
              <a:gd name="connsiteY76" fmla="*/ 2032858 h 3811169"/>
              <a:gd name="connsiteX77" fmla="*/ 2547090 w 2772385"/>
              <a:gd name="connsiteY77" fmla="*/ 1948711 h 3811169"/>
              <a:gd name="connsiteX78" fmla="*/ 2692946 w 2772385"/>
              <a:gd name="connsiteY78" fmla="*/ 1460657 h 3811169"/>
              <a:gd name="connsiteX79" fmla="*/ 2636848 w 2772385"/>
              <a:gd name="connsiteY79" fmla="*/ 1354071 h 3811169"/>
              <a:gd name="connsiteX80" fmla="*/ 2479772 w 2772385"/>
              <a:gd name="connsiteY80" fmla="*/ 798699 h 3811169"/>
              <a:gd name="connsiteX81" fmla="*/ 2737825 w 2772385"/>
              <a:gd name="connsiteY81" fmla="*/ 675283 h 3811169"/>
              <a:gd name="connsiteX82" fmla="*/ 2709775 w 2772385"/>
              <a:gd name="connsiteY82" fmla="*/ 434061 h 3811169"/>
              <a:gd name="connsiteX83" fmla="*/ 2625628 w 2772385"/>
              <a:gd name="connsiteY83" fmla="*/ 86253 h 3811169"/>
              <a:gd name="connsiteX0" fmla="*/ 2625628 w 2772385"/>
              <a:gd name="connsiteY0" fmla="*/ 86253 h 3811169"/>
              <a:gd name="connsiteX1" fmla="*/ 2429284 w 2772385"/>
              <a:gd name="connsiteY1" fmla="*/ 2105 h 3811169"/>
              <a:gd name="connsiteX2" fmla="*/ 2188062 w 2772385"/>
              <a:gd name="connsiteY2" fmla="*/ 159180 h 3811169"/>
              <a:gd name="connsiteX3" fmla="*/ 2087086 w 2772385"/>
              <a:gd name="connsiteY3" fmla="*/ 198449 h 3811169"/>
              <a:gd name="connsiteX4" fmla="*/ 2137574 w 2772385"/>
              <a:gd name="connsiteY4" fmla="*/ 288206 h 3811169"/>
              <a:gd name="connsiteX5" fmla="*/ 2025378 w 2772385"/>
              <a:gd name="connsiteY5" fmla="*/ 450890 h 3811169"/>
              <a:gd name="connsiteX6" fmla="*/ 2131966 w 2772385"/>
              <a:gd name="connsiteY6" fmla="*/ 585526 h 3811169"/>
              <a:gd name="connsiteX7" fmla="*/ 2154403 w 2772385"/>
              <a:gd name="connsiteY7" fmla="*/ 708942 h 3811169"/>
              <a:gd name="connsiteX8" fmla="*/ 2025378 w 2772385"/>
              <a:gd name="connsiteY8" fmla="*/ 753820 h 3811169"/>
              <a:gd name="connsiteX9" fmla="*/ 1991719 w 2772385"/>
              <a:gd name="connsiteY9" fmla="*/ 821138 h 3811169"/>
              <a:gd name="connsiteX10" fmla="*/ 1991719 w 2772385"/>
              <a:gd name="connsiteY10" fmla="*/ 708942 h 3811169"/>
              <a:gd name="connsiteX11" fmla="*/ 1941230 w 2772385"/>
              <a:gd name="connsiteY11" fmla="*/ 669673 h 3811169"/>
              <a:gd name="connsiteX12" fmla="*/ 1778546 w 2772385"/>
              <a:gd name="connsiteY12" fmla="*/ 770649 h 3811169"/>
              <a:gd name="connsiteX13" fmla="*/ 1397078 w 2772385"/>
              <a:gd name="connsiteY13" fmla="*/ 579916 h 3811169"/>
              <a:gd name="connsiteX14" fmla="*/ 1660739 w 2772385"/>
              <a:gd name="connsiteY14" fmla="*/ 1129678 h 3811169"/>
              <a:gd name="connsiteX15" fmla="*/ 1795375 w 2772385"/>
              <a:gd name="connsiteY15" fmla="*/ 1225045 h 3811169"/>
              <a:gd name="connsiteX16" fmla="*/ 1643910 w 2772385"/>
              <a:gd name="connsiteY16" fmla="*/ 1449437 h 3811169"/>
              <a:gd name="connsiteX17" fmla="*/ 1722448 w 2772385"/>
              <a:gd name="connsiteY17" fmla="*/ 1668220 h 3811169"/>
              <a:gd name="connsiteX18" fmla="*/ 1812205 w 2772385"/>
              <a:gd name="connsiteY18" fmla="*/ 1662611 h 3811169"/>
              <a:gd name="connsiteX19" fmla="*/ 1621470 w 2772385"/>
              <a:gd name="connsiteY19" fmla="*/ 1858954 h 3811169"/>
              <a:gd name="connsiteX20" fmla="*/ 909024 w 2772385"/>
              <a:gd name="connsiteY20" fmla="*/ 1578463 h 3811169"/>
              <a:gd name="connsiteX21" fmla="*/ 454629 w 2772385"/>
              <a:gd name="connsiteY21" fmla="*/ 2605060 h 3811169"/>
              <a:gd name="connsiteX22" fmla="*/ 258286 w 2772385"/>
              <a:gd name="connsiteY22" fmla="*/ 2812623 h 3811169"/>
              <a:gd name="connsiteX23" fmla="*/ 39503 w 2772385"/>
              <a:gd name="connsiteY23" fmla="*/ 2857501 h 3811169"/>
              <a:gd name="connsiteX24" fmla="*/ 28282 w 2772385"/>
              <a:gd name="connsiteY24" fmla="*/ 2975307 h 3811169"/>
              <a:gd name="connsiteX25" fmla="*/ 258285 w 2772385"/>
              <a:gd name="connsiteY25" fmla="*/ 3087504 h 3811169"/>
              <a:gd name="connsiteX26" fmla="*/ 527559 w 2772385"/>
              <a:gd name="connsiteY26" fmla="*/ 2986527 h 3811169"/>
              <a:gd name="connsiteX27" fmla="*/ 488288 w 2772385"/>
              <a:gd name="connsiteY27" fmla="*/ 3154821 h 3811169"/>
              <a:gd name="connsiteX28" fmla="*/ 561215 w 2772385"/>
              <a:gd name="connsiteY28" fmla="*/ 3194090 h 3811169"/>
              <a:gd name="connsiteX29" fmla="*/ 381702 w 2772385"/>
              <a:gd name="connsiteY29" fmla="*/ 3592387 h 3811169"/>
              <a:gd name="connsiteX30" fmla="*/ 213408 w 2772385"/>
              <a:gd name="connsiteY30" fmla="*/ 3698973 h 3811169"/>
              <a:gd name="connsiteX31" fmla="*/ 280726 w 2772385"/>
              <a:gd name="connsiteY31" fmla="*/ 3811169 h 3811169"/>
              <a:gd name="connsiteX32" fmla="*/ 477068 w 2772385"/>
              <a:gd name="connsiteY32" fmla="*/ 3771902 h 3811169"/>
              <a:gd name="connsiteX33" fmla="*/ 622923 w 2772385"/>
              <a:gd name="connsiteY33" fmla="*/ 3547509 h 3811169"/>
              <a:gd name="connsiteX34" fmla="*/ 662193 w 2772385"/>
              <a:gd name="connsiteY34" fmla="*/ 3743852 h 3811169"/>
              <a:gd name="connsiteX35" fmla="*/ 735121 w 2772385"/>
              <a:gd name="connsiteY35" fmla="*/ 3732634 h 3811169"/>
              <a:gd name="connsiteX36" fmla="*/ 774389 w 2772385"/>
              <a:gd name="connsiteY36" fmla="*/ 3474581 h 3811169"/>
              <a:gd name="connsiteX37" fmla="*/ 695851 w 2772385"/>
              <a:gd name="connsiteY37" fmla="*/ 3238969 h 3811169"/>
              <a:gd name="connsiteX38" fmla="*/ 897805 w 2772385"/>
              <a:gd name="connsiteY38" fmla="*/ 2627499 h 3811169"/>
              <a:gd name="connsiteX39" fmla="*/ 1161466 w 2772385"/>
              <a:gd name="connsiteY39" fmla="*/ 2520912 h 3811169"/>
              <a:gd name="connsiteX40" fmla="*/ 1492445 w 2772385"/>
              <a:gd name="connsiteY40" fmla="*/ 2638718 h 3811169"/>
              <a:gd name="connsiteX41" fmla="*/ 1587812 w 2772385"/>
              <a:gd name="connsiteY41" fmla="*/ 2627499 h 3811169"/>
              <a:gd name="connsiteX42" fmla="*/ 1643910 w 2772385"/>
              <a:gd name="connsiteY42" fmla="*/ 2728476 h 3811169"/>
              <a:gd name="connsiteX43" fmla="*/ 1795375 w 2772385"/>
              <a:gd name="connsiteY43" fmla="*/ 2762134 h 3811169"/>
              <a:gd name="connsiteX44" fmla="*/ 1806595 w 2772385"/>
              <a:gd name="connsiteY44" fmla="*/ 2795793 h 3811169"/>
              <a:gd name="connsiteX45" fmla="*/ 1767326 w 2772385"/>
              <a:gd name="connsiteY45" fmla="*/ 2997747 h 3811169"/>
              <a:gd name="connsiteX46" fmla="*/ 1744887 w 2772385"/>
              <a:gd name="connsiteY46" fmla="*/ 3323116 h 3811169"/>
              <a:gd name="connsiteX47" fmla="*/ 1537324 w 2772385"/>
              <a:gd name="connsiteY47" fmla="*/ 3345555 h 3811169"/>
              <a:gd name="connsiteX48" fmla="*/ 1200735 w 2772385"/>
              <a:gd name="connsiteY48" fmla="*/ 3396044 h 3811169"/>
              <a:gd name="connsiteX49" fmla="*/ 1172686 w 2772385"/>
              <a:gd name="connsiteY49" fmla="*/ 3468971 h 3811169"/>
              <a:gd name="connsiteX50" fmla="*/ 1110978 w 2772385"/>
              <a:gd name="connsiteY50" fmla="*/ 3497020 h 3811169"/>
              <a:gd name="connsiteX51" fmla="*/ 1139027 w 2772385"/>
              <a:gd name="connsiteY51" fmla="*/ 3631656 h 3811169"/>
              <a:gd name="connsiteX52" fmla="*/ 1279272 w 2772385"/>
              <a:gd name="connsiteY52" fmla="*/ 3637266 h 3811169"/>
              <a:gd name="connsiteX53" fmla="*/ 1273662 w 2772385"/>
              <a:gd name="connsiteY53" fmla="*/ 3485801 h 3811169"/>
              <a:gd name="connsiteX54" fmla="*/ 1453176 w 2772385"/>
              <a:gd name="connsiteY54" fmla="*/ 3497020 h 3811169"/>
              <a:gd name="connsiteX55" fmla="*/ 1425127 w 2772385"/>
              <a:gd name="connsiteY55" fmla="*/ 3575558 h 3811169"/>
              <a:gd name="connsiteX56" fmla="*/ 1397078 w 2772385"/>
              <a:gd name="connsiteY56" fmla="*/ 3637266 h 3811169"/>
              <a:gd name="connsiteX57" fmla="*/ 1312931 w 2772385"/>
              <a:gd name="connsiteY57" fmla="*/ 3654095 h 3811169"/>
              <a:gd name="connsiteX58" fmla="*/ 1447567 w 2772385"/>
              <a:gd name="connsiteY58" fmla="*/ 3777511 h 3811169"/>
              <a:gd name="connsiteX59" fmla="*/ 1514884 w 2772385"/>
              <a:gd name="connsiteY59" fmla="*/ 3642876 h 3811169"/>
              <a:gd name="connsiteX60" fmla="*/ 1817814 w 2772385"/>
              <a:gd name="connsiteY60" fmla="*/ 3541899 h 3811169"/>
              <a:gd name="connsiteX61" fmla="*/ 2154403 w 2772385"/>
              <a:gd name="connsiteY61" fmla="*/ 3614826 h 3811169"/>
              <a:gd name="connsiteX62" fmla="*/ 2109525 w 2772385"/>
              <a:gd name="connsiteY62" fmla="*/ 3715803 h 3811169"/>
              <a:gd name="connsiteX63" fmla="*/ 2204892 w 2772385"/>
              <a:gd name="connsiteY63" fmla="*/ 3783121 h 3811169"/>
              <a:gd name="connsiteX64" fmla="*/ 2277819 w 2772385"/>
              <a:gd name="connsiteY64" fmla="*/ 3732633 h 3811169"/>
              <a:gd name="connsiteX65" fmla="*/ 2266600 w 2772385"/>
              <a:gd name="connsiteY65" fmla="*/ 3637266 h 3811169"/>
              <a:gd name="connsiteX66" fmla="*/ 2446114 w 2772385"/>
              <a:gd name="connsiteY66" fmla="*/ 3558728 h 3811169"/>
              <a:gd name="connsiteX67" fmla="*/ 2429284 w 2772385"/>
              <a:gd name="connsiteY67" fmla="*/ 3384824 h 3811169"/>
              <a:gd name="connsiteX68" fmla="*/ 1924401 w 2772385"/>
              <a:gd name="connsiteY68" fmla="*/ 3356775 h 3811169"/>
              <a:gd name="connsiteX69" fmla="*/ 1913181 w 2772385"/>
              <a:gd name="connsiteY69" fmla="*/ 3031406 h 3811169"/>
              <a:gd name="connsiteX70" fmla="*/ 1879522 w 2772385"/>
              <a:gd name="connsiteY70" fmla="*/ 3014576 h 3811169"/>
              <a:gd name="connsiteX71" fmla="*/ 1901962 w 2772385"/>
              <a:gd name="connsiteY71" fmla="*/ 2835062 h 3811169"/>
              <a:gd name="connsiteX72" fmla="*/ 1857083 w 2772385"/>
              <a:gd name="connsiteY72" fmla="*/ 2773354 h 3811169"/>
              <a:gd name="connsiteX73" fmla="*/ 2047817 w 2772385"/>
              <a:gd name="connsiteY73" fmla="*/ 2717256 h 3811169"/>
              <a:gd name="connsiteX74" fmla="*/ 2081476 w 2772385"/>
              <a:gd name="connsiteY74" fmla="*/ 2610669 h 3811169"/>
              <a:gd name="connsiteX75" fmla="*/ 2367576 w 2772385"/>
              <a:gd name="connsiteY75" fmla="*/ 2621889 h 3811169"/>
              <a:gd name="connsiteX76" fmla="*/ 2591969 w 2772385"/>
              <a:gd name="connsiteY76" fmla="*/ 2032858 h 3811169"/>
              <a:gd name="connsiteX77" fmla="*/ 2547090 w 2772385"/>
              <a:gd name="connsiteY77" fmla="*/ 1948711 h 3811169"/>
              <a:gd name="connsiteX78" fmla="*/ 2692946 w 2772385"/>
              <a:gd name="connsiteY78" fmla="*/ 1460657 h 3811169"/>
              <a:gd name="connsiteX79" fmla="*/ 2636848 w 2772385"/>
              <a:gd name="connsiteY79" fmla="*/ 1354071 h 3811169"/>
              <a:gd name="connsiteX80" fmla="*/ 2479772 w 2772385"/>
              <a:gd name="connsiteY80" fmla="*/ 798699 h 3811169"/>
              <a:gd name="connsiteX81" fmla="*/ 2737825 w 2772385"/>
              <a:gd name="connsiteY81" fmla="*/ 675283 h 3811169"/>
              <a:gd name="connsiteX82" fmla="*/ 2709775 w 2772385"/>
              <a:gd name="connsiteY82" fmla="*/ 434061 h 3811169"/>
              <a:gd name="connsiteX83" fmla="*/ 2625628 w 2772385"/>
              <a:gd name="connsiteY83" fmla="*/ 86253 h 3811169"/>
              <a:gd name="connsiteX0" fmla="*/ 2625628 w 2772385"/>
              <a:gd name="connsiteY0" fmla="*/ 86253 h 3811169"/>
              <a:gd name="connsiteX1" fmla="*/ 2429284 w 2772385"/>
              <a:gd name="connsiteY1" fmla="*/ 2105 h 3811169"/>
              <a:gd name="connsiteX2" fmla="*/ 2188062 w 2772385"/>
              <a:gd name="connsiteY2" fmla="*/ 159180 h 3811169"/>
              <a:gd name="connsiteX3" fmla="*/ 2087086 w 2772385"/>
              <a:gd name="connsiteY3" fmla="*/ 198449 h 3811169"/>
              <a:gd name="connsiteX4" fmla="*/ 2137574 w 2772385"/>
              <a:gd name="connsiteY4" fmla="*/ 288206 h 3811169"/>
              <a:gd name="connsiteX5" fmla="*/ 2025378 w 2772385"/>
              <a:gd name="connsiteY5" fmla="*/ 450890 h 3811169"/>
              <a:gd name="connsiteX6" fmla="*/ 2131966 w 2772385"/>
              <a:gd name="connsiteY6" fmla="*/ 585526 h 3811169"/>
              <a:gd name="connsiteX7" fmla="*/ 2154403 w 2772385"/>
              <a:gd name="connsiteY7" fmla="*/ 708942 h 3811169"/>
              <a:gd name="connsiteX8" fmla="*/ 2025378 w 2772385"/>
              <a:gd name="connsiteY8" fmla="*/ 753820 h 3811169"/>
              <a:gd name="connsiteX9" fmla="*/ 1991719 w 2772385"/>
              <a:gd name="connsiteY9" fmla="*/ 821138 h 3811169"/>
              <a:gd name="connsiteX10" fmla="*/ 1991719 w 2772385"/>
              <a:gd name="connsiteY10" fmla="*/ 708942 h 3811169"/>
              <a:gd name="connsiteX11" fmla="*/ 1941230 w 2772385"/>
              <a:gd name="connsiteY11" fmla="*/ 669673 h 3811169"/>
              <a:gd name="connsiteX12" fmla="*/ 1778546 w 2772385"/>
              <a:gd name="connsiteY12" fmla="*/ 770649 h 3811169"/>
              <a:gd name="connsiteX13" fmla="*/ 1397078 w 2772385"/>
              <a:gd name="connsiteY13" fmla="*/ 579916 h 3811169"/>
              <a:gd name="connsiteX14" fmla="*/ 1660739 w 2772385"/>
              <a:gd name="connsiteY14" fmla="*/ 1129678 h 3811169"/>
              <a:gd name="connsiteX15" fmla="*/ 1795375 w 2772385"/>
              <a:gd name="connsiteY15" fmla="*/ 1225045 h 3811169"/>
              <a:gd name="connsiteX16" fmla="*/ 1643910 w 2772385"/>
              <a:gd name="connsiteY16" fmla="*/ 1449437 h 3811169"/>
              <a:gd name="connsiteX17" fmla="*/ 1722448 w 2772385"/>
              <a:gd name="connsiteY17" fmla="*/ 1668220 h 3811169"/>
              <a:gd name="connsiteX18" fmla="*/ 1812205 w 2772385"/>
              <a:gd name="connsiteY18" fmla="*/ 1662611 h 3811169"/>
              <a:gd name="connsiteX19" fmla="*/ 1621470 w 2772385"/>
              <a:gd name="connsiteY19" fmla="*/ 1858954 h 3811169"/>
              <a:gd name="connsiteX20" fmla="*/ 909024 w 2772385"/>
              <a:gd name="connsiteY20" fmla="*/ 1578463 h 3811169"/>
              <a:gd name="connsiteX21" fmla="*/ 454629 w 2772385"/>
              <a:gd name="connsiteY21" fmla="*/ 2605060 h 3811169"/>
              <a:gd name="connsiteX22" fmla="*/ 258286 w 2772385"/>
              <a:gd name="connsiteY22" fmla="*/ 2812623 h 3811169"/>
              <a:gd name="connsiteX23" fmla="*/ 39503 w 2772385"/>
              <a:gd name="connsiteY23" fmla="*/ 2857501 h 3811169"/>
              <a:gd name="connsiteX24" fmla="*/ 28282 w 2772385"/>
              <a:gd name="connsiteY24" fmla="*/ 2975307 h 3811169"/>
              <a:gd name="connsiteX25" fmla="*/ 258285 w 2772385"/>
              <a:gd name="connsiteY25" fmla="*/ 3087504 h 3811169"/>
              <a:gd name="connsiteX26" fmla="*/ 527559 w 2772385"/>
              <a:gd name="connsiteY26" fmla="*/ 2986527 h 3811169"/>
              <a:gd name="connsiteX27" fmla="*/ 488288 w 2772385"/>
              <a:gd name="connsiteY27" fmla="*/ 3154821 h 3811169"/>
              <a:gd name="connsiteX28" fmla="*/ 561215 w 2772385"/>
              <a:gd name="connsiteY28" fmla="*/ 3194090 h 3811169"/>
              <a:gd name="connsiteX29" fmla="*/ 381702 w 2772385"/>
              <a:gd name="connsiteY29" fmla="*/ 3592387 h 3811169"/>
              <a:gd name="connsiteX30" fmla="*/ 213408 w 2772385"/>
              <a:gd name="connsiteY30" fmla="*/ 3698973 h 3811169"/>
              <a:gd name="connsiteX31" fmla="*/ 280726 w 2772385"/>
              <a:gd name="connsiteY31" fmla="*/ 3811169 h 3811169"/>
              <a:gd name="connsiteX32" fmla="*/ 477068 w 2772385"/>
              <a:gd name="connsiteY32" fmla="*/ 3771902 h 3811169"/>
              <a:gd name="connsiteX33" fmla="*/ 622923 w 2772385"/>
              <a:gd name="connsiteY33" fmla="*/ 3547509 h 3811169"/>
              <a:gd name="connsiteX34" fmla="*/ 662193 w 2772385"/>
              <a:gd name="connsiteY34" fmla="*/ 3743852 h 3811169"/>
              <a:gd name="connsiteX35" fmla="*/ 735121 w 2772385"/>
              <a:gd name="connsiteY35" fmla="*/ 3732634 h 3811169"/>
              <a:gd name="connsiteX36" fmla="*/ 774389 w 2772385"/>
              <a:gd name="connsiteY36" fmla="*/ 3474581 h 3811169"/>
              <a:gd name="connsiteX37" fmla="*/ 695851 w 2772385"/>
              <a:gd name="connsiteY37" fmla="*/ 3238969 h 3811169"/>
              <a:gd name="connsiteX38" fmla="*/ 897805 w 2772385"/>
              <a:gd name="connsiteY38" fmla="*/ 2627499 h 3811169"/>
              <a:gd name="connsiteX39" fmla="*/ 1161466 w 2772385"/>
              <a:gd name="connsiteY39" fmla="*/ 2520912 h 3811169"/>
              <a:gd name="connsiteX40" fmla="*/ 1492445 w 2772385"/>
              <a:gd name="connsiteY40" fmla="*/ 2638718 h 3811169"/>
              <a:gd name="connsiteX41" fmla="*/ 1587812 w 2772385"/>
              <a:gd name="connsiteY41" fmla="*/ 2627499 h 3811169"/>
              <a:gd name="connsiteX42" fmla="*/ 1643910 w 2772385"/>
              <a:gd name="connsiteY42" fmla="*/ 2728476 h 3811169"/>
              <a:gd name="connsiteX43" fmla="*/ 1795375 w 2772385"/>
              <a:gd name="connsiteY43" fmla="*/ 2762134 h 3811169"/>
              <a:gd name="connsiteX44" fmla="*/ 1795375 w 2772385"/>
              <a:gd name="connsiteY44" fmla="*/ 2812623 h 3811169"/>
              <a:gd name="connsiteX45" fmla="*/ 1767326 w 2772385"/>
              <a:gd name="connsiteY45" fmla="*/ 2997747 h 3811169"/>
              <a:gd name="connsiteX46" fmla="*/ 1744887 w 2772385"/>
              <a:gd name="connsiteY46" fmla="*/ 3323116 h 3811169"/>
              <a:gd name="connsiteX47" fmla="*/ 1537324 w 2772385"/>
              <a:gd name="connsiteY47" fmla="*/ 3345555 h 3811169"/>
              <a:gd name="connsiteX48" fmla="*/ 1200735 w 2772385"/>
              <a:gd name="connsiteY48" fmla="*/ 3396044 h 3811169"/>
              <a:gd name="connsiteX49" fmla="*/ 1172686 w 2772385"/>
              <a:gd name="connsiteY49" fmla="*/ 3468971 h 3811169"/>
              <a:gd name="connsiteX50" fmla="*/ 1110978 w 2772385"/>
              <a:gd name="connsiteY50" fmla="*/ 3497020 h 3811169"/>
              <a:gd name="connsiteX51" fmla="*/ 1139027 w 2772385"/>
              <a:gd name="connsiteY51" fmla="*/ 3631656 h 3811169"/>
              <a:gd name="connsiteX52" fmla="*/ 1279272 w 2772385"/>
              <a:gd name="connsiteY52" fmla="*/ 3637266 h 3811169"/>
              <a:gd name="connsiteX53" fmla="*/ 1273662 w 2772385"/>
              <a:gd name="connsiteY53" fmla="*/ 3485801 h 3811169"/>
              <a:gd name="connsiteX54" fmla="*/ 1453176 w 2772385"/>
              <a:gd name="connsiteY54" fmla="*/ 3497020 h 3811169"/>
              <a:gd name="connsiteX55" fmla="*/ 1425127 w 2772385"/>
              <a:gd name="connsiteY55" fmla="*/ 3575558 h 3811169"/>
              <a:gd name="connsiteX56" fmla="*/ 1397078 w 2772385"/>
              <a:gd name="connsiteY56" fmla="*/ 3637266 h 3811169"/>
              <a:gd name="connsiteX57" fmla="*/ 1312931 w 2772385"/>
              <a:gd name="connsiteY57" fmla="*/ 3654095 h 3811169"/>
              <a:gd name="connsiteX58" fmla="*/ 1447567 w 2772385"/>
              <a:gd name="connsiteY58" fmla="*/ 3777511 h 3811169"/>
              <a:gd name="connsiteX59" fmla="*/ 1514884 w 2772385"/>
              <a:gd name="connsiteY59" fmla="*/ 3642876 h 3811169"/>
              <a:gd name="connsiteX60" fmla="*/ 1817814 w 2772385"/>
              <a:gd name="connsiteY60" fmla="*/ 3541899 h 3811169"/>
              <a:gd name="connsiteX61" fmla="*/ 2154403 w 2772385"/>
              <a:gd name="connsiteY61" fmla="*/ 3614826 h 3811169"/>
              <a:gd name="connsiteX62" fmla="*/ 2109525 w 2772385"/>
              <a:gd name="connsiteY62" fmla="*/ 3715803 h 3811169"/>
              <a:gd name="connsiteX63" fmla="*/ 2204892 w 2772385"/>
              <a:gd name="connsiteY63" fmla="*/ 3783121 h 3811169"/>
              <a:gd name="connsiteX64" fmla="*/ 2277819 w 2772385"/>
              <a:gd name="connsiteY64" fmla="*/ 3732633 h 3811169"/>
              <a:gd name="connsiteX65" fmla="*/ 2266600 w 2772385"/>
              <a:gd name="connsiteY65" fmla="*/ 3637266 h 3811169"/>
              <a:gd name="connsiteX66" fmla="*/ 2446114 w 2772385"/>
              <a:gd name="connsiteY66" fmla="*/ 3558728 h 3811169"/>
              <a:gd name="connsiteX67" fmla="*/ 2429284 w 2772385"/>
              <a:gd name="connsiteY67" fmla="*/ 3384824 h 3811169"/>
              <a:gd name="connsiteX68" fmla="*/ 1924401 w 2772385"/>
              <a:gd name="connsiteY68" fmla="*/ 3356775 h 3811169"/>
              <a:gd name="connsiteX69" fmla="*/ 1913181 w 2772385"/>
              <a:gd name="connsiteY69" fmla="*/ 3031406 h 3811169"/>
              <a:gd name="connsiteX70" fmla="*/ 1879522 w 2772385"/>
              <a:gd name="connsiteY70" fmla="*/ 3014576 h 3811169"/>
              <a:gd name="connsiteX71" fmla="*/ 1901962 w 2772385"/>
              <a:gd name="connsiteY71" fmla="*/ 2835062 h 3811169"/>
              <a:gd name="connsiteX72" fmla="*/ 1857083 w 2772385"/>
              <a:gd name="connsiteY72" fmla="*/ 2773354 h 3811169"/>
              <a:gd name="connsiteX73" fmla="*/ 2047817 w 2772385"/>
              <a:gd name="connsiteY73" fmla="*/ 2717256 h 3811169"/>
              <a:gd name="connsiteX74" fmla="*/ 2081476 w 2772385"/>
              <a:gd name="connsiteY74" fmla="*/ 2610669 h 3811169"/>
              <a:gd name="connsiteX75" fmla="*/ 2367576 w 2772385"/>
              <a:gd name="connsiteY75" fmla="*/ 2621889 h 3811169"/>
              <a:gd name="connsiteX76" fmla="*/ 2591969 w 2772385"/>
              <a:gd name="connsiteY76" fmla="*/ 2032858 h 3811169"/>
              <a:gd name="connsiteX77" fmla="*/ 2547090 w 2772385"/>
              <a:gd name="connsiteY77" fmla="*/ 1948711 h 3811169"/>
              <a:gd name="connsiteX78" fmla="*/ 2692946 w 2772385"/>
              <a:gd name="connsiteY78" fmla="*/ 1460657 h 3811169"/>
              <a:gd name="connsiteX79" fmla="*/ 2636848 w 2772385"/>
              <a:gd name="connsiteY79" fmla="*/ 1354071 h 3811169"/>
              <a:gd name="connsiteX80" fmla="*/ 2479772 w 2772385"/>
              <a:gd name="connsiteY80" fmla="*/ 798699 h 3811169"/>
              <a:gd name="connsiteX81" fmla="*/ 2737825 w 2772385"/>
              <a:gd name="connsiteY81" fmla="*/ 675283 h 3811169"/>
              <a:gd name="connsiteX82" fmla="*/ 2709775 w 2772385"/>
              <a:gd name="connsiteY82" fmla="*/ 434061 h 3811169"/>
              <a:gd name="connsiteX83" fmla="*/ 2625628 w 2772385"/>
              <a:gd name="connsiteY83" fmla="*/ 86253 h 3811169"/>
              <a:gd name="connsiteX0" fmla="*/ 2625628 w 2772385"/>
              <a:gd name="connsiteY0" fmla="*/ 86253 h 3811169"/>
              <a:gd name="connsiteX1" fmla="*/ 2429284 w 2772385"/>
              <a:gd name="connsiteY1" fmla="*/ 2105 h 3811169"/>
              <a:gd name="connsiteX2" fmla="*/ 2188062 w 2772385"/>
              <a:gd name="connsiteY2" fmla="*/ 159180 h 3811169"/>
              <a:gd name="connsiteX3" fmla="*/ 2087086 w 2772385"/>
              <a:gd name="connsiteY3" fmla="*/ 198449 h 3811169"/>
              <a:gd name="connsiteX4" fmla="*/ 2137574 w 2772385"/>
              <a:gd name="connsiteY4" fmla="*/ 288206 h 3811169"/>
              <a:gd name="connsiteX5" fmla="*/ 2025378 w 2772385"/>
              <a:gd name="connsiteY5" fmla="*/ 450890 h 3811169"/>
              <a:gd name="connsiteX6" fmla="*/ 2131966 w 2772385"/>
              <a:gd name="connsiteY6" fmla="*/ 585526 h 3811169"/>
              <a:gd name="connsiteX7" fmla="*/ 2154403 w 2772385"/>
              <a:gd name="connsiteY7" fmla="*/ 708942 h 3811169"/>
              <a:gd name="connsiteX8" fmla="*/ 2025378 w 2772385"/>
              <a:gd name="connsiteY8" fmla="*/ 753820 h 3811169"/>
              <a:gd name="connsiteX9" fmla="*/ 1991719 w 2772385"/>
              <a:gd name="connsiteY9" fmla="*/ 821138 h 3811169"/>
              <a:gd name="connsiteX10" fmla="*/ 1991719 w 2772385"/>
              <a:gd name="connsiteY10" fmla="*/ 708942 h 3811169"/>
              <a:gd name="connsiteX11" fmla="*/ 1941230 w 2772385"/>
              <a:gd name="connsiteY11" fmla="*/ 669673 h 3811169"/>
              <a:gd name="connsiteX12" fmla="*/ 1778546 w 2772385"/>
              <a:gd name="connsiteY12" fmla="*/ 770649 h 3811169"/>
              <a:gd name="connsiteX13" fmla="*/ 1397078 w 2772385"/>
              <a:gd name="connsiteY13" fmla="*/ 579916 h 3811169"/>
              <a:gd name="connsiteX14" fmla="*/ 1660739 w 2772385"/>
              <a:gd name="connsiteY14" fmla="*/ 1129678 h 3811169"/>
              <a:gd name="connsiteX15" fmla="*/ 1795375 w 2772385"/>
              <a:gd name="connsiteY15" fmla="*/ 1225045 h 3811169"/>
              <a:gd name="connsiteX16" fmla="*/ 1643910 w 2772385"/>
              <a:gd name="connsiteY16" fmla="*/ 1449437 h 3811169"/>
              <a:gd name="connsiteX17" fmla="*/ 1722448 w 2772385"/>
              <a:gd name="connsiteY17" fmla="*/ 1668220 h 3811169"/>
              <a:gd name="connsiteX18" fmla="*/ 1812205 w 2772385"/>
              <a:gd name="connsiteY18" fmla="*/ 1662611 h 3811169"/>
              <a:gd name="connsiteX19" fmla="*/ 1621470 w 2772385"/>
              <a:gd name="connsiteY19" fmla="*/ 1858954 h 3811169"/>
              <a:gd name="connsiteX20" fmla="*/ 909024 w 2772385"/>
              <a:gd name="connsiteY20" fmla="*/ 1578463 h 3811169"/>
              <a:gd name="connsiteX21" fmla="*/ 454629 w 2772385"/>
              <a:gd name="connsiteY21" fmla="*/ 2605060 h 3811169"/>
              <a:gd name="connsiteX22" fmla="*/ 258286 w 2772385"/>
              <a:gd name="connsiteY22" fmla="*/ 2812623 h 3811169"/>
              <a:gd name="connsiteX23" fmla="*/ 39503 w 2772385"/>
              <a:gd name="connsiteY23" fmla="*/ 2857501 h 3811169"/>
              <a:gd name="connsiteX24" fmla="*/ 28282 w 2772385"/>
              <a:gd name="connsiteY24" fmla="*/ 2975307 h 3811169"/>
              <a:gd name="connsiteX25" fmla="*/ 258285 w 2772385"/>
              <a:gd name="connsiteY25" fmla="*/ 3087504 h 3811169"/>
              <a:gd name="connsiteX26" fmla="*/ 527559 w 2772385"/>
              <a:gd name="connsiteY26" fmla="*/ 2986527 h 3811169"/>
              <a:gd name="connsiteX27" fmla="*/ 488288 w 2772385"/>
              <a:gd name="connsiteY27" fmla="*/ 3154821 h 3811169"/>
              <a:gd name="connsiteX28" fmla="*/ 561215 w 2772385"/>
              <a:gd name="connsiteY28" fmla="*/ 3194090 h 3811169"/>
              <a:gd name="connsiteX29" fmla="*/ 381702 w 2772385"/>
              <a:gd name="connsiteY29" fmla="*/ 3592387 h 3811169"/>
              <a:gd name="connsiteX30" fmla="*/ 213408 w 2772385"/>
              <a:gd name="connsiteY30" fmla="*/ 3698973 h 3811169"/>
              <a:gd name="connsiteX31" fmla="*/ 280726 w 2772385"/>
              <a:gd name="connsiteY31" fmla="*/ 3811169 h 3811169"/>
              <a:gd name="connsiteX32" fmla="*/ 477068 w 2772385"/>
              <a:gd name="connsiteY32" fmla="*/ 3771902 h 3811169"/>
              <a:gd name="connsiteX33" fmla="*/ 622923 w 2772385"/>
              <a:gd name="connsiteY33" fmla="*/ 3547509 h 3811169"/>
              <a:gd name="connsiteX34" fmla="*/ 662193 w 2772385"/>
              <a:gd name="connsiteY34" fmla="*/ 3743852 h 3811169"/>
              <a:gd name="connsiteX35" fmla="*/ 735121 w 2772385"/>
              <a:gd name="connsiteY35" fmla="*/ 3732634 h 3811169"/>
              <a:gd name="connsiteX36" fmla="*/ 774389 w 2772385"/>
              <a:gd name="connsiteY36" fmla="*/ 3474581 h 3811169"/>
              <a:gd name="connsiteX37" fmla="*/ 695851 w 2772385"/>
              <a:gd name="connsiteY37" fmla="*/ 3238969 h 3811169"/>
              <a:gd name="connsiteX38" fmla="*/ 897805 w 2772385"/>
              <a:gd name="connsiteY38" fmla="*/ 2627499 h 3811169"/>
              <a:gd name="connsiteX39" fmla="*/ 1161466 w 2772385"/>
              <a:gd name="connsiteY39" fmla="*/ 2520912 h 3811169"/>
              <a:gd name="connsiteX40" fmla="*/ 1492445 w 2772385"/>
              <a:gd name="connsiteY40" fmla="*/ 2638718 h 3811169"/>
              <a:gd name="connsiteX41" fmla="*/ 1587812 w 2772385"/>
              <a:gd name="connsiteY41" fmla="*/ 2627499 h 3811169"/>
              <a:gd name="connsiteX42" fmla="*/ 1643910 w 2772385"/>
              <a:gd name="connsiteY42" fmla="*/ 2728476 h 3811169"/>
              <a:gd name="connsiteX43" fmla="*/ 1795375 w 2772385"/>
              <a:gd name="connsiteY43" fmla="*/ 2762134 h 3811169"/>
              <a:gd name="connsiteX44" fmla="*/ 1795375 w 2772385"/>
              <a:gd name="connsiteY44" fmla="*/ 2812623 h 3811169"/>
              <a:gd name="connsiteX45" fmla="*/ 1767326 w 2772385"/>
              <a:gd name="connsiteY45" fmla="*/ 2997747 h 3811169"/>
              <a:gd name="connsiteX46" fmla="*/ 1744887 w 2772385"/>
              <a:gd name="connsiteY46" fmla="*/ 3323116 h 3811169"/>
              <a:gd name="connsiteX47" fmla="*/ 1537324 w 2772385"/>
              <a:gd name="connsiteY47" fmla="*/ 3345555 h 3811169"/>
              <a:gd name="connsiteX48" fmla="*/ 1200735 w 2772385"/>
              <a:gd name="connsiteY48" fmla="*/ 3396044 h 3811169"/>
              <a:gd name="connsiteX49" fmla="*/ 1172686 w 2772385"/>
              <a:gd name="connsiteY49" fmla="*/ 3468971 h 3811169"/>
              <a:gd name="connsiteX50" fmla="*/ 1110978 w 2772385"/>
              <a:gd name="connsiteY50" fmla="*/ 3497020 h 3811169"/>
              <a:gd name="connsiteX51" fmla="*/ 1139027 w 2772385"/>
              <a:gd name="connsiteY51" fmla="*/ 3631656 h 3811169"/>
              <a:gd name="connsiteX52" fmla="*/ 1279272 w 2772385"/>
              <a:gd name="connsiteY52" fmla="*/ 3637266 h 3811169"/>
              <a:gd name="connsiteX53" fmla="*/ 1273662 w 2772385"/>
              <a:gd name="connsiteY53" fmla="*/ 3485801 h 3811169"/>
              <a:gd name="connsiteX54" fmla="*/ 1453176 w 2772385"/>
              <a:gd name="connsiteY54" fmla="*/ 3497020 h 3811169"/>
              <a:gd name="connsiteX55" fmla="*/ 1425127 w 2772385"/>
              <a:gd name="connsiteY55" fmla="*/ 3575558 h 3811169"/>
              <a:gd name="connsiteX56" fmla="*/ 1397078 w 2772385"/>
              <a:gd name="connsiteY56" fmla="*/ 3637266 h 3811169"/>
              <a:gd name="connsiteX57" fmla="*/ 1312931 w 2772385"/>
              <a:gd name="connsiteY57" fmla="*/ 3654095 h 3811169"/>
              <a:gd name="connsiteX58" fmla="*/ 1447567 w 2772385"/>
              <a:gd name="connsiteY58" fmla="*/ 3777511 h 3811169"/>
              <a:gd name="connsiteX59" fmla="*/ 1514884 w 2772385"/>
              <a:gd name="connsiteY59" fmla="*/ 3642876 h 3811169"/>
              <a:gd name="connsiteX60" fmla="*/ 1817814 w 2772385"/>
              <a:gd name="connsiteY60" fmla="*/ 3541899 h 3811169"/>
              <a:gd name="connsiteX61" fmla="*/ 2154403 w 2772385"/>
              <a:gd name="connsiteY61" fmla="*/ 3614826 h 3811169"/>
              <a:gd name="connsiteX62" fmla="*/ 2109525 w 2772385"/>
              <a:gd name="connsiteY62" fmla="*/ 3715803 h 3811169"/>
              <a:gd name="connsiteX63" fmla="*/ 2204892 w 2772385"/>
              <a:gd name="connsiteY63" fmla="*/ 3783121 h 3811169"/>
              <a:gd name="connsiteX64" fmla="*/ 2277819 w 2772385"/>
              <a:gd name="connsiteY64" fmla="*/ 3732633 h 3811169"/>
              <a:gd name="connsiteX65" fmla="*/ 2266600 w 2772385"/>
              <a:gd name="connsiteY65" fmla="*/ 3637266 h 3811169"/>
              <a:gd name="connsiteX66" fmla="*/ 2446114 w 2772385"/>
              <a:gd name="connsiteY66" fmla="*/ 3558728 h 3811169"/>
              <a:gd name="connsiteX67" fmla="*/ 2429284 w 2772385"/>
              <a:gd name="connsiteY67" fmla="*/ 3384824 h 3811169"/>
              <a:gd name="connsiteX68" fmla="*/ 1924401 w 2772385"/>
              <a:gd name="connsiteY68" fmla="*/ 3356775 h 3811169"/>
              <a:gd name="connsiteX69" fmla="*/ 1913181 w 2772385"/>
              <a:gd name="connsiteY69" fmla="*/ 3031406 h 3811169"/>
              <a:gd name="connsiteX70" fmla="*/ 1879522 w 2772385"/>
              <a:gd name="connsiteY70" fmla="*/ 3014576 h 3811169"/>
              <a:gd name="connsiteX71" fmla="*/ 1901962 w 2772385"/>
              <a:gd name="connsiteY71" fmla="*/ 2835062 h 3811169"/>
              <a:gd name="connsiteX72" fmla="*/ 1857083 w 2772385"/>
              <a:gd name="connsiteY72" fmla="*/ 2773354 h 3811169"/>
              <a:gd name="connsiteX73" fmla="*/ 2047817 w 2772385"/>
              <a:gd name="connsiteY73" fmla="*/ 2717256 h 3811169"/>
              <a:gd name="connsiteX74" fmla="*/ 2081476 w 2772385"/>
              <a:gd name="connsiteY74" fmla="*/ 2610669 h 3811169"/>
              <a:gd name="connsiteX75" fmla="*/ 2367576 w 2772385"/>
              <a:gd name="connsiteY75" fmla="*/ 2621889 h 3811169"/>
              <a:gd name="connsiteX76" fmla="*/ 2591969 w 2772385"/>
              <a:gd name="connsiteY76" fmla="*/ 2032858 h 3811169"/>
              <a:gd name="connsiteX77" fmla="*/ 2547090 w 2772385"/>
              <a:gd name="connsiteY77" fmla="*/ 1948711 h 3811169"/>
              <a:gd name="connsiteX78" fmla="*/ 2692946 w 2772385"/>
              <a:gd name="connsiteY78" fmla="*/ 1460657 h 3811169"/>
              <a:gd name="connsiteX79" fmla="*/ 2636848 w 2772385"/>
              <a:gd name="connsiteY79" fmla="*/ 1354071 h 3811169"/>
              <a:gd name="connsiteX80" fmla="*/ 2479772 w 2772385"/>
              <a:gd name="connsiteY80" fmla="*/ 798699 h 3811169"/>
              <a:gd name="connsiteX81" fmla="*/ 2737825 w 2772385"/>
              <a:gd name="connsiteY81" fmla="*/ 675283 h 3811169"/>
              <a:gd name="connsiteX82" fmla="*/ 2709775 w 2772385"/>
              <a:gd name="connsiteY82" fmla="*/ 434061 h 3811169"/>
              <a:gd name="connsiteX83" fmla="*/ 2625628 w 2772385"/>
              <a:gd name="connsiteY83" fmla="*/ 86253 h 3811169"/>
              <a:gd name="connsiteX0" fmla="*/ 2625628 w 2772385"/>
              <a:gd name="connsiteY0" fmla="*/ 86253 h 3811169"/>
              <a:gd name="connsiteX1" fmla="*/ 2429284 w 2772385"/>
              <a:gd name="connsiteY1" fmla="*/ 2105 h 3811169"/>
              <a:gd name="connsiteX2" fmla="*/ 2188062 w 2772385"/>
              <a:gd name="connsiteY2" fmla="*/ 159180 h 3811169"/>
              <a:gd name="connsiteX3" fmla="*/ 2087086 w 2772385"/>
              <a:gd name="connsiteY3" fmla="*/ 198449 h 3811169"/>
              <a:gd name="connsiteX4" fmla="*/ 2137574 w 2772385"/>
              <a:gd name="connsiteY4" fmla="*/ 288206 h 3811169"/>
              <a:gd name="connsiteX5" fmla="*/ 2025378 w 2772385"/>
              <a:gd name="connsiteY5" fmla="*/ 450890 h 3811169"/>
              <a:gd name="connsiteX6" fmla="*/ 2131966 w 2772385"/>
              <a:gd name="connsiteY6" fmla="*/ 585526 h 3811169"/>
              <a:gd name="connsiteX7" fmla="*/ 2154403 w 2772385"/>
              <a:gd name="connsiteY7" fmla="*/ 708942 h 3811169"/>
              <a:gd name="connsiteX8" fmla="*/ 2025378 w 2772385"/>
              <a:gd name="connsiteY8" fmla="*/ 753820 h 3811169"/>
              <a:gd name="connsiteX9" fmla="*/ 1991719 w 2772385"/>
              <a:gd name="connsiteY9" fmla="*/ 821138 h 3811169"/>
              <a:gd name="connsiteX10" fmla="*/ 1991719 w 2772385"/>
              <a:gd name="connsiteY10" fmla="*/ 708942 h 3811169"/>
              <a:gd name="connsiteX11" fmla="*/ 1941230 w 2772385"/>
              <a:gd name="connsiteY11" fmla="*/ 669673 h 3811169"/>
              <a:gd name="connsiteX12" fmla="*/ 1778546 w 2772385"/>
              <a:gd name="connsiteY12" fmla="*/ 770649 h 3811169"/>
              <a:gd name="connsiteX13" fmla="*/ 1397078 w 2772385"/>
              <a:gd name="connsiteY13" fmla="*/ 579916 h 3811169"/>
              <a:gd name="connsiteX14" fmla="*/ 1660739 w 2772385"/>
              <a:gd name="connsiteY14" fmla="*/ 1129678 h 3811169"/>
              <a:gd name="connsiteX15" fmla="*/ 1795375 w 2772385"/>
              <a:gd name="connsiteY15" fmla="*/ 1225045 h 3811169"/>
              <a:gd name="connsiteX16" fmla="*/ 1643910 w 2772385"/>
              <a:gd name="connsiteY16" fmla="*/ 1449437 h 3811169"/>
              <a:gd name="connsiteX17" fmla="*/ 1722448 w 2772385"/>
              <a:gd name="connsiteY17" fmla="*/ 1668220 h 3811169"/>
              <a:gd name="connsiteX18" fmla="*/ 1812205 w 2772385"/>
              <a:gd name="connsiteY18" fmla="*/ 1662611 h 3811169"/>
              <a:gd name="connsiteX19" fmla="*/ 1621470 w 2772385"/>
              <a:gd name="connsiteY19" fmla="*/ 1858954 h 3811169"/>
              <a:gd name="connsiteX20" fmla="*/ 909024 w 2772385"/>
              <a:gd name="connsiteY20" fmla="*/ 1578463 h 3811169"/>
              <a:gd name="connsiteX21" fmla="*/ 454629 w 2772385"/>
              <a:gd name="connsiteY21" fmla="*/ 2605060 h 3811169"/>
              <a:gd name="connsiteX22" fmla="*/ 258286 w 2772385"/>
              <a:gd name="connsiteY22" fmla="*/ 2812623 h 3811169"/>
              <a:gd name="connsiteX23" fmla="*/ 39503 w 2772385"/>
              <a:gd name="connsiteY23" fmla="*/ 2857501 h 3811169"/>
              <a:gd name="connsiteX24" fmla="*/ 28282 w 2772385"/>
              <a:gd name="connsiteY24" fmla="*/ 2975307 h 3811169"/>
              <a:gd name="connsiteX25" fmla="*/ 258285 w 2772385"/>
              <a:gd name="connsiteY25" fmla="*/ 3087504 h 3811169"/>
              <a:gd name="connsiteX26" fmla="*/ 527559 w 2772385"/>
              <a:gd name="connsiteY26" fmla="*/ 2986527 h 3811169"/>
              <a:gd name="connsiteX27" fmla="*/ 488288 w 2772385"/>
              <a:gd name="connsiteY27" fmla="*/ 3154821 h 3811169"/>
              <a:gd name="connsiteX28" fmla="*/ 561215 w 2772385"/>
              <a:gd name="connsiteY28" fmla="*/ 3194090 h 3811169"/>
              <a:gd name="connsiteX29" fmla="*/ 381702 w 2772385"/>
              <a:gd name="connsiteY29" fmla="*/ 3592387 h 3811169"/>
              <a:gd name="connsiteX30" fmla="*/ 213408 w 2772385"/>
              <a:gd name="connsiteY30" fmla="*/ 3698973 h 3811169"/>
              <a:gd name="connsiteX31" fmla="*/ 280726 w 2772385"/>
              <a:gd name="connsiteY31" fmla="*/ 3811169 h 3811169"/>
              <a:gd name="connsiteX32" fmla="*/ 477068 w 2772385"/>
              <a:gd name="connsiteY32" fmla="*/ 3771902 h 3811169"/>
              <a:gd name="connsiteX33" fmla="*/ 622923 w 2772385"/>
              <a:gd name="connsiteY33" fmla="*/ 3547509 h 3811169"/>
              <a:gd name="connsiteX34" fmla="*/ 662193 w 2772385"/>
              <a:gd name="connsiteY34" fmla="*/ 3743852 h 3811169"/>
              <a:gd name="connsiteX35" fmla="*/ 735121 w 2772385"/>
              <a:gd name="connsiteY35" fmla="*/ 3732634 h 3811169"/>
              <a:gd name="connsiteX36" fmla="*/ 774389 w 2772385"/>
              <a:gd name="connsiteY36" fmla="*/ 3474581 h 3811169"/>
              <a:gd name="connsiteX37" fmla="*/ 695851 w 2772385"/>
              <a:gd name="connsiteY37" fmla="*/ 3238969 h 3811169"/>
              <a:gd name="connsiteX38" fmla="*/ 897805 w 2772385"/>
              <a:gd name="connsiteY38" fmla="*/ 2627499 h 3811169"/>
              <a:gd name="connsiteX39" fmla="*/ 1161466 w 2772385"/>
              <a:gd name="connsiteY39" fmla="*/ 2520912 h 3811169"/>
              <a:gd name="connsiteX40" fmla="*/ 1492445 w 2772385"/>
              <a:gd name="connsiteY40" fmla="*/ 2638718 h 3811169"/>
              <a:gd name="connsiteX41" fmla="*/ 1587812 w 2772385"/>
              <a:gd name="connsiteY41" fmla="*/ 2627499 h 3811169"/>
              <a:gd name="connsiteX42" fmla="*/ 1643910 w 2772385"/>
              <a:gd name="connsiteY42" fmla="*/ 2728476 h 3811169"/>
              <a:gd name="connsiteX43" fmla="*/ 1795375 w 2772385"/>
              <a:gd name="connsiteY43" fmla="*/ 2762134 h 3811169"/>
              <a:gd name="connsiteX44" fmla="*/ 1795375 w 2772385"/>
              <a:gd name="connsiteY44" fmla="*/ 2812623 h 3811169"/>
              <a:gd name="connsiteX45" fmla="*/ 1767326 w 2772385"/>
              <a:gd name="connsiteY45" fmla="*/ 2997747 h 3811169"/>
              <a:gd name="connsiteX46" fmla="*/ 1744887 w 2772385"/>
              <a:gd name="connsiteY46" fmla="*/ 3323116 h 3811169"/>
              <a:gd name="connsiteX47" fmla="*/ 1537324 w 2772385"/>
              <a:gd name="connsiteY47" fmla="*/ 3345555 h 3811169"/>
              <a:gd name="connsiteX48" fmla="*/ 1200735 w 2772385"/>
              <a:gd name="connsiteY48" fmla="*/ 3396044 h 3811169"/>
              <a:gd name="connsiteX49" fmla="*/ 1172686 w 2772385"/>
              <a:gd name="connsiteY49" fmla="*/ 3468971 h 3811169"/>
              <a:gd name="connsiteX50" fmla="*/ 1110978 w 2772385"/>
              <a:gd name="connsiteY50" fmla="*/ 3497020 h 3811169"/>
              <a:gd name="connsiteX51" fmla="*/ 1139027 w 2772385"/>
              <a:gd name="connsiteY51" fmla="*/ 3631656 h 3811169"/>
              <a:gd name="connsiteX52" fmla="*/ 1279272 w 2772385"/>
              <a:gd name="connsiteY52" fmla="*/ 3637266 h 3811169"/>
              <a:gd name="connsiteX53" fmla="*/ 1273662 w 2772385"/>
              <a:gd name="connsiteY53" fmla="*/ 3485801 h 3811169"/>
              <a:gd name="connsiteX54" fmla="*/ 1453176 w 2772385"/>
              <a:gd name="connsiteY54" fmla="*/ 3497020 h 3811169"/>
              <a:gd name="connsiteX55" fmla="*/ 1425127 w 2772385"/>
              <a:gd name="connsiteY55" fmla="*/ 3575558 h 3811169"/>
              <a:gd name="connsiteX56" fmla="*/ 1397078 w 2772385"/>
              <a:gd name="connsiteY56" fmla="*/ 3637266 h 3811169"/>
              <a:gd name="connsiteX57" fmla="*/ 1312931 w 2772385"/>
              <a:gd name="connsiteY57" fmla="*/ 3654095 h 3811169"/>
              <a:gd name="connsiteX58" fmla="*/ 1447567 w 2772385"/>
              <a:gd name="connsiteY58" fmla="*/ 3777511 h 3811169"/>
              <a:gd name="connsiteX59" fmla="*/ 1514884 w 2772385"/>
              <a:gd name="connsiteY59" fmla="*/ 3642876 h 3811169"/>
              <a:gd name="connsiteX60" fmla="*/ 1817814 w 2772385"/>
              <a:gd name="connsiteY60" fmla="*/ 3541899 h 3811169"/>
              <a:gd name="connsiteX61" fmla="*/ 2154403 w 2772385"/>
              <a:gd name="connsiteY61" fmla="*/ 3614826 h 3811169"/>
              <a:gd name="connsiteX62" fmla="*/ 2109525 w 2772385"/>
              <a:gd name="connsiteY62" fmla="*/ 3715803 h 3811169"/>
              <a:gd name="connsiteX63" fmla="*/ 2204892 w 2772385"/>
              <a:gd name="connsiteY63" fmla="*/ 3783121 h 3811169"/>
              <a:gd name="connsiteX64" fmla="*/ 2277819 w 2772385"/>
              <a:gd name="connsiteY64" fmla="*/ 3732633 h 3811169"/>
              <a:gd name="connsiteX65" fmla="*/ 2266600 w 2772385"/>
              <a:gd name="connsiteY65" fmla="*/ 3637266 h 3811169"/>
              <a:gd name="connsiteX66" fmla="*/ 2446114 w 2772385"/>
              <a:gd name="connsiteY66" fmla="*/ 3558728 h 3811169"/>
              <a:gd name="connsiteX67" fmla="*/ 2429284 w 2772385"/>
              <a:gd name="connsiteY67" fmla="*/ 3384824 h 3811169"/>
              <a:gd name="connsiteX68" fmla="*/ 1924401 w 2772385"/>
              <a:gd name="connsiteY68" fmla="*/ 3356775 h 3811169"/>
              <a:gd name="connsiteX69" fmla="*/ 1913181 w 2772385"/>
              <a:gd name="connsiteY69" fmla="*/ 3031406 h 3811169"/>
              <a:gd name="connsiteX70" fmla="*/ 1907571 w 2772385"/>
              <a:gd name="connsiteY70" fmla="*/ 3014576 h 3811169"/>
              <a:gd name="connsiteX71" fmla="*/ 1901962 w 2772385"/>
              <a:gd name="connsiteY71" fmla="*/ 2835062 h 3811169"/>
              <a:gd name="connsiteX72" fmla="*/ 1857083 w 2772385"/>
              <a:gd name="connsiteY72" fmla="*/ 2773354 h 3811169"/>
              <a:gd name="connsiteX73" fmla="*/ 2047817 w 2772385"/>
              <a:gd name="connsiteY73" fmla="*/ 2717256 h 3811169"/>
              <a:gd name="connsiteX74" fmla="*/ 2081476 w 2772385"/>
              <a:gd name="connsiteY74" fmla="*/ 2610669 h 3811169"/>
              <a:gd name="connsiteX75" fmla="*/ 2367576 w 2772385"/>
              <a:gd name="connsiteY75" fmla="*/ 2621889 h 3811169"/>
              <a:gd name="connsiteX76" fmla="*/ 2591969 w 2772385"/>
              <a:gd name="connsiteY76" fmla="*/ 2032858 h 3811169"/>
              <a:gd name="connsiteX77" fmla="*/ 2547090 w 2772385"/>
              <a:gd name="connsiteY77" fmla="*/ 1948711 h 3811169"/>
              <a:gd name="connsiteX78" fmla="*/ 2692946 w 2772385"/>
              <a:gd name="connsiteY78" fmla="*/ 1460657 h 3811169"/>
              <a:gd name="connsiteX79" fmla="*/ 2636848 w 2772385"/>
              <a:gd name="connsiteY79" fmla="*/ 1354071 h 3811169"/>
              <a:gd name="connsiteX80" fmla="*/ 2479772 w 2772385"/>
              <a:gd name="connsiteY80" fmla="*/ 798699 h 3811169"/>
              <a:gd name="connsiteX81" fmla="*/ 2737825 w 2772385"/>
              <a:gd name="connsiteY81" fmla="*/ 675283 h 3811169"/>
              <a:gd name="connsiteX82" fmla="*/ 2709775 w 2772385"/>
              <a:gd name="connsiteY82" fmla="*/ 434061 h 3811169"/>
              <a:gd name="connsiteX83" fmla="*/ 2625628 w 2772385"/>
              <a:gd name="connsiteY83" fmla="*/ 86253 h 3811169"/>
              <a:gd name="connsiteX0" fmla="*/ 2625628 w 2772385"/>
              <a:gd name="connsiteY0" fmla="*/ 86253 h 3811169"/>
              <a:gd name="connsiteX1" fmla="*/ 2429284 w 2772385"/>
              <a:gd name="connsiteY1" fmla="*/ 2105 h 3811169"/>
              <a:gd name="connsiteX2" fmla="*/ 2188062 w 2772385"/>
              <a:gd name="connsiteY2" fmla="*/ 159180 h 3811169"/>
              <a:gd name="connsiteX3" fmla="*/ 2087086 w 2772385"/>
              <a:gd name="connsiteY3" fmla="*/ 198449 h 3811169"/>
              <a:gd name="connsiteX4" fmla="*/ 2137574 w 2772385"/>
              <a:gd name="connsiteY4" fmla="*/ 288206 h 3811169"/>
              <a:gd name="connsiteX5" fmla="*/ 2025378 w 2772385"/>
              <a:gd name="connsiteY5" fmla="*/ 450890 h 3811169"/>
              <a:gd name="connsiteX6" fmla="*/ 2131966 w 2772385"/>
              <a:gd name="connsiteY6" fmla="*/ 585526 h 3811169"/>
              <a:gd name="connsiteX7" fmla="*/ 2154403 w 2772385"/>
              <a:gd name="connsiteY7" fmla="*/ 708942 h 3811169"/>
              <a:gd name="connsiteX8" fmla="*/ 2025378 w 2772385"/>
              <a:gd name="connsiteY8" fmla="*/ 753820 h 3811169"/>
              <a:gd name="connsiteX9" fmla="*/ 1991719 w 2772385"/>
              <a:gd name="connsiteY9" fmla="*/ 821138 h 3811169"/>
              <a:gd name="connsiteX10" fmla="*/ 1991719 w 2772385"/>
              <a:gd name="connsiteY10" fmla="*/ 708942 h 3811169"/>
              <a:gd name="connsiteX11" fmla="*/ 1941230 w 2772385"/>
              <a:gd name="connsiteY11" fmla="*/ 669673 h 3811169"/>
              <a:gd name="connsiteX12" fmla="*/ 1778546 w 2772385"/>
              <a:gd name="connsiteY12" fmla="*/ 770649 h 3811169"/>
              <a:gd name="connsiteX13" fmla="*/ 1397078 w 2772385"/>
              <a:gd name="connsiteY13" fmla="*/ 579916 h 3811169"/>
              <a:gd name="connsiteX14" fmla="*/ 1660739 w 2772385"/>
              <a:gd name="connsiteY14" fmla="*/ 1129678 h 3811169"/>
              <a:gd name="connsiteX15" fmla="*/ 1795375 w 2772385"/>
              <a:gd name="connsiteY15" fmla="*/ 1225045 h 3811169"/>
              <a:gd name="connsiteX16" fmla="*/ 1643910 w 2772385"/>
              <a:gd name="connsiteY16" fmla="*/ 1449437 h 3811169"/>
              <a:gd name="connsiteX17" fmla="*/ 1722448 w 2772385"/>
              <a:gd name="connsiteY17" fmla="*/ 1668220 h 3811169"/>
              <a:gd name="connsiteX18" fmla="*/ 1812205 w 2772385"/>
              <a:gd name="connsiteY18" fmla="*/ 1662611 h 3811169"/>
              <a:gd name="connsiteX19" fmla="*/ 1621470 w 2772385"/>
              <a:gd name="connsiteY19" fmla="*/ 1858954 h 3811169"/>
              <a:gd name="connsiteX20" fmla="*/ 909024 w 2772385"/>
              <a:gd name="connsiteY20" fmla="*/ 1578463 h 3811169"/>
              <a:gd name="connsiteX21" fmla="*/ 454629 w 2772385"/>
              <a:gd name="connsiteY21" fmla="*/ 2605060 h 3811169"/>
              <a:gd name="connsiteX22" fmla="*/ 258286 w 2772385"/>
              <a:gd name="connsiteY22" fmla="*/ 2812623 h 3811169"/>
              <a:gd name="connsiteX23" fmla="*/ 39503 w 2772385"/>
              <a:gd name="connsiteY23" fmla="*/ 2857501 h 3811169"/>
              <a:gd name="connsiteX24" fmla="*/ 28282 w 2772385"/>
              <a:gd name="connsiteY24" fmla="*/ 2975307 h 3811169"/>
              <a:gd name="connsiteX25" fmla="*/ 258285 w 2772385"/>
              <a:gd name="connsiteY25" fmla="*/ 3087504 h 3811169"/>
              <a:gd name="connsiteX26" fmla="*/ 527559 w 2772385"/>
              <a:gd name="connsiteY26" fmla="*/ 2986527 h 3811169"/>
              <a:gd name="connsiteX27" fmla="*/ 488288 w 2772385"/>
              <a:gd name="connsiteY27" fmla="*/ 3154821 h 3811169"/>
              <a:gd name="connsiteX28" fmla="*/ 561215 w 2772385"/>
              <a:gd name="connsiteY28" fmla="*/ 3194090 h 3811169"/>
              <a:gd name="connsiteX29" fmla="*/ 381702 w 2772385"/>
              <a:gd name="connsiteY29" fmla="*/ 3592387 h 3811169"/>
              <a:gd name="connsiteX30" fmla="*/ 213408 w 2772385"/>
              <a:gd name="connsiteY30" fmla="*/ 3698973 h 3811169"/>
              <a:gd name="connsiteX31" fmla="*/ 280726 w 2772385"/>
              <a:gd name="connsiteY31" fmla="*/ 3811169 h 3811169"/>
              <a:gd name="connsiteX32" fmla="*/ 477068 w 2772385"/>
              <a:gd name="connsiteY32" fmla="*/ 3771902 h 3811169"/>
              <a:gd name="connsiteX33" fmla="*/ 622923 w 2772385"/>
              <a:gd name="connsiteY33" fmla="*/ 3547509 h 3811169"/>
              <a:gd name="connsiteX34" fmla="*/ 662193 w 2772385"/>
              <a:gd name="connsiteY34" fmla="*/ 3743852 h 3811169"/>
              <a:gd name="connsiteX35" fmla="*/ 735121 w 2772385"/>
              <a:gd name="connsiteY35" fmla="*/ 3732634 h 3811169"/>
              <a:gd name="connsiteX36" fmla="*/ 774389 w 2772385"/>
              <a:gd name="connsiteY36" fmla="*/ 3474581 h 3811169"/>
              <a:gd name="connsiteX37" fmla="*/ 695851 w 2772385"/>
              <a:gd name="connsiteY37" fmla="*/ 3238969 h 3811169"/>
              <a:gd name="connsiteX38" fmla="*/ 897805 w 2772385"/>
              <a:gd name="connsiteY38" fmla="*/ 2627499 h 3811169"/>
              <a:gd name="connsiteX39" fmla="*/ 1161466 w 2772385"/>
              <a:gd name="connsiteY39" fmla="*/ 2520912 h 3811169"/>
              <a:gd name="connsiteX40" fmla="*/ 1492445 w 2772385"/>
              <a:gd name="connsiteY40" fmla="*/ 2638718 h 3811169"/>
              <a:gd name="connsiteX41" fmla="*/ 1587812 w 2772385"/>
              <a:gd name="connsiteY41" fmla="*/ 2627499 h 3811169"/>
              <a:gd name="connsiteX42" fmla="*/ 1643910 w 2772385"/>
              <a:gd name="connsiteY42" fmla="*/ 2728476 h 3811169"/>
              <a:gd name="connsiteX43" fmla="*/ 1795375 w 2772385"/>
              <a:gd name="connsiteY43" fmla="*/ 2762134 h 3811169"/>
              <a:gd name="connsiteX44" fmla="*/ 1795375 w 2772385"/>
              <a:gd name="connsiteY44" fmla="*/ 2812623 h 3811169"/>
              <a:gd name="connsiteX45" fmla="*/ 1750497 w 2772385"/>
              <a:gd name="connsiteY45" fmla="*/ 3008967 h 3811169"/>
              <a:gd name="connsiteX46" fmla="*/ 1744887 w 2772385"/>
              <a:gd name="connsiteY46" fmla="*/ 3323116 h 3811169"/>
              <a:gd name="connsiteX47" fmla="*/ 1537324 w 2772385"/>
              <a:gd name="connsiteY47" fmla="*/ 3345555 h 3811169"/>
              <a:gd name="connsiteX48" fmla="*/ 1200735 w 2772385"/>
              <a:gd name="connsiteY48" fmla="*/ 3396044 h 3811169"/>
              <a:gd name="connsiteX49" fmla="*/ 1172686 w 2772385"/>
              <a:gd name="connsiteY49" fmla="*/ 3468971 h 3811169"/>
              <a:gd name="connsiteX50" fmla="*/ 1110978 w 2772385"/>
              <a:gd name="connsiteY50" fmla="*/ 3497020 h 3811169"/>
              <a:gd name="connsiteX51" fmla="*/ 1139027 w 2772385"/>
              <a:gd name="connsiteY51" fmla="*/ 3631656 h 3811169"/>
              <a:gd name="connsiteX52" fmla="*/ 1279272 w 2772385"/>
              <a:gd name="connsiteY52" fmla="*/ 3637266 h 3811169"/>
              <a:gd name="connsiteX53" fmla="*/ 1273662 w 2772385"/>
              <a:gd name="connsiteY53" fmla="*/ 3485801 h 3811169"/>
              <a:gd name="connsiteX54" fmla="*/ 1453176 w 2772385"/>
              <a:gd name="connsiteY54" fmla="*/ 3497020 h 3811169"/>
              <a:gd name="connsiteX55" fmla="*/ 1425127 w 2772385"/>
              <a:gd name="connsiteY55" fmla="*/ 3575558 h 3811169"/>
              <a:gd name="connsiteX56" fmla="*/ 1397078 w 2772385"/>
              <a:gd name="connsiteY56" fmla="*/ 3637266 h 3811169"/>
              <a:gd name="connsiteX57" fmla="*/ 1312931 w 2772385"/>
              <a:gd name="connsiteY57" fmla="*/ 3654095 h 3811169"/>
              <a:gd name="connsiteX58" fmla="*/ 1447567 w 2772385"/>
              <a:gd name="connsiteY58" fmla="*/ 3777511 h 3811169"/>
              <a:gd name="connsiteX59" fmla="*/ 1514884 w 2772385"/>
              <a:gd name="connsiteY59" fmla="*/ 3642876 h 3811169"/>
              <a:gd name="connsiteX60" fmla="*/ 1817814 w 2772385"/>
              <a:gd name="connsiteY60" fmla="*/ 3541899 h 3811169"/>
              <a:gd name="connsiteX61" fmla="*/ 2154403 w 2772385"/>
              <a:gd name="connsiteY61" fmla="*/ 3614826 h 3811169"/>
              <a:gd name="connsiteX62" fmla="*/ 2109525 w 2772385"/>
              <a:gd name="connsiteY62" fmla="*/ 3715803 h 3811169"/>
              <a:gd name="connsiteX63" fmla="*/ 2204892 w 2772385"/>
              <a:gd name="connsiteY63" fmla="*/ 3783121 h 3811169"/>
              <a:gd name="connsiteX64" fmla="*/ 2277819 w 2772385"/>
              <a:gd name="connsiteY64" fmla="*/ 3732633 h 3811169"/>
              <a:gd name="connsiteX65" fmla="*/ 2266600 w 2772385"/>
              <a:gd name="connsiteY65" fmla="*/ 3637266 h 3811169"/>
              <a:gd name="connsiteX66" fmla="*/ 2446114 w 2772385"/>
              <a:gd name="connsiteY66" fmla="*/ 3558728 h 3811169"/>
              <a:gd name="connsiteX67" fmla="*/ 2429284 w 2772385"/>
              <a:gd name="connsiteY67" fmla="*/ 3384824 h 3811169"/>
              <a:gd name="connsiteX68" fmla="*/ 1924401 w 2772385"/>
              <a:gd name="connsiteY68" fmla="*/ 3356775 h 3811169"/>
              <a:gd name="connsiteX69" fmla="*/ 1913181 w 2772385"/>
              <a:gd name="connsiteY69" fmla="*/ 3031406 h 3811169"/>
              <a:gd name="connsiteX70" fmla="*/ 1907571 w 2772385"/>
              <a:gd name="connsiteY70" fmla="*/ 3014576 h 3811169"/>
              <a:gd name="connsiteX71" fmla="*/ 1901962 w 2772385"/>
              <a:gd name="connsiteY71" fmla="*/ 2835062 h 3811169"/>
              <a:gd name="connsiteX72" fmla="*/ 1857083 w 2772385"/>
              <a:gd name="connsiteY72" fmla="*/ 2773354 h 3811169"/>
              <a:gd name="connsiteX73" fmla="*/ 2047817 w 2772385"/>
              <a:gd name="connsiteY73" fmla="*/ 2717256 h 3811169"/>
              <a:gd name="connsiteX74" fmla="*/ 2081476 w 2772385"/>
              <a:gd name="connsiteY74" fmla="*/ 2610669 h 3811169"/>
              <a:gd name="connsiteX75" fmla="*/ 2367576 w 2772385"/>
              <a:gd name="connsiteY75" fmla="*/ 2621889 h 3811169"/>
              <a:gd name="connsiteX76" fmla="*/ 2591969 w 2772385"/>
              <a:gd name="connsiteY76" fmla="*/ 2032858 h 3811169"/>
              <a:gd name="connsiteX77" fmla="*/ 2547090 w 2772385"/>
              <a:gd name="connsiteY77" fmla="*/ 1948711 h 3811169"/>
              <a:gd name="connsiteX78" fmla="*/ 2692946 w 2772385"/>
              <a:gd name="connsiteY78" fmla="*/ 1460657 h 3811169"/>
              <a:gd name="connsiteX79" fmla="*/ 2636848 w 2772385"/>
              <a:gd name="connsiteY79" fmla="*/ 1354071 h 3811169"/>
              <a:gd name="connsiteX80" fmla="*/ 2479772 w 2772385"/>
              <a:gd name="connsiteY80" fmla="*/ 798699 h 3811169"/>
              <a:gd name="connsiteX81" fmla="*/ 2737825 w 2772385"/>
              <a:gd name="connsiteY81" fmla="*/ 675283 h 3811169"/>
              <a:gd name="connsiteX82" fmla="*/ 2709775 w 2772385"/>
              <a:gd name="connsiteY82" fmla="*/ 434061 h 3811169"/>
              <a:gd name="connsiteX83" fmla="*/ 2625628 w 2772385"/>
              <a:gd name="connsiteY83" fmla="*/ 86253 h 3811169"/>
              <a:gd name="connsiteX0" fmla="*/ 2625628 w 2772385"/>
              <a:gd name="connsiteY0" fmla="*/ 86253 h 3811169"/>
              <a:gd name="connsiteX1" fmla="*/ 2429284 w 2772385"/>
              <a:gd name="connsiteY1" fmla="*/ 2105 h 3811169"/>
              <a:gd name="connsiteX2" fmla="*/ 2188062 w 2772385"/>
              <a:gd name="connsiteY2" fmla="*/ 159180 h 3811169"/>
              <a:gd name="connsiteX3" fmla="*/ 2087086 w 2772385"/>
              <a:gd name="connsiteY3" fmla="*/ 198449 h 3811169"/>
              <a:gd name="connsiteX4" fmla="*/ 2137574 w 2772385"/>
              <a:gd name="connsiteY4" fmla="*/ 288206 h 3811169"/>
              <a:gd name="connsiteX5" fmla="*/ 2025378 w 2772385"/>
              <a:gd name="connsiteY5" fmla="*/ 450890 h 3811169"/>
              <a:gd name="connsiteX6" fmla="*/ 2131966 w 2772385"/>
              <a:gd name="connsiteY6" fmla="*/ 585526 h 3811169"/>
              <a:gd name="connsiteX7" fmla="*/ 2154403 w 2772385"/>
              <a:gd name="connsiteY7" fmla="*/ 708942 h 3811169"/>
              <a:gd name="connsiteX8" fmla="*/ 2025378 w 2772385"/>
              <a:gd name="connsiteY8" fmla="*/ 753820 h 3811169"/>
              <a:gd name="connsiteX9" fmla="*/ 1991719 w 2772385"/>
              <a:gd name="connsiteY9" fmla="*/ 821138 h 3811169"/>
              <a:gd name="connsiteX10" fmla="*/ 1991719 w 2772385"/>
              <a:gd name="connsiteY10" fmla="*/ 708942 h 3811169"/>
              <a:gd name="connsiteX11" fmla="*/ 1941230 w 2772385"/>
              <a:gd name="connsiteY11" fmla="*/ 669673 h 3811169"/>
              <a:gd name="connsiteX12" fmla="*/ 1778546 w 2772385"/>
              <a:gd name="connsiteY12" fmla="*/ 770649 h 3811169"/>
              <a:gd name="connsiteX13" fmla="*/ 1397078 w 2772385"/>
              <a:gd name="connsiteY13" fmla="*/ 579916 h 3811169"/>
              <a:gd name="connsiteX14" fmla="*/ 1660739 w 2772385"/>
              <a:gd name="connsiteY14" fmla="*/ 1129678 h 3811169"/>
              <a:gd name="connsiteX15" fmla="*/ 1795375 w 2772385"/>
              <a:gd name="connsiteY15" fmla="*/ 1225045 h 3811169"/>
              <a:gd name="connsiteX16" fmla="*/ 1643910 w 2772385"/>
              <a:gd name="connsiteY16" fmla="*/ 1449437 h 3811169"/>
              <a:gd name="connsiteX17" fmla="*/ 1722448 w 2772385"/>
              <a:gd name="connsiteY17" fmla="*/ 1668220 h 3811169"/>
              <a:gd name="connsiteX18" fmla="*/ 1812205 w 2772385"/>
              <a:gd name="connsiteY18" fmla="*/ 1662611 h 3811169"/>
              <a:gd name="connsiteX19" fmla="*/ 1621470 w 2772385"/>
              <a:gd name="connsiteY19" fmla="*/ 1858954 h 3811169"/>
              <a:gd name="connsiteX20" fmla="*/ 909024 w 2772385"/>
              <a:gd name="connsiteY20" fmla="*/ 1578463 h 3811169"/>
              <a:gd name="connsiteX21" fmla="*/ 454629 w 2772385"/>
              <a:gd name="connsiteY21" fmla="*/ 2605060 h 3811169"/>
              <a:gd name="connsiteX22" fmla="*/ 258286 w 2772385"/>
              <a:gd name="connsiteY22" fmla="*/ 2812623 h 3811169"/>
              <a:gd name="connsiteX23" fmla="*/ 39503 w 2772385"/>
              <a:gd name="connsiteY23" fmla="*/ 2857501 h 3811169"/>
              <a:gd name="connsiteX24" fmla="*/ 28282 w 2772385"/>
              <a:gd name="connsiteY24" fmla="*/ 2975307 h 3811169"/>
              <a:gd name="connsiteX25" fmla="*/ 258285 w 2772385"/>
              <a:gd name="connsiteY25" fmla="*/ 3087504 h 3811169"/>
              <a:gd name="connsiteX26" fmla="*/ 527559 w 2772385"/>
              <a:gd name="connsiteY26" fmla="*/ 2986527 h 3811169"/>
              <a:gd name="connsiteX27" fmla="*/ 488288 w 2772385"/>
              <a:gd name="connsiteY27" fmla="*/ 3154821 h 3811169"/>
              <a:gd name="connsiteX28" fmla="*/ 561215 w 2772385"/>
              <a:gd name="connsiteY28" fmla="*/ 3194090 h 3811169"/>
              <a:gd name="connsiteX29" fmla="*/ 381702 w 2772385"/>
              <a:gd name="connsiteY29" fmla="*/ 3592387 h 3811169"/>
              <a:gd name="connsiteX30" fmla="*/ 213408 w 2772385"/>
              <a:gd name="connsiteY30" fmla="*/ 3698973 h 3811169"/>
              <a:gd name="connsiteX31" fmla="*/ 280726 w 2772385"/>
              <a:gd name="connsiteY31" fmla="*/ 3811169 h 3811169"/>
              <a:gd name="connsiteX32" fmla="*/ 477068 w 2772385"/>
              <a:gd name="connsiteY32" fmla="*/ 3771902 h 3811169"/>
              <a:gd name="connsiteX33" fmla="*/ 622923 w 2772385"/>
              <a:gd name="connsiteY33" fmla="*/ 3547509 h 3811169"/>
              <a:gd name="connsiteX34" fmla="*/ 662193 w 2772385"/>
              <a:gd name="connsiteY34" fmla="*/ 3743852 h 3811169"/>
              <a:gd name="connsiteX35" fmla="*/ 735121 w 2772385"/>
              <a:gd name="connsiteY35" fmla="*/ 3732634 h 3811169"/>
              <a:gd name="connsiteX36" fmla="*/ 774389 w 2772385"/>
              <a:gd name="connsiteY36" fmla="*/ 3474581 h 3811169"/>
              <a:gd name="connsiteX37" fmla="*/ 695851 w 2772385"/>
              <a:gd name="connsiteY37" fmla="*/ 3238969 h 3811169"/>
              <a:gd name="connsiteX38" fmla="*/ 897805 w 2772385"/>
              <a:gd name="connsiteY38" fmla="*/ 2627499 h 3811169"/>
              <a:gd name="connsiteX39" fmla="*/ 1161466 w 2772385"/>
              <a:gd name="connsiteY39" fmla="*/ 2520912 h 3811169"/>
              <a:gd name="connsiteX40" fmla="*/ 1492445 w 2772385"/>
              <a:gd name="connsiteY40" fmla="*/ 2638718 h 3811169"/>
              <a:gd name="connsiteX41" fmla="*/ 1587812 w 2772385"/>
              <a:gd name="connsiteY41" fmla="*/ 2627499 h 3811169"/>
              <a:gd name="connsiteX42" fmla="*/ 1643910 w 2772385"/>
              <a:gd name="connsiteY42" fmla="*/ 2728476 h 3811169"/>
              <a:gd name="connsiteX43" fmla="*/ 1795375 w 2772385"/>
              <a:gd name="connsiteY43" fmla="*/ 2762134 h 3811169"/>
              <a:gd name="connsiteX44" fmla="*/ 1795375 w 2772385"/>
              <a:gd name="connsiteY44" fmla="*/ 2812623 h 3811169"/>
              <a:gd name="connsiteX45" fmla="*/ 1750497 w 2772385"/>
              <a:gd name="connsiteY45" fmla="*/ 3008967 h 3811169"/>
              <a:gd name="connsiteX46" fmla="*/ 1711228 w 2772385"/>
              <a:gd name="connsiteY46" fmla="*/ 3328726 h 3811169"/>
              <a:gd name="connsiteX47" fmla="*/ 1537324 w 2772385"/>
              <a:gd name="connsiteY47" fmla="*/ 3345555 h 3811169"/>
              <a:gd name="connsiteX48" fmla="*/ 1200735 w 2772385"/>
              <a:gd name="connsiteY48" fmla="*/ 3396044 h 3811169"/>
              <a:gd name="connsiteX49" fmla="*/ 1172686 w 2772385"/>
              <a:gd name="connsiteY49" fmla="*/ 3468971 h 3811169"/>
              <a:gd name="connsiteX50" fmla="*/ 1110978 w 2772385"/>
              <a:gd name="connsiteY50" fmla="*/ 3497020 h 3811169"/>
              <a:gd name="connsiteX51" fmla="*/ 1139027 w 2772385"/>
              <a:gd name="connsiteY51" fmla="*/ 3631656 h 3811169"/>
              <a:gd name="connsiteX52" fmla="*/ 1279272 w 2772385"/>
              <a:gd name="connsiteY52" fmla="*/ 3637266 h 3811169"/>
              <a:gd name="connsiteX53" fmla="*/ 1273662 w 2772385"/>
              <a:gd name="connsiteY53" fmla="*/ 3485801 h 3811169"/>
              <a:gd name="connsiteX54" fmla="*/ 1453176 w 2772385"/>
              <a:gd name="connsiteY54" fmla="*/ 3497020 h 3811169"/>
              <a:gd name="connsiteX55" fmla="*/ 1425127 w 2772385"/>
              <a:gd name="connsiteY55" fmla="*/ 3575558 h 3811169"/>
              <a:gd name="connsiteX56" fmla="*/ 1397078 w 2772385"/>
              <a:gd name="connsiteY56" fmla="*/ 3637266 h 3811169"/>
              <a:gd name="connsiteX57" fmla="*/ 1312931 w 2772385"/>
              <a:gd name="connsiteY57" fmla="*/ 3654095 h 3811169"/>
              <a:gd name="connsiteX58" fmla="*/ 1447567 w 2772385"/>
              <a:gd name="connsiteY58" fmla="*/ 3777511 h 3811169"/>
              <a:gd name="connsiteX59" fmla="*/ 1514884 w 2772385"/>
              <a:gd name="connsiteY59" fmla="*/ 3642876 h 3811169"/>
              <a:gd name="connsiteX60" fmla="*/ 1817814 w 2772385"/>
              <a:gd name="connsiteY60" fmla="*/ 3541899 h 3811169"/>
              <a:gd name="connsiteX61" fmla="*/ 2154403 w 2772385"/>
              <a:gd name="connsiteY61" fmla="*/ 3614826 h 3811169"/>
              <a:gd name="connsiteX62" fmla="*/ 2109525 w 2772385"/>
              <a:gd name="connsiteY62" fmla="*/ 3715803 h 3811169"/>
              <a:gd name="connsiteX63" fmla="*/ 2204892 w 2772385"/>
              <a:gd name="connsiteY63" fmla="*/ 3783121 h 3811169"/>
              <a:gd name="connsiteX64" fmla="*/ 2277819 w 2772385"/>
              <a:gd name="connsiteY64" fmla="*/ 3732633 h 3811169"/>
              <a:gd name="connsiteX65" fmla="*/ 2266600 w 2772385"/>
              <a:gd name="connsiteY65" fmla="*/ 3637266 h 3811169"/>
              <a:gd name="connsiteX66" fmla="*/ 2446114 w 2772385"/>
              <a:gd name="connsiteY66" fmla="*/ 3558728 h 3811169"/>
              <a:gd name="connsiteX67" fmla="*/ 2429284 w 2772385"/>
              <a:gd name="connsiteY67" fmla="*/ 3384824 h 3811169"/>
              <a:gd name="connsiteX68" fmla="*/ 1924401 w 2772385"/>
              <a:gd name="connsiteY68" fmla="*/ 3356775 h 3811169"/>
              <a:gd name="connsiteX69" fmla="*/ 1913181 w 2772385"/>
              <a:gd name="connsiteY69" fmla="*/ 3031406 h 3811169"/>
              <a:gd name="connsiteX70" fmla="*/ 1907571 w 2772385"/>
              <a:gd name="connsiteY70" fmla="*/ 3014576 h 3811169"/>
              <a:gd name="connsiteX71" fmla="*/ 1901962 w 2772385"/>
              <a:gd name="connsiteY71" fmla="*/ 2835062 h 3811169"/>
              <a:gd name="connsiteX72" fmla="*/ 1857083 w 2772385"/>
              <a:gd name="connsiteY72" fmla="*/ 2773354 h 3811169"/>
              <a:gd name="connsiteX73" fmla="*/ 2047817 w 2772385"/>
              <a:gd name="connsiteY73" fmla="*/ 2717256 h 3811169"/>
              <a:gd name="connsiteX74" fmla="*/ 2081476 w 2772385"/>
              <a:gd name="connsiteY74" fmla="*/ 2610669 h 3811169"/>
              <a:gd name="connsiteX75" fmla="*/ 2367576 w 2772385"/>
              <a:gd name="connsiteY75" fmla="*/ 2621889 h 3811169"/>
              <a:gd name="connsiteX76" fmla="*/ 2591969 w 2772385"/>
              <a:gd name="connsiteY76" fmla="*/ 2032858 h 3811169"/>
              <a:gd name="connsiteX77" fmla="*/ 2547090 w 2772385"/>
              <a:gd name="connsiteY77" fmla="*/ 1948711 h 3811169"/>
              <a:gd name="connsiteX78" fmla="*/ 2692946 w 2772385"/>
              <a:gd name="connsiteY78" fmla="*/ 1460657 h 3811169"/>
              <a:gd name="connsiteX79" fmla="*/ 2636848 w 2772385"/>
              <a:gd name="connsiteY79" fmla="*/ 1354071 h 3811169"/>
              <a:gd name="connsiteX80" fmla="*/ 2479772 w 2772385"/>
              <a:gd name="connsiteY80" fmla="*/ 798699 h 3811169"/>
              <a:gd name="connsiteX81" fmla="*/ 2737825 w 2772385"/>
              <a:gd name="connsiteY81" fmla="*/ 675283 h 3811169"/>
              <a:gd name="connsiteX82" fmla="*/ 2709775 w 2772385"/>
              <a:gd name="connsiteY82" fmla="*/ 434061 h 3811169"/>
              <a:gd name="connsiteX83" fmla="*/ 2625628 w 2772385"/>
              <a:gd name="connsiteY83" fmla="*/ 86253 h 3811169"/>
              <a:gd name="connsiteX0" fmla="*/ 2625628 w 2772385"/>
              <a:gd name="connsiteY0" fmla="*/ 86253 h 3811169"/>
              <a:gd name="connsiteX1" fmla="*/ 2429284 w 2772385"/>
              <a:gd name="connsiteY1" fmla="*/ 2105 h 3811169"/>
              <a:gd name="connsiteX2" fmla="*/ 2188062 w 2772385"/>
              <a:gd name="connsiteY2" fmla="*/ 159180 h 3811169"/>
              <a:gd name="connsiteX3" fmla="*/ 2087086 w 2772385"/>
              <a:gd name="connsiteY3" fmla="*/ 198449 h 3811169"/>
              <a:gd name="connsiteX4" fmla="*/ 2137574 w 2772385"/>
              <a:gd name="connsiteY4" fmla="*/ 288206 h 3811169"/>
              <a:gd name="connsiteX5" fmla="*/ 2025378 w 2772385"/>
              <a:gd name="connsiteY5" fmla="*/ 450890 h 3811169"/>
              <a:gd name="connsiteX6" fmla="*/ 2131966 w 2772385"/>
              <a:gd name="connsiteY6" fmla="*/ 585526 h 3811169"/>
              <a:gd name="connsiteX7" fmla="*/ 2154403 w 2772385"/>
              <a:gd name="connsiteY7" fmla="*/ 708942 h 3811169"/>
              <a:gd name="connsiteX8" fmla="*/ 2025378 w 2772385"/>
              <a:gd name="connsiteY8" fmla="*/ 753820 h 3811169"/>
              <a:gd name="connsiteX9" fmla="*/ 1991719 w 2772385"/>
              <a:gd name="connsiteY9" fmla="*/ 821138 h 3811169"/>
              <a:gd name="connsiteX10" fmla="*/ 1991719 w 2772385"/>
              <a:gd name="connsiteY10" fmla="*/ 708942 h 3811169"/>
              <a:gd name="connsiteX11" fmla="*/ 1941230 w 2772385"/>
              <a:gd name="connsiteY11" fmla="*/ 669673 h 3811169"/>
              <a:gd name="connsiteX12" fmla="*/ 1778546 w 2772385"/>
              <a:gd name="connsiteY12" fmla="*/ 770649 h 3811169"/>
              <a:gd name="connsiteX13" fmla="*/ 1397078 w 2772385"/>
              <a:gd name="connsiteY13" fmla="*/ 579916 h 3811169"/>
              <a:gd name="connsiteX14" fmla="*/ 1660739 w 2772385"/>
              <a:gd name="connsiteY14" fmla="*/ 1129678 h 3811169"/>
              <a:gd name="connsiteX15" fmla="*/ 1795375 w 2772385"/>
              <a:gd name="connsiteY15" fmla="*/ 1225045 h 3811169"/>
              <a:gd name="connsiteX16" fmla="*/ 1643910 w 2772385"/>
              <a:gd name="connsiteY16" fmla="*/ 1449437 h 3811169"/>
              <a:gd name="connsiteX17" fmla="*/ 1722448 w 2772385"/>
              <a:gd name="connsiteY17" fmla="*/ 1668220 h 3811169"/>
              <a:gd name="connsiteX18" fmla="*/ 1812205 w 2772385"/>
              <a:gd name="connsiteY18" fmla="*/ 1662611 h 3811169"/>
              <a:gd name="connsiteX19" fmla="*/ 1621470 w 2772385"/>
              <a:gd name="connsiteY19" fmla="*/ 1858954 h 3811169"/>
              <a:gd name="connsiteX20" fmla="*/ 909024 w 2772385"/>
              <a:gd name="connsiteY20" fmla="*/ 1578463 h 3811169"/>
              <a:gd name="connsiteX21" fmla="*/ 454629 w 2772385"/>
              <a:gd name="connsiteY21" fmla="*/ 2605060 h 3811169"/>
              <a:gd name="connsiteX22" fmla="*/ 258286 w 2772385"/>
              <a:gd name="connsiteY22" fmla="*/ 2812623 h 3811169"/>
              <a:gd name="connsiteX23" fmla="*/ 39503 w 2772385"/>
              <a:gd name="connsiteY23" fmla="*/ 2857501 h 3811169"/>
              <a:gd name="connsiteX24" fmla="*/ 28282 w 2772385"/>
              <a:gd name="connsiteY24" fmla="*/ 2975307 h 3811169"/>
              <a:gd name="connsiteX25" fmla="*/ 258285 w 2772385"/>
              <a:gd name="connsiteY25" fmla="*/ 3087504 h 3811169"/>
              <a:gd name="connsiteX26" fmla="*/ 527559 w 2772385"/>
              <a:gd name="connsiteY26" fmla="*/ 2986527 h 3811169"/>
              <a:gd name="connsiteX27" fmla="*/ 488288 w 2772385"/>
              <a:gd name="connsiteY27" fmla="*/ 3154821 h 3811169"/>
              <a:gd name="connsiteX28" fmla="*/ 561215 w 2772385"/>
              <a:gd name="connsiteY28" fmla="*/ 3194090 h 3811169"/>
              <a:gd name="connsiteX29" fmla="*/ 381702 w 2772385"/>
              <a:gd name="connsiteY29" fmla="*/ 3592387 h 3811169"/>
              <a:gd name="connsiteX30" fmla="*/ 213408 w 2772385"/>
              <a:gd name="connsiteY30" fmla="*/ 3698973 h 3811169"/>
              <a:gd name="connsiteX31" fmla="*/ 280726 w 2772385"/>
              <a:gd name="connsiteY31" fmla="*/ 3811169 h 3811169"/>
              <a:gd name="connsiteX32" fmla="*/ 477068 w 2772385"/>
              <a:gd name="connsiteY32" fmla="*/ 3771902 h 3811169"/>
              <a:gd name="connsiteX33" fmla="*/ 622923 w 2772385"/>
              <a:gd name="connsiteY33" fmla="*/ 3547509 h 3811169"/>
              <a:gd name="connsiteX34" fmla="*/ 662193 w 2772385"/>
              <a:gd name="connsiteY34" fmla="*/ 3743852 h 3811169"/>
              <a:gd name="connsiteX35" fmla="*/ 735121 w 2772385"/>
              <a:gd name="connsiteY35" fmla="*/ 3732634 h 3811169"/>
              <a:gd name="connsiteX36" fmla="*/ 774389 w 2772385"/>
              <a:gd name="connsiteY36" fmla="*/ 3474581 h 3811169"/>
              <a:gd name="connsiteX37" fmla="*/ 695851 w 2772385"/>
              <a:gd name="connsiteY37" fmla="*/ 3238969 h 3811169"/>
              <a:gd name="connsiteX38" fmla="*/ 897805 w 2772385"/>
              <a:gd name="connsiteY38" fmla="*/ 2627499 h 3811169"/>
              <a:gd name="connsiteX39" fmla="*/ 1161466 w 2772385"/>
              <a:gd name="connsiteY39" fmla="*/ 2520912 h 3811169"/>
              <a:gd name="connsiteX40" fmla="*/ 1492445 w 2772385"/>
              <a:gd name="connsiteY40" fmla="*/ 2638718 h 3811169"/>
              <a:gd name="connsiteX41" fmla="*/ 1587812 w 2772385"/>
              <a:gd name="connsiteY41" fmla="*/ 2627499 h 3811169"/>
              <a:gd name="connsiteX42" fmla="*/ 1643910 w 2772385"/>
              <a:gd name="connsiteY42" fmla="*/ 2728476 h 3811169"/>
              <a:gd name="connsiteX43" fmla="*/ 1795375 w 2772385"/>
              <a:gd name="connsiteY43" fmla="*/ 2762134 h 3811169"/>
              <a:gd name="connsiteX44" fmla="*/ 1795375 w 2772385"/>
              <a:gd name="connsiteY44" fmla="*/ 2812623 h 3811169"/>
              <a:gd name="connsiteX45" fmla="*/ 1750497 w 2772385"/>
              <a:gd name="connsiteY45" fmla="*/ 3008967 h 3811169"/>
              <a:gd name="connsiteX46" fmla="*/ 1711228 w 2772385"/>
              <a:gd name="connsiteY46" fmla="*/ 3328726 h 3811169"/>
              <a:gd name="connsiteX47" fmla="*/ 1537324 w 2772385"/>
              <a:gd name="connsiteY47" fmla="*/ 3345555 h 3811169"/>
              <a:gd name="connsiteX48" fmla="*/ 1200735 w 2772385"/>
              <a:gd name="connsiteY48" fmla="*/ 3396044 h 3811169"/>
              <a:gd name="connsiteX49" fmla="*/ 1172686 w 2772385"/>
              <a:gd name="connsiteY49" fmla="*/ 3468971 h 3811169"/>
              <a:gd name="connsiteX50" fmla="*/ 1110978 w 2772385"/>
              <a:gd name="connsiteY50" fmla="*/ 3497020 h 3811169"/>
              <a:gd name="connsiteX51" fmla="*/ 1139027 w 2772385"/>
              <a:gd name="connsiteY51" fmla="*/ 3631656 h 3811169"/>
              <a:gd name="connsiteX52" fmla="*/ 1279272 w 2772385"/>
              <a:gd name="connsiteY52" fmla="*/ 3637266 h 3811169"/>
              <a:gd name="connsiteX53" fmla="*/ 1273662 w 2772385"/>
              <a:gd name="connsiteY53" fmla="*/ 3485801 h 3811169"/>
              <a:gd name="connsiteX54" fmla="*/ 1453176 w 2772385"/>
              <a:gd name="connsiteY54" fmla="*/ 3497020 h 3811169"/>
              <a:gd name="connsiteX55" fmla="*/ 1425127 w 2772385"/>
              <a:gd name="connsiteY55" fmla="*/ 3575558 h 3811169"/>
              <a:gd name="connsiteX56" fmla="*/ 1397078 w 2772385"/>
              <a:gd name="connsiteY56" fmla="*/ 3637266 h 3811169"/>
              <a:gd name="connsiteX57" fmla="*/ 1312931 w 2772385"/>
              <a:gd name="connsiteY57" fmla="*/ 3654095 h 3811169"/>
              <a:gd name="connsiteX58" fmla="*/ 1447567 w 2772385"/>
              <a:gd name="connsiteY58" fmla="*/ 3777511 h 3811169"/>
              <a:gd name="connsiteX59" fmla="*/ 1514884 w 2772385"/>
              <a:gd name="connsiteY59" fmla="*/ 3642876 h 3811169"/>
              <a:gd name="connsiteX60" fmla="*/ 1817814 w 2772385"/>
              <a:gd name="connsiteY60" fmla="*/ 3541899 h 3811169"/>
              <a:gd name="connsiteX61" fmla="*/ 2154403 w 2772385"/>
              <a:gd name="connsiteY61" fmla="*/ 3614826 h 3811169"/>
              <a:gd name="connsiteX62" fmla="*/ 2109525 w 2772385"/>
              <a:gd name="connsiteY62" fmla="*/ 3715803 h 3811169"/>
              <a:gd name="connsiteX63" fmla="*/ 2204892 w 2772385"/>
              <a:gd name="connsiteY63" fmla="*/ 3783121 h 3811169"/>
              <a:gd name="connsiteX64" fmla="*/ 2277819 w 2772385"/>
              <a:gd name="connsiteY64" fmla="*/ 3732633 h 3811169"/>
              <a:gd name="connsiteX65" fmla="*/ 2266600 w 2772385"/>
              <a:gd name="connsiteY65" fmla="*/ 3637266 h 3811169"/>
              <a:gd name="connsiteX66" fmla="*/ 2446114 w 2772385"/>
              <a:gd name="connsiteY66" fmla="*/ 3558728 h 3811169"/>
              <a:gd name="connsiteX67" fmla="*/ 2429284 w 2772385"/>
              <a:gd name="connsiteY67" fmla="*/ 3384824 h 3811169"/>
              <a:gd name="connsiteX68" fmla="*/ 1907572 w 2772385"/>
              <a:gd name="connsiteY68" fmla="*/ 3345556 h 3811169"/>
              <a:gd name="connsiteX69" fmla="*/ 1913181 w 2772385"/>
              <a:gd name="connsiteY69" fmla="*/ 3031406 h 3811169"/>
              <a:gd name="connsiteX70" fmla="*/ 1907571 w 2772385"/>
              <a:gd name="connsiteY70" fmla="*/ 3014576 h 3811169"/>
              <a:gd name="connsiteX71" fmla="*/ 1901962 w 2772385"/>
              <a:gd name="connsiteY71" fmla="*/ 2835062 h 3811169"/>
              <a:gd name="connsiteX72" fmla="*/ 1857083 w 2772385"/>
              <a:gd name="connsiteY72" fmla="*/ 2773354 h 3811169"/>
              <a:gd name="connsiteX73" fmla="*/ 2047817 w 2772385"/>
              <a:gd name="connsiteY73" fmla="*/ 2717256 h 3811169"/>
              <a:gd name="connsiteX74" fmla="*/ 2081476 w 2772385"/>
              <a:gd name="connsiteY74" fmla="*/ 2610669 h 3811169"/>
              <a:gd name="connsiteX75" fmla="*/ 2367576 w 2772385"/>
              <a:gd name="connsiteY75" fmla="*/ 2621889 h 3811169"/>
              <a:gd name="connsiteX76" fmla="*/ 2591969 w 2772385"/>
              <a:gd name="connsiteY76" fmla="*/ 2032858 h 3811169"/>
              <a:gd name="connsiteX77" fmla="*/ 2547090 w 2772385"/>
              <a:gd name="connsiteY77" fmla="*/ 1948711 h 3811169"/>
              <a:gd name="connsiteX78" fmla="*/ 2692946 w 2772385"/>
              <a:gd name="connsiteY78" fmla="*/ 1460657 h 3811169"/>
              <a:gd name="connsiteX79" fmla="*/ 2636848 w 2772385"/>
              <a:gd name="connsiteY79" fmla="*/ 1354071 h 3811169"/>
              <a:gd name="connsiteX80" fmla="*/ 2479772 w 2772385"/>
              <a:gd name="connsiteY80" fmla="*/ 798699 h 3811169"/>
              <a:gd name="connsiteX81" fmla="*/ 2737825 w 2772385"/>
              <a:gd name="connsiteY81" fmla="*/ 675283 h 3811169"/>
              <a:gd name="connsiteX82" fmla="*/ 2709775 w 2772385"/>
              <a:gd name="connsiteY82" fmla="*/ 434061 h 3811169"/>
              <a:gd name="connsiteX83" fmla="*/ 2625628 w 2772385"/>
              <a:gd name="connsiteY83" fmla="*/ 86253 h 3811169"/>
              <a:gd name="connsiteX0" fmla="*/ 2625628 w 2772385"/>
              <a:gd name="connsiteY0" fmla="*/ 86253 h 3811169"/>
              <a:gd name="connsiteX1" fmla="*/ 2429284 w 2772385"/>
              <a:gd name="connsiteY1" fmla="*/ 2105 h 3811169"/>
              <a:gd name="connsiteX2" fmla="*/ 2188062 w 2772385"/>
              <a:gd name="connsiteY2" fmla="*/ 159180 h 3811169"/>
              <a:gd name="connsiteX3" fmla="*/ 2087086 w 2772385"/>
              <a:gd name="connsiteY3" fmla="*/ 198449 h 3811169"/>
              <a:gd name="connsiteX4" fmla="*/ 2137574 w 2772385"/>
              <a:gd name="connsiteY4" fmla="*/ 288206 h 3811169"/>
              <a:gd name="connsiteX5" fmla="*/ 2025378 w 2772385"/>
              <a:gd name="connsiteY5" fmla="*/ 450890 h 3811169"/>
              <a:gd name="connsiteX6" fmla="*/ 2131966 w 2772385"/>
              <a:gd name="connsiteY6" fmla="*/ 585526 h 3811169"/>
              <a:gd name="connsiteX7" fmla="*/ 2154403 w 2772385"/>
              <a:gd name="connsiteY7" fmla="*/ 708942 h 3811169"/>
              <a:gd name="connsiteX8" fmla="*/ 2025378 w 2772385"/>
              <a:gd name="connsiteY8" fmla="*/ 753820 h 3811169"/>
              <a:gd name="connsiteX9" fmla="*/ 1991719 w 2772385"/>
              <a:gd name="connsiteY9" fmla="*/ 821138 h 3811169"/>
              <a:gd name="connsiteX10" fmla="*/ 1991719 w 2772385"/>
              <a:gd name="connsiteY10" fmla="*/ 708942 h 3811169"/>
              <a:gd name="connsiteX11" fmla="*/ 1941230 w 2772385"/>
              <a:gd name="connsiteY11" fmla="*/ 669673 h 3811169"/>
              <a:gd name="connsiteX12" fmla="*/ 1778546 w 2772385"/>
              <a:gd name="connsiteY12" fmla="*/ 770649 h 3811169"/>
              <a:gd name="connsiteX13" fmla="*/ 1397078 w 2772385"/>
              <a:gd name="connsiteY13" fmla="*/ 579916 h 3811169"/>
              <a:gd name="connsiteX14" fmla="*/ 1660739 w 2772385"/>
              <a:gd name="connsiteY14" fmla="*/ 1129678 h 3811169"/>
              <a:gd name="connsiteX15" fmla="*/ 1795375 w 2772385"/>
              <a:gd name="connsiteY15" fmla="*/ 1225045 h 3811169"/>
              <a:gd name="connsiteX16" fmla="*/ 1643910 w 2772385"/>
              <a:gd name="connsiteY16" fmla="*/ 1449437 h 3811169"/>
              <a:gd name="connsiteX17" fmla="*/ 1722448 w 2772385"/>
              <a:gd name="connsiteY17" fmla="*/ 1668220 h 3811169"/>
              <a:gd name="connsiteX18" fmla="*/ 1812205 w 2772385"/>
              <a:gd name="connsiteY18" fmla="*/ 1662611 h 3811169"/>
              <a:gd name="connsiteX19" fmla="*/ 1621470 w 2772385"/>
              <a:gd name="connsiteY19" fmla="*/ 1858954 h 3811169"/>
              <a:gd name="connsiteX20" fmla="*/ 909024 w 2772385"/>
              <a:gd name="connsiteY20" fmla="*/ 1578463 h 3811169"/>
              <a:gd name="connsiteX21" fmla="*/ 454629 w 2772385"/>
              <a:gd name="connsiteY21" fmla="*/ 2605060 h 3811169"/>
              <a:gd name="connsiteX22" fmla="*/ 258286 w 2772385"/>
              <a:gd name="connsiteY22" fmla="*/ 2812623 h 3811169"/>
              <a:gd name="connsiteX23" fmla="*/ 39503 w 2772385"/>
              <a:gd name="connsiteY23" fmla="*/ 2857501 h 3811169"/>
              <a:gd name="connsiteX24" fmla="*/ 28282 w 2772385"/>
              <a:gd name="connsiteY24" fmla="*/ 2975307 h 3811169"/>
              <a:gd name="connsiteX25" fmla="*/ 258285 w 2772385"/>
              <a:gd name="connsiteY25" fmla="*/ 3087504 h 3811169"/>
              <a:gd name="connsiteX26" fmla="*/ 527559 w 2772385"/>
              <a:gd name="connsiteY26" fmla="*/ 2986527 h 3811169"/>
              <a:gd name="connsiteX27" fmla="*/ 488288 w 2772385"/>
              <a:gd name="connsiteY27" fmla="*/ 3154821 h 3811169"/>
              <a:gd name="connsiteX28" fmla="*/ 561215 w 2772385"/>
              <a:gd name="connsiteY28" fmla="*/ 3194090 h 3811169"/>
              <a:gd name="connsiteX29" fmla="*/ 381702 w 2772385"/>
              <a:gd name="connsiteY29" fmla="*/ 3592387 h 3811169"/>
              <a:gd name="connsiteX30" fmla="*/ 213408 w 2772385"/>
              <a:gd name="connsiteY30" fmla="*/ 3698973 h 3811169"/>
              <a:gd name="connsiteX31" fmla="*/ 280726 w 2772385"/>
              <a:gd name="connsiteY31" fmla="*/ 3811169 h 3811169"/>
              <a:gd name="connsiteX32" fmla="*/ 477068 w 2772385"/>
              <a:gd name="connsiteY32" fmla="*/ 3771902 h 3811169"/>
              <a:gd name="connsiteX33" fmla="*/ 622923 w 2772385"/>
              <a:gd name="connsiteY33" fmla="*/ 3547509 h 3811169"/>
              <a:gd name="connsiteX34" fmla="*/ 662193 w 2772385"/>
              <a:gd name="connsiteY34" fmla="*/ 3743852 h 3811169"/>
              <a:gd name="connsiteX35" fmla="*/ 735121 w 2772385"/>
              <a:gd name="connsiteY35" fmla="*/ 3732634 h 3811169"/>
              <a:gd name="connsiteX36" fmla="*/ 774389 w 2772385"/>
              <a:gd name="connsiteY36" fmla="*/ 3474581 h 3811169"/>
              <a:gd name="connsiteX37" fmla="*/ 695851 w 2772385"/>
              <a:gd name="connsiteY37" fmla="*/ 3238969 h 3811169"/>
              <a:gd name="connsiteX38" fmla="*/ 897805 w 2772385"/>
              <a:gd name="connsiteY38" fmla="*/ 2627499 h 3811169"/>
              <a:gd name="connsiteX39" fmla="*/ 1161466 w 2772385"/>
              <a:gd name="connsiteY39" fmla="*/ 2520912 h 3811169"/>
              <a:gd name="connsiteX40" fmla="*/ 1492445 w 2772385"/>
              <a:gd name="connsiteY40" fmla="*/ 2638718 h 3811169"/>
              <a:gd name="connsiteX41" fmla="*/ 1587812 w 2772385"/>
              <a:gd name="connsiteY41" fmla="*/ 2627499 h 3811169"/>
              <a:gd name="connsiteX42" fmla="*/ 1643910 w 2772385"/>
              <a:gd name="connsiteY42" fmla="*/ 2728476 h 3811169"/>
              <a:gd name="connsiteX43" fmla="*/ 1795375 w 2772385"/>
              <a:gd name="connsiteY43" fmla="*/ 2762134 h 3811169"/>
              <a:gd name="connsiteX44" fmla="*/ 1795375 w 2772385"/>
              <a:gd name="connsiteY44" fmla="*/ 2812623 h 3811169"/>
              <a:gd name="connsiteX45" fmla="*/ 1750497 w 2772385"/>
              <a:gd name="connsiteY45" fmla="*/ 3008967 h 3811169"/>
              <a:gd name="connsiteX46" fmla="*/ 1711228 w 2772385"/>
              <a:gd name="connsiteY46" fmla="*/ 3328726 h 3811169"/>
              <a:gd name="connsiteX47" fmla="*/ 1200735 w 2772385"/>
              <a:gd name="connsiteY47" fmla="*/ 3396044 h 3811169"/>
              <a:gd name="connsiteX48" fmla="*/ 1172686 w 2772385"/>
              <a:gd name="connsiteY48" fmla="*/ 3468971 h 3811169"/>
              <a:gd name="connsiteX49" fmla="*/ 1110978 w 2772385"/>
              <a:gd name="connsiteY49" fmla="*/ 3497020 h 3811169"/>
              <a:gd name="connsiteX50" fmla="*/ 1139027 w 2772385"/>
              <a:gd name="connsiteY50" fmla="*/ 3631656 h 3811169"/>
              <a:gd name="connsiteX51" fmla="*/ 1279272 w 2772385"/>
              <a:gd name="connsiteY51" fmla="*/ 3637266 h 3811169"/>
              <a:gd name="connsiteX52" fmla="*/ 1273662 w 2772385"/>
              <a:gd name="connsiteY52" fmla="*/ 3485801 h 3811169"/>
              <a:gd name="connsiteX53" fmla="*/ 1453176 w 2772385"/>
              <a:gd name="connsiteY53" fmla="*/ 3497020 h 3811169"/>
              <a:gd name="connsiteX54" fmla="*/ 1425127 w 2772385"/>
              <a:gd name="connsiteY54" fmla="*/ 3575558 h 3811169"/>
              <a:gd name="connsiteX55" fmla="*/ 1397078 w 2772385"/>
              <a:gd name="connsiteY55" fmla="*/ 3637266 h 3811169"/>
              <a:gd name="connsiteX56" fmla="*/ 1312931 w 2772385"/>
              <a:gd name="connsiteY56" fmla="*/ 3654095 h 3811169"/>
              <a:gd name="connsiteX57" fmla="*/ 1447567 w 2772385"/>
              <a:gd name="connsiteY57" fmla="*/ 3777511 h 3811169"/>
              <a:gd name="connsiteX58" fmla="*/ 1514884 w 2772385"/>
              <a:gd name="connsiteY58" fmla="*/ 3642876 h 3811169"/>
              <a:gd name="connsiteX59" fmla="*/ 1817814 w 2772385"/>
              <a:gd name="connsiteY59" fmla="*/ 3541899 h 3811169"/>
              <a:gd name="connsiteX60" fmla="*/ 2154403 w 2772385"/>
              <a:gd name="connsiteY60" fmla="*/ 3614826 h 3811169"/>
              <a:gd name="connsiteX61" fmla="*/ 2109525 w 2772385"/>
              <a:gd name="connsiteY61" fmla="*/ 3715803 h 3811169"/>
              <a:gd name="connsiteX62" fmla="*/ 2204892 w 2772385"/>
              <a:gd name="connsiteY62" fmla="*/ 3783121 h 3811169"/>
              <a:gd name="connsiteX63" fmla="*/ 2277819 w 2772385"/>
              <a:gd name="connsiteY63" fmla="*/ 3732633 h 3811169"/>
              <a:gd name="connsiteX64" fmla="*/ 2266600 w 2772385"/>
              <a:gd name="connsiteY64" fmla="*/ 3637266 h 3811169"/>
              <a:gd name="connsiteX65" fmla="*/ 2446114 w 2772385"/>
              <a:gd name="connsiteY65" fmla="*/ 3558728 h 3811169"/>
              <a:gd name="connsiteX66" fmla="*/ 2429284 w 2772385"/>
              <a:gd name="connsiteY66" fmla="*/ 3384824 h 3811169"/>
              <a:gd name="connsiteX67" fmla="*/ 1907572 w 2772385"/>
              <a:gd name="connsiteY67" fmla="*/ 3345556 h 3811169"/>
              <a:gd name="connsiteX68" fmla="*/ 1913181 w 2772385"/>
              <a:gd name="connsiteY68" fmla="*/ 3031406 h 3811169"/>
              <a:gd name="connsiteX69" fmla="*/ 1907571 w 2772385"/>
              <a:gd name="connsiteY69" fmla="*/ 3014576 h 3811169"/>
              <a:gd name="connsiteX70" fmla="*/ 1901962 w 2772385"/>
              <a:gd name="connsiteY70" fmla="*/ 2835062 h 3811169"/>
              <a:gd name="connsiteX71" fmla="*/ 1857083 w 2772385"/>
              <a:gd name="connsiteY71" fmla="*/ 2773354 h 3811169"/>
              <a:gd name="connsiteX72" fmla="*/ 2047817 w 2772385"/>
              <a:gd name="connsiteY72" fmla="*/ 2717256 h 3811169"/>
              <a:gd name="connsiteX73" fmla="*/ 2081476 w 2772385"/>
              <a:gd name="connsiteY73" fmla="*/ 2610669 h 3811169"/>
              <a:gd name="connsiteX74" fmla="*/ 2367576 w 2772385"/>
              <a:gd name="connsiteY74" fmla="*/ 2621889 h 3811169"/>
              <a:gd name="connsiteX75" fmla="*/ 2591969 w 2772385"/>
              <a:gd name="connsiteY75" fmla="*/ 2032858 h 3811169"/>
              <a:gd name="connsiteX76" fmla="*/ 2547090 w 2772385"/>
              <a:gd name="connsiteY76" fmla="*/ 1948711 h 3811169"/>
              <a:gd name="connsiteX77" fmla="*/ 2692946 w 2772385"/>
              <a:gd name="connsiteY77" fmla="*/ 1460657 h 3811169"/>
              <a:gd name="connsiteX78" fmla="*/ 2636848 w 2772385"/>
              <a:gd name="connsiteY78" fmla="*/ 1354071 h 3811169"/>
              <a:gd name="connsiteX79" fmla="*/ 2479772 w 2772385"/>
              <a:gd name="connsiteY79" fmla="*/ 798699 h 3811169"/>
              <a:gd name="connsiteX80" fmla="*/ 2737825 w 2772385"/>
              <a:gd name="connsiteY80" fmla="*/ 675283 h 3811169"/>
              <a:gd name="connsiteX81" fmla="*/ 2709775 w 2772385"/>
              <a:gd name="connsiteY81" fmla="*/ 434061 h 3811169"/>
              <a:gd name="connsiteX82" fmla="*/ 2625628 w 2772385"/>
              <a:gd name="connsiteY82" fmla="*/ 86253 h 3811169"/>
              <a:gd name="connsiteX0" fmla="*/ 2625628 w 2772385"/>
              <a:gd name="connsiteY0" fmla="*/ 86253 h 3811169"/>
              <a:gd name="connsiteX1" fmla="*/ 2429284 w 2772385"/>
              <a:gd name="connsiteY1" fmla="*/ 2105 h 3811169"/>
              <a:gd name="connsiteX2" fmla="*/ 2188062 w 2772385"/>
              <a:gd name="connsiteY2" fmla="*/ 159180 h 3811169"/>
              <a:gd name="connsiteX3" fmla="*/ 2087086 w 2772385"/>
              <a:gd name="connsiteY3" fmla="*/ 198449 h 3811169"/>
              <a:gd name="connsiteX4" fmla="*/ 2137574 w 2772385"/>
              <a:gd name="connsiteY4" fmla="*/ 288206 h 3811169"/>
              <a:gd name="connsiteX5" fmla="*/ 2025378 w 2772385"/>
              <a:gd name="connsiteY5" fmla="*/ 450890 h 3811169"/>
              <a:gd name="connsiteX6" fmla="*/ 2131966 w 2772385"/>
              <a:gd name="connsiteY6" fmla="*/ 585526 h 3811169"/>
              <a:gd name="connsiteX7" fmla="*/ 2154403 w 2772385"/>
              <a:gd name="connsiteY7" fmla="*/ 708942 h 3811169"/>
              <a:gd name="connsiteX8" fmla="*/ 2025378 w 2772385"/>
              <a:gd name="connsiteY8" fmla="*/ 753820 h 3811169"/>
              <a:gd name="connsiteX9" fmla="*/ 1991719 w 2772385"/>
              <a:gd name="connsiteY9" fmla="*/ 821138 h 3811169"/>
              <a:gd name="connsiteX10" fmla="*/ 1991719 w 2772385"/>
              <a:gd name="connsiteY10" fmla="*/ 708942 h 3811169"/>
              <a:gd name="connsiteX11" fmla="*/ 1941230 w 2772385"/>
              <a:gd name="connsiteY11" fmla="*/ 669673 h 3811169"/>
              <a:gd name="connsiteX12" fmla="*/ 1778546 w 2772385"/>
              <a:gd name="connsiteY12" fmla="*/ 770649 h 3811169"/>
              <a:gd name="connsiteX13" fmla="*/ 1397078 w 2772385"/>
              <a:gd name="connsiteY13" fmla="*/ 579916 h 3811169"/>
              <a:gd name="connsiteX14" fmla="*/ 1660739 w 2772385"/>
              <a:gd name="connsiteY14" fmla="*/ 1129678 h 3811169"/>
              <a:gd name="connsiteX15" fmla="*/ 1795375 w 2772385"/>
              <a:gd name="connsiteY15" fmla="*/ 1225045 h 3811169"/>
              <a:gd name="connsiteX16" fmla="*/ 1643910 w 2772385"/>
              <a:gd name="connsiteY16" fmla="*/ 1449437 h 3811169"/>
              <a:gd name="connsiteX17" fmla="*/ 1722448 w 2772385"/>
              <a:gd name="connsiteY17" fmla="*/ 1668220 h 3811169"/>
              <a:gd name="connsiteX18" fmla="*/ 1812205 w 2772385"/>
              <a:gd name="connsiteY18" fmla="*/ 1662611 h 3811169"/>
              <a:gd name="connsiteX19" fmla="*/ 1621470 w 2772385"/>
              <a:gd name="connsiteY19" fmla="*/ 1858954 h 3811169"/>
              <a:gd name="connsiteX20" fmla="*/ 909024 w 2772385"/>
              <a:gd name="connsiteY20" fmla="*/ 1578463 h 3811169"/>
              <a:gd name="connsiteX21" fmla="*/ 454629 w 2772385"/>
              <a:gd name="connsiteY21" fmla="*/ 2605060 h 3811169"/>
              <a:gd name="connsiteX22" fmla="*/ 258286 w 2772385"/>
              <a:gd name="connsiteY22" fmla="*/ 2812623 h 3811169"/>
              <a:gd name="connsiteX23" fmla="*/ 39503 w 2772385"/>
              <a:gd name="connsiteY23" fmla="*/ 2857501 h 3811169"/>
              <a:gd name="connsiteX24" fmla="*/ 28282 w 2772385"/>
              <a:gd name="connsiteY24" fmla="*/ 2975307 h 3811169"/>
              <a:gd name="connsiteX25" fmla="*/ 258285 w 2772385"/>
              <a:gd name="connsiteY25" fmla="*/ 3087504 h 3811169"/>
              <a:gd name="connsiteX26" fmla="*/ 527559 w 2772385"/>
              <a:gd name="connsiteY26" fmla="*/ 2986527 h 3811169"/>
              <a:gd name="connsiteX27" fmla="*/ 488288 w 2772385"/>
              <a:gd name="connsiteY27" fmla="*/ 3154821 h 3811169"/>
              <a:gd name="connsiteX28" fmla="*/ 561215 w 2772385"/>
              <a:gd name="connsiteY28" fmla="*/ 3194090 h 3811169"/>
              <a:gd name="connsiteX29" fmla="*/ 381702 w 2772385"/>
              <a:gd name="connsiteY29" fmla="*/ 3592387 h 3811169"/>
              <a:gd name="connsiteX30" fmla="*/ 213408 w 2772385"/>
              <a:gd name="connsiteY30" fmla="*/ 3698973 h 3811169"/>
              <a:gd name="connsiteX31" fmla="*/ 280726 w 2772385"/>
              <a:gd name="connsiteY31" fmla="*/ 3811169 h 3811169"/>
              <a:gd name="connsiteX32" fmla="*/ 477068 w 2772385"/>
              <a:gd name="connsiteY32" fmla="*/ 3771902 h 3811169"/>
              <a:gd name="connsiteX33" fmla="*/ 622923 w 2772385"/>
              <a:gd name="connsiteY33" fmla="*/ 3547509 h 3811169"/>
              <a:gd name="connsiteX34" fmla="*/ 662193 w 2772385"/>
              <a:gd name="connsiteY34" fmla="*/ 3743852 h 3811169"/>
              <a:gd name="connsiteX35" fmla="*/ 735121 w 2772385"/>
              <a:gd name="connsiteY35" fmla="*/ 3732634 h 3811169"/>
              <a:gd name="connsiteX36" fmla="*/ 774389 w 2772385"/>
              <a:gd name="connsiteY36" fmla="*/ 3474581 h 3811169"/>
              <a:gd name="connsiteX37" fmla="*/ 695851 w 2772385"/>
              <a:gd name="connsiteY37" fmla="*/ 3238969 h 3811169"/>
              <a:gd name="connsiteX38" fmla="*/ 897805 w 2772385"/>
              <a:gd name="connsiteY38" fmla="*/ 2627499 h 3811169"/>
              <a:gd name="connsiteX39" fmla="*/ 1161466 w 2772385"/>
              <a:gd name="connsiteY39" fmla="*/ 2520912 h 3811169"/>
              <a:gd name="connsiteX40" fmla="*/ 1492445 w 2772385"/>
              <a:gd name="connsiteY40" fmla="*/ 2638718 h 3811169"/>
              <a:gd name="connsiteX41" fmla="*/ 1587812 w 2772385"/>
              <a:gd name="connsiteY41" fmla="*/ 2627499 h 3811169"/>
              <a:gd name="connsiteX42" fmla="*/ 1643910 w 2772385"/>
              <a:gd name="connsiteY42" fmla="*/ 2728476 h 3811169"/>
              <a:gd name="connsiteX43" fmla="*/ 1795375 w 2772385"/>
              <a:gd name="connsiteY43" fmla="*/ 2762134 h 3811169"/>
              <a:gd name="connsiteX44" fmla="*/ 1795375 w 2772385"/>
              <a:gd name="connsiteY44" fmla="*/ 2812623 h 3811169"/>
              <a:gd name="connsiteX45" fmla="*/ 1750497 w 2772385"/>
              <a:gd name="connsiteY45" fmla="*/ 3008967 h 3811169"/>
              <a:gd name="connsiteX46" fmla="*/ 1711228 w 2772385"/>
              <a:gd name="connsiteY46" fmla="*/ 3328726 h 3811169"/>
              <a:gd name="connsiteX47" fmla="*/ 1200735 w 2772385"/>
              <a:gd name="connsiteY47" fmla="*/ 3396044 h 3811169"/>
              <a:gd name="connsiteX48" fmla="*/ 1172686 w 2772385"/>
              <a:gd name="connsiteY48" fmla="*/ 3468971 h 3811169"/>
              <a:gd name="connsiteX49" fmla="*/ 1110978 w 2772385"/>
              <a:gd name="connsiteY49" fmla="*/ 3497020 h 3811169"/>
              <a:gd name="connsiteX50" fmla="*/ 1139027 w 2772385"/>
              <a:gd name="connsiteY50" fmla="*/ 3631656 h 3811169"/>
              <a:gd name="connsiteX51" fmla="*/ 1279272 w 2772385"/>
              <a:gd name="connsiteY51" fmla="*/ 3637266 h 3811169"/>
              <a:gd name="connsiteX52" fmla="*/ 1273662 w 2772385"/>
              <a:gd name="connsiteY52" fmla="*/ 3485801 h 3811169"/>
              <a:gd name="connsiteX53" fmla="*/ 1453176 w 2772385"/>
              <a:gd name="connsiteY53" fmla="*/ 3497020 h 3811169"/>
              <a:gd name="connsiteX54" fmla="*/ 1425127 w 2772385"/>
              <a:gd name="connsiteY54" fmla="*/ 3575558 h 3811169"/>
              <a:gd name="connsiteX55" fmla="*/ 1397078 w 2772385"/>
              <a:gd name="connsiteY55" fmla="*/ 3637266 h 3811169"/>
              <a:gd name="connsiteX56" fmla="*/ 1312931 w 2772385"/>
              <a:gd name="connsiteY56" fmla="*/ 3654095 h 3811169"/>
              <a:gd name="connsiteX57" fmla="*/ 1447567 w 2772385"/>
              <a:gd name="connsiteY57" fmla="*/ 3777511 h 3811169"/>
              <a:gd name="connsiteX58" fmla="*/ 1514884 w 2772385"/>
              <a:gd name="connsiteY58" fmla="*/ 3642876 h 3811169"/>
              <a:gd name="connsiteX59" fmla="*/ 1817814 w 2772385"/>
              <a:gd name="connsiteY59" fmla="*/ 3541899 h 3811169"/>
              <a:gd name="connsiteX60" fmla="*/ 2154403 w 2772385"/>
              <a:gd name="connsiteY60" fmla="*/ 3614826 h 3811169"/>
              <a:gd name="connsiteX61" fmla="*/ 2109525 w 2772385"/>
              <a:gd name="connsiteY61" fmla="*/ 3715803 h 3811169"/>
              <a:gd name="connsiteX62" fmla="*/ 2204892 w 2772385"/>
              <a:gd name="connsiteY62" fmla="*/ 3783121 h 3811169"/>
              <a:gd name="connsiteX63" fmla="*/ 2277819 w 2772385"/>
              <a:gd name="connsiteY63" fmla="*/ 3732633 h 3811169"/>
              <a:gd name="connsiteX64" fmla="*/ 2266600 w 2772385"/>
              <a:gd name="connsiteY64" fmla="*/ 3637266 h 3811169"/>
              <a:gd name="connsiteX65" fmla="*/ 2423675 w 2772385"/>
              <a:gd name="connsiteY65" fmla="*/ 3564338 h 3811169"/>
              <a:gd name="connsiteX66" fmla="*/ 2429284 w 2772385"/>
              <a:gd name="connsiteY66" fmla="*/ 3384824 h 3811169"/>
              <a:gd name="connsiteX67" fmla="*/ 1907572 w 2772385"/>
              <a:gd name="connsiteY67" fmla="*/ 3345556 h 3811169"/>
              <a:gd name="connsiteX68" fmla="*/ 1913181 w 2772385"/>
              <a:gd name="connsiteY68" fmla="*/ 3031406 h 3811169"/>
              <a:gd name="connsiteX69" fmla="*/ 1907571 w 2772385"/>
              <a:gd name="connsiteY69" fmla="*/ 3014576 h 3811169"/>
              <a:gd name="connsiteX70" fmla="*/ 1901962 w 2772385"/>
              <a:gd name="connsiteY70" fmla="*/ 2835062 h 3811169"/>
              <a:gd name="connsiteX71" fmla="*/ 1857083 w 2772385"/>
              <a:gd name="connsiteY71" fmla="*/ 2773354 h 3811169"/>
              <a:gd name="connsiteX72" fmla="*/ 2047817 w 2772385"/>
              <a:gd name="connsiteY72" fmla="*/ 2717256 h 3811169"/>
              <a:gd name="connsiteX73" fmla="*/ 2081476 w 2772385"/>
              <a:gd name="connsiteY73" fmla="*/ 2610669 h 3811169"/>
              <a:gd name="connsiteX74" fmla="*/ 2367576 w 2772385"/>
              <a:gd name="connsiteY74" fmla="*/ 2621889 h 3811169"/>
              <a:gd name="connsiteX75" fmla="*/ 2591969 w 2772385"/>
              <a:gd name="connsiteY75" fmla="*/ 2032858 h 3811169"/>
              <a:gd name="connsiteX76" fmla="*/ 2547090 w 2772385"/>
              <a:gd name="connsiteY76" fmla="*/ 1948711 h 3811169"/>
              <a:gd name="connsiteX77" fmla="*/ 2692946 w 2772385"/>
              <a:gd name="connsiteY77" fmla="*/ 1460657 h 3811169"/>
              <a:gd name="connsiteX78" fmla="*/ 2636848 w 2772385"/>
              <a:gd name="connsiteY78" fmla="*/ 1354071 h 3811169"/>
              <a:gd name="connsiteX79" fmla="*/ 2479772 w 2772385"/>
              <a:gd name="connsiteY79" fmla="*/ 798699 h 3811169"/>
              <a:gd name="connsiteX80" fmla="*/ 2737825 w 2772385"/>
              <a:gd name="connsiteY80" fmla="*/ 675283 h 3811169"/>
              <a:gd name="connsiteX81" fmla="*/ 2709775 w 2772385"/>
              <a:gd name="connsiteY81" fmla="*/ 434061 h 3811169"/>
              <a:gd name="connsiteX82" fmla="*/ 2625628 w 2772385"/>
              <a:gd name="connsiteY82" fmla="*/ 86253 h 3811169"/>
              <a:gd name="connsiteX0" fmla="*/ 2625628 w 2772385"/>
              <a:gd name="connsiteY0" fmla="*/ 86253 h 3811169"/>
              <a:gd name="connsiteX1" fmla="*/ 2429284 w 2772385"/>
              <a:gd name="connsiteY1" fmla="*/ 2105 h 3811169"/>
              <a:gd name="connsiteX2" fmla="*/ 2188062 w 2772385"/>
              <a:gd name="connsiteY2" fmla="*/ 159180 h 3811169"/>
              <a:gd name="connsiteX3" fmla="*/ 2087086 w 2772385"/>
              <a:gd name="connsiteY3" fmla="*/ 198449 h 3811169"/>
              <a:gd name="connsiteX4" fmla="*/ 2137574 w 2772385"/>
              <a:gd name="connsiteY4" fmla="*/ 288206 h 3811169"/>
              <a:gd name="connsiteX5" fmla="*/ 2025378 w 2772385"/>
              <a:gd name="connsiteY5" fmla="*/ 450890 h 3811169"/>
              <a:gd name="connsiteX6" fmla="*/ 2131966 w 2772385"/>
              <a:gd name="connsiteY6" fmla="*/ 585526 h 3811169"/>
              <a:gd name="connsiteX7" fmla="*/ 2154403 w 2772385"/>
              <a:gd name="connsiteY7" fmla="*/ 708942 h 3811169"/>
              <a:gd name="connsiteX8" fmla="*/ 2025378 w 2772385"/>
              <a:gd name="connsiteY8" fmla="*/ 753820 h 3811169"/>
              <a:gd name="connsiteX9" fmla="*/ 1991719 w 2772385"/>
              <a:gd name="connsiteY9" fmla="*/ 821138 h 3811169"/>
              <a:gd name="connsiteX10" fmla="*/ 1991719 w 2772385"/>
              <a:gd name="connsiteY10" fmla="*/ 708942 h 3811169"/>
              <a:gd name="connsiteX11" fmla="*/ 1941230 w 2772385"/>
              <a:gd name="connsiteY11" fmla="*/ 669673 h 3811169"/>
              <a:gd name="connsiteX12" fmla="*/ 1778546 w 2772385"/>
              <a:gd name="connsiteY12" fmla="*/ 770649 h 3811169"/>
              <a:gd name="connsiteX13" fmla="*/ 1397078 w 2772385"/>
              <a:gd name="connsiteY13" fmla="*/ 579916 h 3811169"/>
              <a:gd name="connsiteX14" fmla="*/ 1660739 w 2772385"/>
              <a:gd name="connsiteY14" fmla="*/ 1129678 h 3811169"/>
              <a:gd name="connsiteX15" fmla="*/ 1795375 w 2772385"/>
              <a:gd name="connsiteY15" fmla="*/ 1225045 h 3811169"/>
              <a:gd name="connsiteX16" fmla="*/ 1643910 w 2772385"/>
              <a:gd name="connsiteY16" fmla="*/ 1449437 h 3811169"/>
              <a:gd name="connsiteX17" fmla="*/ 1722448 w 2772385"/>
              <a:gd name="connsiteY17" fmla="*/ 1668220 h 3811169"/>
              <a:gd name="connsiteX18" fmla="*/ 1812205 w 2772385"/>
              <a:gd name="connsiteY18" fmla="*/ 1662611 h 3811169"/>
              <a:gd name="connsiteX19" fmla="*/ 1621470 w 2772385"/>
              <a:gd name="connsiteY19" fmla="*/ 1858954 h 3811169"/>
              <a:gd name="connsiteX20" fmla="*/ 909024 w 2772385"/>
              <a:gd name="connsiteY20" fmla="*/ 1578463 h 3811169"/>
              <a:gd name="connsiteX21" fmla="*/ 454629 w 2772385"/>
              <a:gd name="connsiteY21" fmla="*/ 2605060 h 3811169"/>
              <a:gd name="connsiteX22" fmla="*/ 258286 w 2772385"/>
              <a:gd name="connsiteY22" fmla="*/ 2812623 h 3811169"/>
              <a:gd name="connsiteX23" fmla="*/ 39503 w 2772385"/>
              <a:gd name="connsiteY23" fmla="*/ 2857501 h 3811169"/>
              <a:gd name="connsiteX24" fmla="*/ 28282 w 2772385"/>
              <a:gd name="connsiteY24" fmla="*/ 2975307 h 3811169"/>
              <a:gd name="connsiteX25" fmla="*/ 258285 w 2772385"/>
              <a:gd name="connsiteY25" fmla="*/ 3087504 h 3811169"/>
              <a:gd name="connsiteX26" fmla="*/ 527559 w 2772385"/>
              <a:gd name="connsiteY26" fmla="*/ 2986527 h 3811169"/>
              <a:gd name="connsiteX27" fmla="*/ 488288 w 2772385"/>
              <a:gd name="connsiteY27" fmla="*/ 3154821 h 3811169"/>
              <a:gd name="connsiteX28" fmla="*/ 561215 w 2772385"/>
              <a:gd name="connsiteY28" fmla="*/ 3194090 h 3811169"/>
              <a:gd name="connsiteX29" fmla="*/ 381702 w 2772385"/>
              <a:gd name="connsiteY29" fmla="*/ 3592387 h 3811169"/>
              <a:gd name="connsiteX30" fmla="*/ 213408 w 2772385"/>
              <a:gd name="connsiteY30" fmla="*/ 3698973 h 3811169"/>
              <a:gd name="connsiteX31" fmla="*/ 280726 w 2772385"/>
              <a:gd name="connsiteY31" fmla="*/ 3811169 h 3811169"/>
              <a:gd name="connsiteX32" fmla="*/ 477068 w 2772385"/>
              <a:gd name="connsiteY32" fmla="*/ 3771902 h 3811169"/>
              <a:gd name="connsiteX33" fmla="*/ 622923 w 2772385"/>
              <a:gd name="connsiteY33" fmla="*/ 3547509 h 3811169"/>
              <a:gd name="connsiteX34" fmla="*/ 662193 w 2772385"/>
              <a:gd name="connsiteY34" fmla="*/ 3743852 h 3811169"/>
              <a:gd name="connsiteX35" fmla="*/ 735121 w 2772385"/>
              <a:gd name="connsiteY35" fmla="*/ 3732634 h 3811169"/>
              <a:gd name="connsiteX36" fmla="*/ 774389 w 2772385"/>
              <a:gd name="connsiteY36" fmla="*/ 3474581 h 3811169"/>
              <a:gd name="connsiteX37" fmla="*/ 695851 w 2772385"/>
              <a:gd name="connsiteY37" fmla="*/ 3238969 h 3811169"/>
              <a:gd name="connsiteX38" fmla="*/ 897805 w 2772385"/>
              <a:gd name="connsiteY38" fmla="*/ 2627499 h 3811169"/>
              <a:gd name="connsiteX39" fmla="*/ 1161466 w 2772385"/>
              <a:gd name="connsiteY39" fmla="*/ 2520912 h 3811169"/>
              <a:gd name="connsiteX40" fmla="*/ 1492445 w 2772385"/>
              <a:gd name="connsiteY40" fmla="*/ 2638718 h 3811169"/>
              <a:gd name="connsiteX41" fmla="*/ 1587812 w 2772385"/>
              <a:gd name="connsiteY41" fmla="*/ 2627499 h 3811169"/>
              <a:gd name="connsiteX42" fmla="*/ 1643910 w 2772385"/>
              <a:gd name="connsiteY42" fmla="*/ 2728476 h 3811169"/>
              <a:gd name="connsiteX43" fmla="*/ 1795375 w 2772385"/>
              <a:gd name="connsiteY43" fmla="*/ 2762134 h 3811169"/>
              <a:gd name="connsiteX44" fmla="*/ 1795375 w 2772385"/>
              <a:gd name="connsiteY44" fmla="*/ 2812623 h 3811169"/>
              <a:gd name="connsiteX45" fmla="*/ 1750497 w 2772385"/>
              <a:gd name="connsiteY45" fmla="*/ 3008967 h 3811169"/>
              <a:gd name="connsiteX46" fmla="*/ 1711228 w 2772385"/>
              <a:gd name="connsiteY46" fmla="*/ 3328726 h 3811169"/>
              <a:gd name="connsiteX47" fmla="*/ 1200735 w 2772385"/>
              <a:gd name="connsiteY47" fmla="*/ 3396044 h 3811169"/>
              <a:gd name="connsiteX48" fmla="*/ 1172686 w 2772385"/>
              <a:gd name="connsiteY48" fmla="*/ 3468971 h 3811169"/>
              <a:gd name="connsiteX49" fmla="*/ 1110978 w 2772385"/>
              <a:gd name="connsiteY49" fmla="*/ 3497020 h 3811169"/>
              <a:gd name="connsiteX50" fmla="*/ 1139027 w 2772385"/>
              <a:gd name="connsiteY50" fmla="*/ 3631656 h 3811169"/>
              <a:gd name="connsiteX51" fmla="*/ 1279272 w 2772385"/>
              <a:gd name="connsiteY51" fmla="*/ 3637266 h 3811169"/>
              <a:gd name="connsiteX52" fmla="*/ 1273662 w 2772385"/>
              <a:gd name="connsiteY52" fmla="*/ 3485801 h 3811169"/>
              <a:gd name="connsiteX53" fmla="*/ 1453176 w 2772385"/>
              <a:gd name="connsiteY53" fmla="*/ 3497020 h 3811169"/>
              <a:gd name="connsiteX54" fmla="*/ 1425127 w 2772385"/>
              <a:gd name="connsiteY54" fmla="*/ 3575558 h 3811169"/>
              <a:gd name="connsiteX55" fmla="*/ 1397078 w 2772385"/>
              <a:gd name="connsiteY55" fmla="*/ 3637266 h 3811169"/>
              <a:gd name="connsiteX56" fmla="*/ 1312931 w 2772385"/>
              <a:gd name="connsiteY56" fmla="*/ 3654095 h 3811169"/>
              <a:gd name="connsiteX57" fmla="*/ 1447567 w 2772385"/>
              <a:gd name="connsiteY57" fmla="*/ 3777511 h 3811169"/>
              <a:gd name="connsiteX58" fmla="*/ 1514884 w 2772385"/>
              <a:gd name="connsiteY58" fmla="*/ 3642876 h 3811169"/>
              <a:gd name="connsiteX59" fmla="*/ 1817814 w 2772385"/>
              <a:gd name="connsiteY59" fmla="*/ 3541899 h 3811169"/>
              <a:gd name="connsiteX60" fmla="*/ 2154403 w 2772385"/>
              <a:gd name="connsiteY60" fmla="*/ 3614826 h 3811169"/>
              <a:gd name="connsiteX61" fmla="*/ 2109525 w 2772385"/>
              <a:gd name="connsiteY61" fmla="*/ 3715803 h 3811169"/>
              <a:gd name="connsiteX62" fmla="*/ 2204892 w 2772385"/>
              <a:gd name="connsiteY62" fmla="*/ 3783121 h 3811169"/>
              <a:gd name="connsiteX63" fmla="*/ 2277819 w 2772385"/>
              <a:gd name="connsiteY63" fmla="*/ 3732633 h 3811169"/>
              <a:gd name="connsiteX64" fmla="*/ 2266600 w 2772385"/>
              <a:gd name="connsiteY64" fmla="*/ 3637266 h 3811169"/>
              <a:gd name="connsiteX65" fmla="*/ 2423675 w 2772385"/>
              <a:gd name="connsiteY65" fmla="*/ 3564338 h 3811169"/>
              <a:gd name="connsiteX66" fmla="*/ 2429284 w 2772385"/>
              <a:gd name="connsiteY66" fmla="*/ 3384824 h 3811169"/>
              <a:gd name="connsiteX67" fmla="*/ 1907572 w 2772385"/>
              <a:gd name="connsiteY67" fmla="*/ 3345556 h 3811169"/>
              <a:gd name="connsiteX68" fmla="*/ 1913181 w 2772385"/>
              <a:gd name="connsiteY68" fmla="*/ 3031406 h 3811169"/>
              <a:gd name="connsiteX69" fmla="*/ 1907571 w 2772385"/>
              <a:gd name="connsiteY69" fmla="*/ 3014576 h 3811169"/>
              <a:gd name="connsiteX70" fmla="*/ 1901962 w 2772385"/>
              <a:gd name="connsiteY70" fmla="*/ 2835062 h 3811169"/>
              <a:gd name="connsiteX71" fmla="*/ 1857083 w 2772385"/>
              <a:gd name="connsiteY71" fmla="*/ 2773354 h 3811169"/>
              <a:gd name="connsiteX72" fmla="*/ 2047817 w 2772385"/>
              <a:gd name="connsiteY72" fmla="*/ 2717256 h 3811169"/>
              <a:gd name="connsiteX73" fmla="*/ 2081476 w 2772385"/>
              <a:gd name="connsiteY73" fmla="*/ 2610669 h 3811169"/>
              <a:gd name="connsiteX74" fmla="*/ 2367576 w 2772385"/>
              <a:gd name="connsiteY74" fmla="*/ 2621889 h 3811169"/>
              <a:gd name="connsiteX75" fmla="*/ 2591969 w 2772385"/>
              <a:gd name="connsiteY75" fmla="*/ 2032858 h 3811169"/>
              <a:gd name="connsiteX76" fmla="*/ 2547090 w 2772385"/>
              <a:gd name="connsiteY76" fmla="*/ 1948711 h 3811169"/>
              <a:gd name="connsiteX77" fmla="*/ 2692946 w 2772385"/>
              <a:gd name="connsiteY77" fmla="*/ 1460657 h 3811169"/>
              <a:gd name="connsiteX78" fmla="*/ 2636848 w 2772385"/>
              <a:gd name="connsiteY78" fmla="*/ 1354071 h 3811169"/>
              <a:gd name="connsiteX79" fmla="*/ 2479772 w 2772385"/>
              <a:gd name="connsiteY79" fmla="*/ 798699 h 3811169"/>
              <a:gd name="connsiteX80" fmla="*/ 2737825 w 2772385"/>
              <a:gd name="connsiteY80" fmla="*/ 675283 h 3811169"/>
              <a:gd name="connsiteX81" fmla="*/ 2709775 w 2772385"/>
              <a:gd name="connsiteY81" fmla="*/ 434061 h 3811169"/>
              <a:gd name="connsiteX82" fmla="*/ 2625628 w 2772385"/>
              <a:gd name="connsiteY82" fmla="*/ 86253 h 3811169"/>
              <a:gd name="connsiteX0" fmla="*/ 2625628 w 2772385"/>
              <a:gd name="connsiteY0" fmla="*/ 86253 h 3811169"/>
              <a:gd name="connsiteX1" fmla="*/ 2429284 w 2772385"/>
              <a:gd name="connsiteY1" fmla="*/ 2105 h 3811169"/>
              <a:gd name="connsiteX2" fmla="*/ 2188062 w 2772385"/>
              <a:gd name="connsiteY2" fmla="*/ 159180 h 3811169"/>
              <a:gd name="connsiteX3" fmla="*/ 2087086 w 2772385"/>
              <a:gd name="connsiteY3" fmla="*/ 198449 h 3811169"/>
              <a:gd name="connsiteX4" fmla="*/ 2137574 w 2772385"/>
              <a:gd name="connsiteY4" fmla="*/ 288206 h 3811169"/>
              <a:gd name="connsiteX5" fmla="*/ 2025378 w 2772385"/>
              <a:gd name="connsiteY5" fmla="*/ 450890 h 3811169"/>
              <a:gd name="connsiteX6" fmla="*/ 2131966 w 2772385"/>
              <a:gd name="connsiteY6" fmla="*/ 585526 h 3811169"/>
              <a:gd name="connsiteX7" fmla="*/ 2154403 w 2772385"/>
              <a:gd name="connsiteY7" fmla="*/ 708942 h 3811169"/>
              <a:gd name="connsiteX8" fmla="*/ 2025378 w 2772385"/>
              <a:gd name="connsiteY8" fmla="*/ 753820 h 3811169"/>
              <a:gd name="connsiteX9" fmla="*/ 1991719 w 2772385"/>
              <a:gd name="connsiteY9" fmla="*/ 821138 h 3811169"/>
              <a:gd name="connsiteX10" fmla="*/ 1991719 w 2772385"/>
              <a:gd name="connsiteY10" fmla="*/ 708942 h 3811169"/>
              <a:gd name="connsiteX11" fmla="*/ 1941230 w 2772385"/>
              <a:gd name="connsiteY11" fmla="*/ 669673 h 3811169"/>
              <a:gd name="connsiteX12" fmla="*/ 1778546 w 2772385"/>
              <a:gd name="connsiteY12" fmla="*/ 770649 h 3811169"/>
              <a:gd name="connsiteX13" fmla="*/ 1397078 w 2772385"/>
              <a:gd name="connsiteY13" fmla="*/ 579916 h 3811169"/>
              <a:gd name="connsiteX14" fmla="*/ 1660739 w 2772385"/>
              <a:gd name="connsiteY14" fmla="*/ 1129678 h 3811169"/>
              <a:gd name="connsiteX15" fmla="*/ 1795375 w 2772385"/>
              <a:gd name="connsiteY15" fmla="*/ 1225045 h 3811169"/>
              <a:gd name="connsiteX16" fmla="*/ 1643910 w 2772385"/>
              <a:gd name="connsiteY16" fmla="*/ 1449437 h 3811169"/>
              <a:gd name="connsiteX17" fmla="*/ 1722448 w 2772385"/>
              <a:gd name="connsiteY17" fmla="*/ 1668220 h 3811169"/>
              <a:gd name="connsiteX18" fmla="*/ 1812205 w 2772385"/>
              <a:gd name="connsiteY18" fmla="*/ 1662611 h 3811169"/>
              <a:gd name="connsiteX19" fmla="*/ 1621470 w 2772385"/>
              <a:gd name="connsiteY19" fmla="*/ 1858954 h 3811169"/>
              <a:gd name="connsiteX20" fmla="*/ 909024 w 2772385"/>
              <a:gd name="connsiteY20" fmla="*/ 1578463 h 3811169"/>
              <a:gd name="connsiteX21" fmla="*/ 454629 w 2772385"/>
              <a:gd name="connsiteY21" fmla="*/ 2605060 h 3811169"/>
              <a:gd name="connsiteX22" fmla="*/ 258286 w 2772385"/>
              <a:gd name="connsiteY22" fmla="*/ 2812623 h 3811169"/>
              <a:gd name="connsiteX23" fmla="*/ 39503 w 2772385"/>
              <a:gd name="connsiteY23" fmla="*/ 2857501 h 3811169"/>
              <a:gd name="connsiteX24" fmla="*/ 28282 w 2772385"/>
              <a:gd name="connsiteY24" fmla="*/ 2975307 h 3811169"/>
              <a:gd name="connsiteX25" fmla="*/ 258285 w 2772385"/>
              <a:gd name="connsiteY25" fmla="*/ 3087504 h 3811169"/>
              <a:gd name="connsiteX26" fmla="*/ 527559 w 2772385"/>
              <a:gd name="connsiteY26" fmla="*/ 2986527 h 3811169"/>
              <a:gd name="connsiteX27" fmla="*/ 488288 w 2772385"/>
              <a:gd name="connsiteY27" fmla="*/ 3154821 h 3811169"/>
              <a:gd name="connsiteX28" fmla="*/ 561215 w 2772385"/>
              <a:gd name="connsiteY28" fmla="*/ 3194090 h 3811169"/>
              <a:gd name="connsiteX29" fmla="*/ 381702 w 2772385"/>
              <a:gd name="connsiteY29" fmla="*/ 3592387 h 3811169"/>
              <a:gd name="connsiteX30" fmla="*/ 213408 w 2772385"/>
              <a:gd name="connsiteY30" fmla="*/ 3698973 h 3811169"/>
              <a:gd name="connsiteX31" fmla="*/ 280726 w 2772385"/>
              <a:gd name="connsiteY31" fmla="*/ 3811169 h 3811169"/>
              <a:gd name="connsiteX32" fmla="*/ 477068 w 2772385"/>
              <a:gd name="connsiteY32" fmla="*/ 3771902 h 3811169"/>
              <a:gd name="connsiteX33" fmla="*/ 622923 w 2772385"/>
              <a:gd name="connsiteY33" fmla="*/ 3547509 h 3811169"/>
              <a:gd name="connsiteX34" fmla="*/ 662193 w 2772385"/>
              <a:gd name="connsiteY34" fmla="*/ 3743852 h 3811169"/>
              <a:gd name="connsiteX35" fmla="*/ 735121 w 2772385"/>
              <a:gd name="connsiteY35" fmla="*/ 3732634 h 3811169"/>
              <a:gd name="connsiteX36" fmla="*/ 774389 w 2772385"/>
              <a:gd name="connsiteY36" fmla="*/ 3474581 h 3811169"/>
              <a:gd name="connsiteX37" fmla="*/ 695851 w 2772385"/>
              <a:gd name="connsiteY37" fmla="*/ 3238969 h 3811169"/>
              <a:gd name="connsiteX38" fmla="*/ 897805 w 2772385"/>
              <a:gd name="connsiteY38" fmla="*/ 2627499 h 3811169"/>
              <a:gd name="connsiteX39" fmla="*/ 1161466 w 2772385"/>
              <a:gd name="connsiteY39" fmla="*/ 2520912 h 3811169"/>
              <a:gd name="connsiteX40" fmla="*/ 1492445 w 2772385"/>
              <a:gd name="connsiteY40" fmla="*/ 2638718 h 3811169"/>
              <a:gd name="connsiteX41" fmla="*/ 1587812 w 2772385"/>
              <a:gd name="connsiteY41" fmla="*/ 2627499 h 3811169"/>
              <a:gd name="connsiteX42" fmla="*/ 1643910 w 2772385"/>
              <a:gd name="connsiteY42" fmla="*/ 2728476 h 3811169"/>
              <a:gd name="connsiteX43" fmla="*/ 1795375 w 2772385"/>
              <a:gd name="connsiteY43" fmla="*/ 2762134 h 3811169"/>
              <a:gd name="connsiteX44" fmla="*/ 1795375 w 2772385"/>
              <a:gd name="connsiteY44" fmla="*/ 2812623 h 3811169"/>
              <a:gd name="connsiteX45" fmla="*/ 1750497 w 2772385"/>
              <a:gd name="connsiteY45" fmla="*/ 3008967 h 3811169"/>
              <a:gd name="connsiteX46" fmla="*/ 1711228 w 2772385"/>
              <a:gd name="connsiteY46" fmla="*/ 3328726 h 3811169"/>
              <a:gd name="connsiteX47" fmla="*/ 1200735 w 2772385"/>
              <a:gd name="connsiteY47" fmla="*/ 3396044 h 3811169"/>
              <a:gd name="connsiteX48" fmla="*/ 1172686 w 2772385"/>
              <a:gd name="connsiteY48" fmla="*/ 3468971 h 3811169"/>
              <a:gd name="connsiteX49" fmla="*/ 1110978 w 2772385"/>
              <a:gd name="connsiteY49" fmla="*/ 3497020 h 3811169"/>
              <a:gd name="connsiteX50" fmla="*/ 1139027 w 2772385"/>
              <a:gd name="connsiteY50" fmla="*/ 3631656 h 3811169"/>
              <a:gd name="connsiteX51" fmla="*/ 1279272 w 2772385"/>
              <a:gd name="connsiteY51" fmla="*/ 3637266 h 3811169"/>
              <a:gd name="connsiteX52" fmla="*/ 1273662 w 2772385"/>
              <a:gd name="connsiteY52" fmla="*/ 3485801 h 3811169"/>
              <a:gd name="connsiteX53" fmla="*/ 1453176 w 2772385"/>
              <a:gd name="connsiteY53" fmla="*/ 3497020 h 3811169"/>
              <a:gd name="connsiteX54" fmla="*/ 1425127 w 2772385"/>
              <a:gd name="connsiteY54" fmla="*/ 3575558 h 3811169"/>
              <a:gd name="connsiteX55" fmla="*/ 1397078 w 2772385"/>
              <a:gd name="connsiteY55" fmla="*/ 3637266 h 3811169"/>
              <a:gd name="connsiteX56" fmla="*/ 1312931 w 2772385"/>
              <a:gd name="connsiteY56" fmla="*/ 3654095 h 3811169"/>
              <a:gd name="connsiteX57" fmla="*/ 1447567 w 2772385"/>
              <a:gd name="connsiteY57" fmla="*/ 3777511 h 3811169"/>
              <a:gd name="connsiteX58" fmla="*/ 1514884 w 2772385"/>
              <a:gd name="connsiteY58" fmla="*/ 3642876 h 3811169"/>
              <a:gd name="connsiteX59" fmla="*/ 1817814 w 2772385"/>
              <a:gd name="connsiteY59" fmla="*/ 3541899 h 3811169"/>
              <a:gd name="connsiteX60" fmla="*/ 2154403 w 2772385"/>
              <a:gd name="connsiteY60" fmla="*/ 3614826 h 3811169"/>
              <a:gd name="connsiteX61" fmla="*/ 2109525 w 2772385"/>
              <a:gd name="connsiteY61" fmla="*/ 3715803 h 3811169"/>
              <a:gd name="connsiteX62" fmla="*/ 2204892 w 2772385"/>
              <a:gd name="connsiteY62" fmla="*/ 3783121 h 3811169"/>
              <a:gd name="connsiteX63" fmla="*/ 2277819 w 2772385"/>
              <a:gd name="connsiteY63" fmla="*/ 3732633 h 3811169"/>
              <a:gd name="connsiteX64" fmla="*/ 2266600 w 2772385"/>
              <a:gd name="connsiteY64" fmla="*/ 3637266 h 3811169"/>
              <a:gd name="connsiteX65" fmla="*/ 2423675 w 2772385"/>
              <a:gd name="connsiteY65" fmla="*/ 3564338 h 3811169"/>
              <a:gd name="connsiteX66" fmla="*/ 2429284 w 2772385"/>
              <a:gd name="connsiteY66" fmla="*/ 3384824 h 3811169"/>
              <a:gd name="connsiteX67" fmla="*/ 1907572 w 2772385"/>
              <a:gd name="connsiteY67" fmla="*/ 3345556 h 3811169"/>
              <a:gd name="connsiteX68" fmla="*/ 1913181 w 2772385"/>
              <a:gd name="connsiteY68" fmla="*/ 3031406 h 3811169"/>
              <a:gd name="connsiteX69" fmla="*/ 1907571 w 2772385"/>
              <a:gd name="connsiteY69" fmla="*/ 3014576 h 3811169"/>
              <a:gd name="connsiteX70" fmla="*/ 1901962 w 2772385"/>
              <a:gd name="connsiteY70" fmla="*/ 2835062 h 3811169"/>
              <a:gd name="connsiteX71" fmla="*/ 1857083 w 2772385"/>
              <a:gd name="connsiteY71" fmla="*/ 2773354 h 3811169"/>
              <a:gd name="connsiteX72" fmla="*/ 2047817 w 2772385"/>
              <a:gd name="connsiteY72" fmla="*/ 2717256 h 3811169"/>
              <a:gd name="connsiteX73" fmla="*/ 2081476 w 2772385"/>
              <a:gd name="connsiteY73" fmla="*/ 2610669 h 3811169"/>
              <a:gd name="connsiteX74" fmla="*/ 2367576 w 2772385"/>
              <a:gd name="connsiteY74" fmla="*/ 2621889 h 3811169"/>
              <a:gd name="connsiteX75" fmla="*/ 2591969 w 2772385"/>
              <a:gd name="connsiteY75" fmla="*/ 2032858 h 3811169"/>
              <a:gd name="connsiteX76" fmla="*/ 2547090 w 2772385"/>
              <a:gd name="connsiteY76" fmla="*/ 1948711 h 3811169"/>
              <a:gd name="connsiteX77" fmla="*/ 2692946 w 2772385"/>
              <a:gd name="connsiteY77" fmla="*/ 1460657 h 3811169"/>
              <a:gd name="connsiteX78" fmla="*/ 2636848 w 2772385"/>
              <a:gd name="connsiteY78" fmla="*/ 1354071 h 3811169"/>
              <a:gd name="connsiteX79" fmla="*/ 2479772 w 2772385"/>
              <a:gd name="connsiteY79" fmla="*/ 798699 h 3811169"/>
              <a:gd name="connsiteX80" fmla="*/ 2737825 w 2772385"/>
              <a:gd name="connsiteY80" fmla="*/ 675283 h 3811169"/>
              <a:gd name="connsiteX81" fmla="*/ 2709775 w 2772385"/>
              <a:gd name="connsiteY81" fmla="*/ 434061 h 3811169"/>
              <a:gd name="connsiteX82" fmla="*/ 2625628 w 2772385"/>
              <a:gd name="connsiteY82" fmla="*/ 86253 h 3811169"/>
              <a:gd name="connsiteX0" fmla="*/ 2625628 w 2772385"/>
              <a:gd name="connsiteY0" fmla="*/ 86253 h 3816780"/>
              <a:gd name="connsiteX1" fmla="*/ 2429284 w 2772385"/>
              <a:gd name="connsiteY1" fmla="*/ 2105 h 3816780"/>
              <a:gd name="connsiteX2" fmla="*/ 2188062 w 2772385"/>
              <a:gd name="connsiteY2" fmla="*/ 159180 h 3816780"/>
              <a:gd name="connsiteX3" fmla="*/ 2087086 w 2772385"/>
              <a:gd name="connsiteY3" fmla="*/ 198449 h 3816780"/>
              <a:gd name="connsiteX4" fmla="*/ 2137574 w 2772385"/>
              <a:gd name="connsiteY4" fmla="*/ 288206 h 3816780"/>
              <a:gd name="connsiteX5" fmla="*/ 2025378 w 2772385"/>
              <a:gd name="connsiteY5" fmla="*/ 450890 h 3816780"/>
              <a:gd name="connsiteX6" fmla="*/ 2131966 w 2772385"/>
              <a:gd name="connsiteY6" fmla="*/ 585526 h 3816780"/>
              <a:gd name="connsiteX7" fmla="*/ 2154403 w 2772385"/>
              <a:gd name="connsiteY7" fmla="*/ 708942 h 3816780"/>
              <a:gd name="connsiteX8" fmla="*/ 2025378 w 2772385"/>
              <a:gd name="connsiteY8" fmla="*/ 753820 h 3816780"/>
              <a:gd name="connsiteX9" fmla="*/ 1991719 w 2772385"/>
              <a:gd name="connsiteY9" fmla="*/ 821138 h 3816780"/>
              <a:gd name="connsiteX10" fmla="*/ 1991719 w 2772385"/>
              <a:gd name="connsiteY10" fmla="*/ 708942 h 3816780"/>
              <a:gd name="connsiteX11" fmla="*/ 1941230 w 2772385"/>
              <a:gd name="connsiteY11" fmla="*/ 669673 h 3816780"/>
              <a:gd name="connsiteX12" fmla="*/ 1778546 w 2772385"/>
              <a:gd name="connsiteY12" fmla="*/ 770649 h 3816780"/>
              <a:gd name="connsiteX13" fmla="*/ 1397078 w 2772385"/>
              <a:gd name="connsiteY13" fmla="*/ 579916 h 3816780"/>
              <a:gd name="connsiteX14" fmla="*/ 1660739 w 2772385"/>
              <a:gd name="connsiteY14" fmla="*/ 1129678 h 3816780"/>
              <a:gd name="connsiteX15" fmla="*/ 1795375 w 2772385"/>
              <a:gd name="connsiteY15" fmla="*/ 1225045 h 3816780"/>
              <a:gd name="connsiteX16" fmla="*/ 1643910 w 2772385"/>
              <a:gd name="connsiteY16" fmla="*/ 1449437 h 3816780"/>
              <a:gd name="connsiteX17" fmla="*/ 1722448 w 2772385"/>
              <a:gd name="connsiteY17" fmla="*/ 1668220 h 3816780"/>
              <a:gd name="connsiteX18" fmla="*/ 1812205 w 2772385"/>
              <a:gd name="connsiteY18" fmla="*/ 1662611 h 3816780"/>
              <a:gd name="connsiteX19" fmla="*/ 1621470 w 2772385"/>
              <a:gd name="connsiteY19" fmla="*/ 1858954 h 3816780"/>
              <a:gd name="connsiteX20" fmla="*/ 909024 w 2772385"/>
              <a:gd name="connsiteY20" fmla="*/ 1578463 h 3816780"/>
              <a:gd name="connsiteX21" fmla="*/ 454629 w 2772385"/>
              <a:gd name="connsiteY21" fmla="*/ 2605060 h 3816780"/>
              <a:gd name="connsiteX22" fmla="*/ 258286 w 2772385"/>
              <a:gd name="connsiteY22" fmla="*/ 2812623 h 3816780"/>
              <a:gd name="connsiteX23" fmla="*/ 39503 w 2772385"/>
              <a:gd name="connsiteY23" fmla="*/ 2857501 h 3816780"/>
              <a:gd name="connsiteX24" fmla="*/ 28282 w 2772385"/>
              <a:gd name="connsiteY24" fmla="*/ 2975307 h 3816780"/>
              <a:gd name="connsiteX25" fmla="*/ 258285 w 2772385"/>
              <a:gd name="connsiteY25" fmla="*/ 3087504 h 3816780"/>
              <a:gd name="connsiteX26" fmla="*/ 527559 w 2772385"/>
              <a:gd name="connsiteY26" fmla="*/ 2986527 h 3816780"/>
              <a:gd name="connsiteX27" fmla="*/ 488288 w 2772385"/>
              <a:gd name="connsiteY27" fmla="*/ 3154821 h 3816780"/>
              <a:gd name="connsiteX28" fmla="*/ 561215 w 2772385"/>
              <a:gd name="connsiteY28" fmla="*/ 3194090 h 3816780"/>
              <a:gd name="connsiteX29" fmla="*/ 381702 w 2772385"/>
              <a:gd name="connsiteY29" fmla="*/ 3592387 h 3816780"/>
              <a:gd name="connsiteX30" fmla="*/ 213408 w 2772385"/>
              <a:gd name="connsiteY30" fmla="*/ 3698973 h 3816780"/>
              <a:gd name="connsiteX31" fmla="*/ 280726 w 2772385"/>
              <a:gd name="connsiteY31" fmla="*/ 3811169 h 3816780"/>
              <a:gd name="connsiteX32" fmla="*/ 477068 w 2772385"/>
              <a:gd name="connsiteY32" fmla="*/ 3771902 h 3816780"/>
              <a:gd name="connsiteX33" fmla="*/ 622923 w 2772385"/>
              <a:gd name="connsiteY33" fmla="*/ 3547509 h 3816780"/>
              <a:gd name="connsiteX34" fmla="*/ 662193 w 2772385"/>
              <a:gd name="connsiteY34" fmla="*/ 3743852 h 3816780"/>
              <a:gd name="connsiteX35" fmla="*/ 735121 w 2772385"/>
              <a:gd name="connsiteY35" fmla="*/ 3732634 h 3816780"/>
              <a:gd name="connsiteX36" fmla="*/ 774389 w 2772385"/>
              <a:gd name="connsiteY36" fmla="*/ 3474581 h 3816780"/>
              <a:gd name="connsiteX37" fmla="*/ 695851 w 2772385"/>
              <a:gd name="connsiteY37" fmla="*/ 3238969 h 3816780"/>
              <a:gd name="connsiteX38" fmla="*/ 897805 w 2772385"/>
              <a:gd name="connsiteY38" fmla="*/ 2627499 h 3816780"/>
              <a:gd name="connsiteX39" fmla="*/ 1161466 w 2772385"/>
              <a:gd name="connsiteY39" fmla="*/ 2520912 h 3816780"/>
              <a:gd name="connsiteX40" fmla="*/ 1492445 w 2772385"/>
              <a:gd name="connsiteY40" fmla="*/ 2638718 h 3816780"/>
              <a:gd name="connsiteX41" fmla="*/ 1587812 w 2772385"/>
              <a:gd name="connsiteY41" fmla="*/ 2627499 h 3816780"/>
              <a:gd name="connsiteX42" fmla="*/ 1643910 w 2772385"/>
              <a:gd name="connsiteY42" fmla="*/ 2728476 h 3816780"/>
              <a:gd name="connsiteX43" fmla="*/ 1795375 w 2772385"/>
              <a:gd name="connsiteY43" fmla="*/ 2762134 h 3816780"/>
              <a:gd name="connsiteX44" fmla="*/ 1795375 w 2772385"/>
              <a:gd name="connsiteY44" fmla="*/ 2812623 h 3816780"/>
              <a:gd name="connsiteX45" fmla="*/ 1750497 w 2772385"/>
              <a:gd name="connsiteY45" fmla="*/ 3008967 h 3816780"/>
              <a:gd name="connsiteX46" fmla="*/ 1711228 w 2772385"/>
              <a:gd name="connsiteY46" fmla="*/ 3328726 h 3816780"/>
              <a:gd name="connsiteX47" fmla="*/ 1200735 w 2772385"/>
              <a:gd name="connsiteY47" fmla="*/ 3396044 h 3816780"/>
              <a:gd name="connsiteX48" fmla="*/ 1172686 w 2772385"/>
              <a:gd name="connsiteY48" fmla="*/ 3468971 h 3816780"/>
              <a:gd name="connsiteX49" fmla="*/ 1110978 w 2772385"/>
              <a:gd name="connsiteY49" fmla="*/ 3497020 h 3816780"/>
              <a:gd name="connsiteX50" fmla="*/ 1139027 w 2772385"/>
              <a:gd name="connsiteY50" fmla="*/ 3631656 h 3816780"/>
              <a:gd name="connsiteX51" fmla="*/ 1279272 w 2772385"/>
              <a:gd name="connsiteY51" fmla="*/ 3637266 h 3816780"/>
              <a:gd name="connsiteX52" fmla="*/ 1273662 w 2772385"/>
              <a:gd name="connsiteY52" fmla="*/ 3485801 h 3816780"/>
              <a:gd name="connsiteX53" fmla="*/ 1453176 w 2772385"/>
              <a:gd name="connsiteY53" fmla="*/ 3497020 h 3816780"/>
              <a:gd name="connsiteX54" fmla="*/ 1425127 w 2772385"/>
              <a:gd name="connsiteY54" fmla="*/ 3575558 h 3816780"/>
              <a:gd name="connsiteX55" fmla="*/ 1397078 w 2772385"/>
              <a:gd name="connsiteY55" fmla="*/ 3637266 h 3816780"/>
              <a:gd name="connsiteX56" fmla="*/ 1312931 w 2772385"/>
              <a:gd name="connsiteY56" fmla="*/ 3654095 h 3816780"/>
              <a:gd name="connsiteX57" fmla="*/ 1447567 w 2772385"/>
              <a:gd name="connsiteY57" fmla="*/ 3777511 h 3816780"/>
              <a:gd name="connsiteX58" fmla="*/ 1514884 w 2772385"/>
              <a:gd name="connsiteY58" fmla="*/ 3642876 h 3816780"/>
              <a:gd name="connsiteX59" fmla="*/ 1817814 w 2772385"/>
              <a:gd name="connsiteY59" fmla="*/ 3541899 h 3816780"/>
              <a:gd name="connsiteX60" fmla="*/ 2154403 w 2772385"/>
              <a:gd name="connsiteY60" fmla="*/ 3614826 h 3816780"/>
              <a:gd name="connsiteX61" fmla="*/ 2109525 w 2772385"/>
              <a:gd name="connsiteY61" fmla="*/ 3715803 h 3816780"/>
              <a:gd name="connsiteX62" fmla="*/ 2193672 w 2772385"/>
              <a:gd name="connsiteY62" fmla="*/ 3816780 h 3816780"/>
              <a:gd name="connsiteX63" fmla="*/ 2277819 w 2772385"/>
              <a:gd name="connsiteY63" fmla="*/ 3732633 h 3816780"/>
              <a:gd name="connsiteX64" fmla="*/ 2266600 w 2772385"/>
              <a:gd name="connsiteY64" fmla="*/ 3637266 h 3816780"/>
              <a:gd name="connsiteX65" fmla="*/ 2423675 w 2772385"/>
              <a:gd name="connsiteY65" fmla="*/ 3564338 h 3816780"/>
              <a:gd name="connsiteX66" fmla="*/ 2429284 w 2772385"/>
              <a:gd name="connsiteY66" fmla="*/ 3384824 h 3816780"/>
              <a:gd name="connsiteX67" fmla="*/ 1907572 w 2772385"/>
              <a:gd name="connsiteY67" fmla="*/ 3345556 h 3816780"/>
              <a:gd name="connsiteX68" fmla="*/ 1913181 w 2772385"/>
              <a:gd name="connsiteY68" fmla="*/ 3031406 h 3816780"/>
              <a:gd name="connsiteX69" fmla="*/ 1907571 w 2772385"/>
              <a:gd name="connsiteY69" fmla="*/ 3014576 h 3816780"/>
              <a:gd name="connsiteX70" fmla="*/ 1901962 w 2772385"/>
              <a:gd name="connsiteY70" fmla="*/ 2835062 h 3816780"/>
              <a:gd name="connsiteX71" fmla="*/ 1857083 w 2772385"/>
              <a:gd name="connsiteY71" fmla="*/ 2773354 h 3816780"/>
              <a:gd name="connsiteX72" fmla="*/ 2047817 w 2772385"/>
              <a:gd name="connsiteY72" fmla="*/ 2717256 h 3816780"/>
              <a:gd name="connsiteX73" fmla="*/ 2081476 w 2772385"/>
              <a:gd name="connsiteY73" fmla="*/ 2610669 h 3816780"/>
              <a:gd name="connsiteX74" fmla="*/ 2367576 w 2772385"/>
              <a:gd name="connsiteY74" fmla="*/ 2621889 h 3816780"/>
              <a:gd name="connsiteX75" fmla="*/ 2591969 w 2772385"/>
              <a:gd name="connsiteY75" fmla="*/ 2032858 h 3816780"/>
              <a:gd name="connsiteX76" fmla="*/ 2547090 w 2772385"/>
              <a:gd name="connsiteY76" fmla="*/ 1948711 h 3816780"/>
              <a:gd name="connsiteX77" fmla="*/ 2692946 w 2772385"/>
              <a:gd name="connsiteY77" fmla="*/ 1460657 h 3816780"/>
              <a:gd name="connsiteX78" fmla="*/ 2636848 w 2772385"/>
              <a:gd name="connsiteY78" fmla="*/ 1354071 h 3816780"/>
              <a:gd name="connsiteX79" fmla="*/ 2479772 w 2772385"/>
              <a:gd name="connsiteY79" fmla="*/ 798699 h 3816780"/>
              <a:gd name="connsiteX80" fmla="*/ 2737825 w 2772385"/>
              <a:gd name="connsiteY80" fmla="*/ 675283 h 3816780"/>
              <a:gd name="connsiteX81" fmla="*/ 2709775 w 2772385"/>
              <a:gd name="connsiteY81" fmla="*/ 434061 h 3816780"/>
              <a:gd name="connsiteX82" fmla="*/ 2625628 w 2772385"/>
              <a:gd name="connsiteY82" fmla="*/ 86253 h 3816780"/>
              <a:gd name="connsiteX0" fmla="*/ 2625628 w 2772385"/>
              <a:gd name="connsiteY0" fmla="*/ 86253 h 3816780"/>
              <a:gd name="connsiteX1" fmla="*/ 2429284 w 2772385"/>
              <a:gd name="connsiteY1" fmla="*/ 2105 h 3816780"/>
              <a:gd name="connsiteX2" fmla="*/ 2188062 w 2772385"/>
              <a:gd name="connsiteY2" fmla="*/ 159180 h 3816780"/>
              <a:gd name="connsiteX3" fmla="*/ 2087086 w 2772385"/>
              <a:gd name="connsiteY3" fmla="*/ 198449 h 3816780"/>
              <a:gd name="connsiteX4" fmla="*/ 2137574 w 2772385"/>
              <a:gd name="connsiteY4" fmla="*/ 288206 h 3816780"/>
              <a:gd name="connsiteX5" fmla="*/ 2025378 w 2772385"/>
              <a:gd name="connsiteY5" fmla="*/ 450890 h 3816780"/>
              <a:gd name="connsiteX6" fmla="*/ 2131966 w 2772385"/>
              <a:gd name="connsiteY6" fmla="*/ 585526 h 3816780"/>
              <a:gd name="connsiteX7" fmla="*/ 2154403 w 2772385"/>
              <a:gd name="connsiteY7" fmla="*/ 708942 h 3816780"/>
              <a:gd name="connsiteX8" fmla="*/ 2025378 w 2772385"/>
              <a:gd name="connsiteY8" fmla="*/ 753820 h 3816780"/>
              <a:gd name="connsiteX9" fmla="*/ 1991719 w 2772385"/>
              <a:gd name="connsiteY9" fmla="*/ 821138 h 3816780"/>
              <a:gd name="connsiteX10" fmla="*/ 1991719 w 2772385"/>
              <a:gd name="connsiteY10" fmla="*/ 708942 h 3816780"/>
              <a:gd name="connsiteX11" fmla="*/ 1941230 w 2772385"/>
              <a:gd name="connsiteY11" fmla="*/ 669673 h 3816780"/>
              <a:gd name="connsiteX12" fmla="*/ 1778546 w 2772385"/>
              <a:gd name="connsiteY12" fmla="*/ 770649 h 3816780"/>
              <a:gd name="connsiteX13" fmla="*/ 1397078 w 2772385"/>
              <a:gd name="connsiteY13" fmla="*/ 579916 h 3816780"/>
              <a:gd name="connsiteX14" fmla="*/ 1660739 w 2772385"/>
              <a:gd name="connsiteY14" fmla="*/ 1129678 h 3816780"/>
              <a:gd name="connsiteX15" fmla="*/ 1795375 w 2772385"/>
              <a:gd name="connsiteY15" fmla="*/ 1225045 h 3816780"/>
              <a:gd name="connsiteX16" fmla="*/ 1643910 w 2772385"/>
              <a:gd name="connsiteY16" fmla="*/ 1449437 h 3816780"/>
              <a:gd name="connsiteX17" fmla="*/ 1722448 w 2772385"/>
              <a:gd name="connsiteY17" fmla="*/ 1668220 h 3816780"/>
              <a:gd name="connsiteX18" fmla="*/ 1812205 w 2772385"/>
              <a:gd name="connsiteY18" fmla="*/ 1662611 h 3816780"/>
              <a:gd name="connsiteX19" fmla="*/ 1621470 w 2772385"/>
              <a:gd name="connsiteY19" fmla="*/ 1858954 h 3816780"/>
              <a:gd name="connsiteX20" fmla="*/ 909024 w 2772385"/>
              <a:gd name="connsiteY20" fmla="*/ 1578463 h 3816780"/>
              <a:gd name="connsiteX21" fmla="*/ 454629 w 2772385"/>
              <a:gd name="connsiteY21" fmla="*/ 2605060 h 3816780"/>
              <a:gd name="connsiteX22" fmla="*/ 258286 w 2772385"/>
              <a:gd name="connsiteY22" fmla="*/ 2812623 h 3816780"/>
              <a:gd name="connsiteX23" fmla="*/ 39503 w 2772385"/>
              <a:gd name="connsiteY23" fmla="*/ 2857501 h 3816780"/>
              <a:gd name="connsiteX24" fmla="*/ 28282 w 2772385"/>
              <a:gd name="connsiteY24" fmla="*/ 2975307 h 3816780"/>
              <a:gd name="connsiteX25" fmla="*/ 258285 w 2772385"/>
              <a:gd name="connsiteY25" fmla="*/ 3087504 h 3816780"/>
              <a:gd name="connsiteX26" fmla="*/ 527559 w 2772385"/>
              <a:gd name="connsiteY26" fmla="*/ 2986527 h 3816780"/>
              <a:gd name="connsiteX27" fmla="*/ 488288 w 2772385"/>
              <a:gd name="connsiteY27" fmla="*/ 3154821 h 3816780"/>
              <a:gd name="connsiteX28" fmla="*/ 561215 w 2772385"/>
              <a:gd name="connsiteY28" fmla="*/ 3194090 h 3816780"/>
              <a:gd name="connsiteX29" fmla="*/ 381702 w 2772385"/>
              <a:gd name="connsiteY29" fmla="*/ 3592387 h 3816780"/>
              <a:gd name="connsiteX30" fmla="*/ 213408 w 2772385"/>
              <a:gd name="connsiteY30" fmla="*/ 3698973 h 3816780"/>
              <a:gd name="connsiteX31" fmla="*/ 280726 w 2772385"/>
              <a:gd name="connsiteY31" fmla="*/ 3811169 h 3816780"/>
              <a:gd name="connsiteX32" fmla="*/ 477068 w 2772385"/>
              <a:gd name="connsiteY32" fmla="*/ 3771902 h 3816780"/>
              <a:gd name="connsiteX33" fmla="*/ 622923 w 2772385"/>
              <a:gd name="connsiteY33" fmla="*/ 3547509 h 3816780"/>
              <a:gd name="connsiteX34" fmla="*/ 662193 w 2772385"/>
              <a:gd name="connsiteY34" fmla="*/ 3743852 h 3816780"/>
              <a:gd name="connsiteX35" fmla="*/ 735121 w 2772385"/>
              <a:gd name="connsiteY35" fmla="*/ 3732634 h 3816780"/>
              <a:gd name="connsiteX36" fmla="*/ 774389 w 2772385"/>
              <a:gd name="connsiteY36" fmla="*/ 3474581 h 3816780"/>
              <a:gd name="connsiteX37" fmla="*/ 695851 w 2772385"/>
              <a:gd name="connsiteY37" fmla="*/ 3238969 h 3816780"/>
              <a:gd name="connsiteX38" fmla="*/ 897805 w 2772385"/>
              <a:gd name="connsiteY38" fmla="*/ 2627499 h 3816780"/>
              <a:gd name="connsiteX39" fmla="*/ 1161466 w 2772385"/>
              <a:gd name="connsiteY39" fmla="*/ 2520912 h 3816780"/>
              <a:gd name="connsiteX40" fmla="*/ 1492445 w 2772385"/>
              <a:gd name="connsiteY40" fmla="*/ 2638718 h 3816780"/>
              <a:gd name="connsiteX41" fmla="*/ 1587812 w 2772385"/>
              <a:gd name="connsiteY41" fmla="*/ 2627499 h 3816780"/>
              <a:gd name="connsiteX42" fmla="*/ 1643910 w 2772385"/>
              <a:gd name="connsiteY42" fmla="*/ 2728476 h 3816780"/>
              <a:gd name="connsiteX43" fmla="*/ 1795375 w 2772385"/>
              <a:gd name="connsiteY43" fmla="*/ 2762134 h 3816780"/>
              <a:gd name="connsiteX44" fmla="*/ 1795375 w 2772385"/>
              <a:gd name="connsiteY44" fmla="*/ 2812623 h 3816780"/>
              <a:gd name="connsiteX45" fmla="*/ 1750497 w 2772385"/>
              <a:gd name="connsiteY45" fmla="*/ 3008967 h 3816780"/>
              <a:gd name="connsiteX46" fmla="*/ 1711228 w 2772385"/>
              <a:gd name="connsiteY46" fmla="*/ 3328726 h 3816780"/>
              <a:gd name="connsiteX47" fmla="*/ 1200735 w 2772385"/>
              <a:gd name="connsiteY47" fmla="*/ 3396044 h 3816780"/>
              <a:gd name="connsiteX48" fmla="*/ 1172686 w 2772385"/>
              <a:gd name="connsiteY48" fmla="*/ 3468971 h 3816780"/>
              <a:gd name="connsiteX49" fmla="*/ 1110978 w 2772385"/>
              <a:gd name="connsiteY49" fmla="*/ 3497020 h 3816780"/>
              <a:gd name="connsiteX50" fmla="*/ 1139027 w 2772385"/>
              <a:gd name="connsiteY50" fmla="*/ 3631656 h 3816780"/>
              <a:gd name="connsiteX51" fmla="*/ 1279272 w 2772385"/>
              <a:gd name="connsiteY51" fmla="*/ 3637266 h 3816780"/>
              <a:gd name="connsiteX52" fmla="*/ 1273662 w 2772385"/>
              <a:gd name="connsiteY52" fmla="*/ 3485801 h 3816780"/>
              <a:gd name="connsiteX53" fmla="*/ 1453176 w 2772385"/>
              <a:gd name="connsiteY53" fmla="*/ 3497020 h 3816780"/>
              <a:gd name="connsiteX54" fmla="*/ 1425127 w 2772385"/>
              <a:gd name="connsiteY54" fmla="*/ 3575558 h 3816780"/>
              <a:gd name="connsiteX55" fmla="*/ 1397078 w 2772385"/>
              <a:gd name="connsiteY55" fmla="*/ 3637266 h 3816780"/>
              <a:gd name="connsiteX56" fmla="*/ 1340980 w 2772385"/>
              <a:gd name="connsiteY56" fmla="*/ 3704584 h 3816780"/>
              <a:gd name="connsiteX57" fmla="*/ 1447567 w 2772385"/>
              <a:gd name="connsiteY57" fmla="*/ 3777511 h 3816780"/>
              <a:gd name="connsiteX58" fmla="*/ 1514884 w 2772385"/>
              <a:gd name="connsiteY58" fmla="*/ 3642876 h 3816780"/>
              <a:gd name="connsiteX59" fmla="*/ 1817814 w 2772385"/>
              <a:gd name="connsiteY59" fmla="*/ 3541899 h 3816780"/>
              <a:gd name="connsiteX60" fmla="*/ 2154403 w 2772385"/>
              <a:gd name="connsiteY60" fmla="*/ 3614826 h 3816780"/>
              <a:gd name="connsiteX61" fmla="*/ 2109525 w 2772385"/>
              <a:gd name="connsiteY61" fmla="*/ 3715803 h 3816780"/>
              <a:gd name="connsiteX62" fmla="*/ 2193672 w 2772385"/>
              <a:gd name="connsiteY62" fmla="*/ 3816780 h 3816780"/>
              <a:gd name="connsiteX63" fmla="*/ 2277819 w 2772385"/>
              <a:gd name="connsiteY63" fmla="*/ 3732633 h 3816780"/>
              <a:gd name="connsiteX64" fmla="*/ 2266600 w 2772385"/>
              <a:gd name="connsiteY64" fmla="*/ 3637266 h 3816780"/>
              <a:gd name="connsiteX65" fmla="*/ 2423675 w 2772385"/>
              <a:gd name="connsiteY65" fmla="*/ 3564338 h 3816780"/>
              <a:gd name="connsiteX66" fmla="*/ 2429284 w 2772385"/>
              <a:gd name="connsiteY66" fmla="*/ 3384824 h 3816780"/>
              <a:gd name="connsiteX67" fmla="*/ 1907572 w 2772385"/>
              <a:gd name="connsiteY67" fmla="*/ 3345556 h 3816780"/>
              <a:gd name="connsiteX68" fmla="*/ 1913181 w 2772385"/>
              <a:gd name="connsiteY68" fmla="*/ 3031406 h 3816780"/>
              <a:gd name="connsiteX69" fmla="*/ 1907571 w 2772385"/>
              <a:gd name="connsiteY69" fmla="*/ 3014576 h 3816780"/>
              <a:gd name="connsiteX70" fmla="*/ 1901962 w 2772385"/>
              <a:gd name="connsiteY70" fmla="*/ 2835062 h 3816780"/>
              <a:gd name="connsiteX71" fmla="*/ 1857083 w 2772385"/>
              <a:gd name="connsiteY71" fmla="*/ 2773354 h 3816780"/>
              <a:gd name="connsiteX72" fmla="*/ 2047817 w 2772385"/>
              <a:gd name="connsiteY72" fmla="*/ 2717256 h 3816780"/>
              <a:gd name="connsiteX73" fmla="*/ 2081476 w 2772385"/>
              <a:gd name="connsiteY73" fmla="*/ 2610669 h 3816780"/>
              <a:gd name="connsiteX74" fmla="*/ 2367576 w 2772385"/>
              <a:gd name="connsiteY74" fmla="*/ 2621889 h 3816780"/>
              <a:gd name="connsiteX75" fmla="*/ 2591969 w 2772385"/>
              <a:gd name="connsiteY75" fmla="*/ 2032858 h 3816780"/>
              <a:gd name="connsiteX76" fmla="*/ 2547090 w 2772385"/>
              <a:gd name="connsiteY76" fmla="*/ 1948711 h 3816780"/>
              <a:gd name="connsiteX77" fmla="*/ 2692946 w 2772385"/>
              <a:gd name="connsiteY77" fmla="*/ 1460657 h 3816780"/>
              <a:gd name="connsiteX78" fmla="*/ 2636848 w 2772385"/>
              <a:gd name="connsiteY78" fmla="*/ 1354071 h 3816780"/>
              <a:gd name="connsiteX79" fmla="*/ 2479772 w 2772385"/>
              <a:gd name="connsiteY79" fmla="*/ 798699 h 3816780"/>
              <a:gd name="connsiteX80" fmla="*/ 2737825 w 2772385"/>
              <a:gd name="connsiteY80" fmla="*/ 675283 h 3816780"/>
              <a:gd name="connsiteX81" fmla="*/ 2709775 w 2772385"/>
              <a:gd name="connsiteY81" fmla="*/ 434061 h 3816780"/>
              <a:gd name="connsiteX82" fmla="*/ 2625628 w 2772385"/>
              <a:gd name="connsiteY82" fmla="*/ 86253 h 3816780"/>
              <a:gd name="connsiteX0" fmla="*/ 2625628 w 2772385"/>
              <a:gd name="connsiteY0" fmla="*/ 86253 h 3816780"/>
              <a:gd name="connsiteX1" fmla="*/ 2429284 w 2772385"/>
              <a:gd name="connsiteY1" fmla="*/ 2105 h 3816780"/>
              <a:gd name="connsiteX2" fmla="*/ 2188062 w 2772385"/>
              <a:gd name="connsiteY2" fmla="*/ 159180 h 3816780"/>
              <a:gd name="connsiteX3" fmla="*/ 2087086 w 2772385"/>
              <a:gd name="connsiteY3" fmla="*/ 198449 h 3816780"/>
              <a:gd name="connsiteX4" fmla="*/ 2137574 w 2772385"/>
              <a:gd name="connsiteY4" fmla="*/ 288206 h 3816780"/>
              <a:gd name="connsiteX5" fmla="*/ 2025378 w 2772385"/>
              <a:gd name="connsiteY5" fmla="*/ 450890 h 3816780"/>
              <a:gd name="connsiteX6" fmla="*/ 2131966 w 2772385"/>
              <a:gd name="connsiteY6" fmla="*/ 585526 h 3816780"/>
              <a:gd name="connsiteX7" fmla="*/ 2154403 w 2772385"/>
              <a:gd name="connsiteY7" fmla="*/ 708942 h 3816780"/>
              <a:gd name="connsiteX8" fmla="*/ 2025378 w 2772385"/>
              <a:gd name="connsiteY8" fmla="*/ 753820 h 3816780"/>
              <a:gd name="connsiteX9" fmla="*/ 1991719 w 2772385"/>
              <a:gd name="connsiteY9" fmla="*/ 821138 h 3816780"/>
              <a:gd name="connsiteX10" fmla="*/ 1991719 w 2772385"/>
              <a:gd name="connsiteY10" fmla="*/ 708942 h 3816780"/>
              <a:gd name="connsiteX11" fmla="*/ 1941230 w 2772385"/>
              <a:gd name="connsiteY11" fmla="*/ 669673 h 3816780"/>
              <a:gd name="connsiteX12" fmla="*/ 1778546 w 2772385"/>
              <a:gd name="connsiteY12" fmla="*/ 770649 h 3816780"/>
              <a:gd name="connsiteX13" fmla="*/ 1397078 w 2772385"/>
              <a:gd name="connsiteY13" fmla="*/ 579916 h 3816780"/>
              <a:gd name="connsiteX14" fmla="*/ 1660739 w 2772385"/>
              <a:gd name="connsiteY14" fmla="*/ 1129678 h 3816780"/>
              <a:gd name="connsiteX15" fmla="*/ 1795375 w 2772385"/>
              <a:gd name="connsiteY15" fmla="*/ 1225045 h 3816780"/>
              <a:gd name="connsiteX16" fmla="*/ 1643910 w 2772385"/>
              <a:gd name="connsiteY16" fmla="*/ 1449437 h 3816780"/>
              <a:gd name="connsiteX17" fmla="*/ 1722448 w 2772385"/>
              <a:gd name="connsiteY17" fmla="*/ 1668220 h 3816780"/>
              <a:gd name="connsiteX18" fmla="*/ 1812205 w 2772385"/>
              <a:gd name="connsiteY18" fmla="*/ 1662611 h 3816780"/>
              <a:gd name="connsiteX19" fmla="*/ 1621470 w 2772385"/>
              <a:gd name="connsiteY19" fmla="*/ 1858954 h 3816780"/>
              <a:gd name="connsiteX20" fmla="*/ 909024 w 2772385"/>
              <a:gd name="connsiteY20" fmla="*/ 1578463 h 3816780"/>
              <a:gd name="connsiteX21" fmla="*/ 454629 w 2772385"/>
              <a:gd name="connsiteY21" fmla="*/ 2605060 h 3816780"/>
              <a:gd name="connsiteX22" fmla="*/ 258286 w 2772385"/>
              <a:gd name="connsiteY22" fmla="*/ 2812623 h 3816780"/>
              <a:gd name="connsiteX23" fmla="*/ 39503 w 2772385"/>
              <a:gd name="connsiteY23" fmla="*/ 2857501 h 3816780"/>
              <a:gd name="connsiteX24" fmla="*/ 28282 w 2772385"/>
              <a:gd name="connsiteY24" fmla="*/ 2975307 h 3816780"/>
              <a:gd name="connsiteX25" fmla="*/ 258285 w 2772385"/>
              <a:gd name="connsiteY25" fmla="*/ 3087504 h 3816780"/>
              <a:gd name="connsiteX26" fmla="*/ 527559 w 2772385"/>
              <a:gd name="connsiteY26" fmla="*/ 2986527 h 3816780"/>
              <a:gd name="connsiteX27" fmla="*/ 488288 w 2772385"/>
              <a:gd name="connsiteY27" fmla="*/ 3154821 h 3816780"/>
              <a:gd name="connsiteX28" fmla="*/ 561215 w 2772385"/>
              <a:gd name="connsiteY28" fmla="*/ 3194090 h 3816780"/>
              <a:gd name="connsiteX29" fmla="*/ 381702 w 2772385"/>
              <a:gd name="connsiteY29" fmla="*/ 3592387 h 3816780"/>
              <a:gd name="connsiteX30" fmla="*/ 213408 w 2772385"/>
              <a:gd name="connsiteY30" fmla="*/ 3698973 h 3816780"/>
              <a:gd name="connsiteX31" fmla="*/ 280726 w 2772385"/>
              <a:gd name="connsiteY31" fmla="*/ 3811169 h 3816780"/>
              <a:gd name="connsiteX32" fmla="*/ 477068 w 2772385"/>
              <a:gd name="connsiteY32" fmla="*/ 3771902 h 3816780"/>
              <a:gd name="connsiteX33" fmla="*/ 622923 w 2772385"/>
              <a:gd name="connsiteY33" fmla="*/ 3547509 h 3816780"/>
              <a:gd name="connsiteX34" fmla="*/ 662193 w 2772385"/>
              <a:gd name="connsiteY34" fmla="*/ 3743852 h 3816780"/>
              <a:gd name="connsiteX35" fmla="*/ 735121 w 2772385"/>
              <a:gd name="connsiteY35" fmla="*/ 3732634 h 3816780"/>
              <a:gd name="connsiteX36" fmla="*/ 774389 w 2772385"/>
              <a:gd name="connsiteY36" fmla="*/ 3474581 h 3816780"/>
              <a:gd name="connsiteX37" fmla="*/ 695851 w 2772385"/>
              <a:gd name="connsiteY37" fmla="*/ 3238969 h 3816780"/>
              <a:gd name="connsiteX38" fmla="*/ 897805 w 2772385"/>
              <a:gd name="connsiteY38" fmla="*/ 2627499 h 3816780"/>
              <a:gd name="connsiteX39" fmla="*/ 1161466 w 2772385"/>
              <a:gd name="connsiteY39" fmla="*/ 2520912 h 3816780"/>
              <a:gd name="connsiteX40" fmla="*/ 1492445 w 2772385"/>
              <a:gd name="connsiteY40" fmla="*/ 2638718 h 3816780"/>
              <a:gd name="connsiteX41" fmla="*/ 1587812 w 2772385"/>
              <a:gd name="connsiteY41" fmla="*/ 2627499 h 3816780"/>
              <a:gd name="connsiteX42" fmla="*/ 1643910 w 2772385"/>
              <a:gd name="connsiteY42" fmla="*/ 2728476 h 3816780"/>
              <a:gd name="connsiteX43" fmla="*/ 1795375 w 2772385"/>
              <a:gd name="connsiteY43" fmla="*/ 2762134 h 3816780"/>
              <a:gd name="connsiteX44" fmla="*/ 1795375 w 2772385"/>
              <a:gd name="connsiteY44" fmla="*/ 2812623 h 3816780"/>
              <a:gd name="connsiteX45" fmla="*/ 1750497 w 2772385"/>
              <a:gd name="connsiteY45" fmla="*/ 3008967 h 3816780"/>
              <a:gd name="connsiteX46" fmla="*/ 1711228 w 2772385"/>
              <a:gd name="connsiteY46" fmla="*/ 3328726 h 3816780"/>
              <a:gd name="connsiteX47" fmla="*/ 1200735 w 2772385"/>
              <a:gd name="connsiteY47" fmla="*/ 3396044 h 3816780"/>
              <a:gd name="connsiteX48" fmla="*/ 1172686 w 2772385"/>
              <a:gd name="connsiteY48" fmla="*/ 3468971 h 3816780"/>
              <a:gd name="connsiteX49" fmla="*/ 1110978 w 2772385"/>
              <a:gd name="connsiteY49" fmla="*/ 3497020 h 3816780"/>
              <a:gd name="connsiteX50" fmla="*/ 1139027 w 2772385"/>
              <a:gd name="connsiteY50" fmla="*/ 3631656 h 3816780"/>
              <a:gd name="connsiteX51" fmla="*/ 1279272 w 2772385"/>
              <a:gd name="connsiteY51" fmla="*/ 3637266 h 3816780"/>
              <a:gd name="connsiteX52" fmla="*/ 1273662 w 2772385"/>
              <a:gd name="connsiteY52" fmla="*/ 3485801 h 3816780"/>
              <a:gd name="connsiteX53" fmla="*/ 1453176 w 2772385"/>
              <a:gd name="connsiteY53" fmla="*/ 3497020 h 3816780"/>
              <a:gd name="connsiteX54" fmla="*/ 1425127 w 2772385"/>
              <a:gd name="connsiteY54" fmla="*/ 3575558 h 3816780"/>
              <a:gd name="connsiteX55" fmla="*/ 1397078 w 2772385"/>
              <a:gd name="connsiteY55" fmla="*/ 3637266 h 3816780"/>
              <a:gd name="connsiteX56" fmla="*/ 1340980 w 2772385"/>
              <a:gd name="connsiteY56" fmla="*/ 3704584 h 3816780"/>
              <a:gd name="connsiteX57" fmla="*/ 1447567 w 2772385"/>
              <a:gd name="connsiteY57" fmla="*/ 3777511 h 3816780"/>
              <a:gd name="connsiteX58" fmla="*/ 1514884 w 2772385"/>
              <a:gd name="connsiteY58" fmla="*/ 3642876 h 3816780"/>
              <a:gd name="connsiteX59" fmla="*/ 1817814 w 2772385"/>
              <a:gd name="connsiteY59" fmla="*/ 3541899 h 3816780"/>
              <a:gd name="connsiteX60" fmla="*/ 2154403 w 2772385"/>
              <a:gd name="connsiteY60" fmla="*/ 3614826 h 3816780"/>
              <a:gd name="connsiteX61" fmla="*/ 2109525 w 2772385"/>
              <a:gd name="connsiteY61" fmla="*/ 3715803 h 3816780"/>
              <a:gd name="connsiteX62" fmla="*/ 2193672 w 2772385"/>
              <a:gd name="connsiteY62" fmla="*/ 3816780 h 3816780"/>
              <a:gd name="connsiteX63" fmla="*/ 2277819 w 2772385"/>
              <a:gd name="connsiteY63" fmla="*/ 3732633 h 3816780"/>
              <a:gd name="connsiteX64" fmla="*/ 2266600 w 2772385"/>
              <a:gd name="connsiteY64" fmla="*/ 3637266 h 3816780"/>
              <a:gd name="connsiteX65" fmla="*/ 2423675 w 2772385"/>
              <a:gd name="connsiteY65" fmla="*/ 3564338 h 3816780"/>
              <a:gd name="connsiteX66" fmla="*/ 2429284 w 2772385"/>
              <a:gd name="connsiteY66" fmla="*/ 3384824 h 3816780"/>
              <a:gd name="connsiteX67" fmla="*/ 1907572 w 2772385"/>
              <a:gd name="connsiteY67" fmla="*/ 3345556 h 3816780"/>
              <a:gd name="connsiteX68" fmla="*/ 1913181 w 2772385"/>
              <a:gd name="connsiteY68" fmla="*/ 3031406 h 3816780"/>
              <a:gd name="connsiteX69" fmla="*/ 1907571 w 2772385"/>
              <a:gd name="connsiteY69" fmla="*/ 3014576 h 3816780"/>
              <a:gd name="connsiteX70" fmla="*/ 1901962 w 2772385"/>
              <a:gd name="connsiteY70" fmla="*/ 2835062 h 3816780"/>
              <a:gd name="connsiteX71" fmla="*/ 1857083 w 2772385"/>
              <a:gd name="connsiteY71" fmla="*/ 2773354 h 3816780"/>
              <a:gd name="connsiteX72" fmla="*/ 2047817 w 2772385"/>
              <a:gd name="connsiteY72" fmla="*/ 2717256 h 3816780"/>
              <a:gd name="connsiteX73" fmla="*/ 2081476 w 2772385"/>
              <a:gd name="connsiteY73" fmla="*/ 2610669 h 3816780"/>
              <a:gd name="connsiteX74" fmla="*/ 2367576 w 2772385"/>
              <a:gd name="connsiteY74" fmla="*/ 2621889 h 3816780"/>
              <a:gd name="connsiteX75" fmla="*/ 2591969 w 2772385"/>
              <a:gd name="connsiteY75" fmla="*/ 2032858 h 3816780"/>
              <a:gd name="connsiteX76" fmla="*/ 2547090 w 2772385"/>
              <a:gd name="connsiteY76" fmla="*/ 1948711 h 3816780"/>
              <a:gd name="connsiteX77" fmla="*/ 2692946 w 2772385"/>
              <a:gd name="connsiteY77" fmla="*/ 1460657 h 3816780"/>
              <a:gd name="connsiteX78" fmla="*/ 2636848 w 2772385"/>
              <a:gd name="connsiteY78" fmla="*/ 1354071 h 3816780"/>
              <a:gd name="connsiteX79" fmla="*/ 2479772 w 2772385"/>
              <a:gd name="connsiteY79" fmla="*/ 798699 h 3816780"/>
              <a:gd name="connsiteX80" fmla="*/ 2737825 w 2772385"/>
              <a:gd name="connsiteY80" fmla="*/ 675283 h 3816780"/>
              <a:gd name="connsiteX81" fmla="*/ 2709775 w 2772385"/>
              <a:gd name="connsiteY81" fmla="*/ 434061 h 3816780"/>
              <a:gd name="connsiteX82" fmla="*/ 2625628 w 2772385"/>
              <a:gd name="connsiteY82" fmla="*/ 86253 h 3816780"/>
              <a:gd name="connsiteX0" fmla="*/ 2625628 w 2772385"/>
              <a:gd name="connsiteY0" fmla="*/ 86253 h 3816780"/>
              <a:gd name="connsiteX1" fmla="*/ 2429284 w 2772385"/>
              <a:gd name="connsiteY1" fmla="*/ 2105 h 3816780"/>
              <a:gd name="connsiteX2" fmla="*/ 2188062 w 2772385"/>
              <a:gd name="connsiteY2" fmla="*/ 159180 h 3816780"/>
              <a:gd name="connsiteX3" fmla="*/ 2087086 w 2772385"/>
              <a:gd name="connsiteY3" fmla="*/ 198449 h 3816780"/>
              <a:gd name="connsiteX4" fmla="*/ 2137574 w 2772385"/>
              <a:gd name="connsiteY4" fmla="*/ 288206 h 3816780"/>
              <a:gd name="connsiteX5" fmla="*/ 2025378 w 2772385"/>
              <a:gd name="connsiteY5" fmla="*/ 450890 h 3816780"/>
              <a:gd name="connsiteX6" fmla="*/ 2131966 w 2772385"/>
              <a:gd name="connsiteY6" fmla="*/ 585526 h 3816780"/>
              <a:gd name="connsiteX7" fmla="*/ 2154403 w 2772385"/>
              <a:gd name="connsiteY7" fmla="*/ 708942 h 3816780"/>
              <a:gd name="connsiteX8" fmla="*/ 2025378 w 2772385"/>
              <a:gd name="connsiteY8" fmla="*/ 753820 h 3816780"/>
              <a:gd name="connsiteX9" fmla="*/ 1991719 w 2772385"/>
              <a:gd name="connsiteY9" fmla="*/ 821138 h 3816780"/>
              <a:gd name="connsiteX10" fmla="*/ 1991719 w 2772385"/>
              <a:gd name="connsiteY10" fmla="*/ 708942 h 3816780"/>
              <a:gd name="connsiteX11" fmla="*/ 1941230 w 2772385"/>
              <a:gd name="connsiteY11" fmla="*/ 669673 h 3816780"/>
              <a:gd name="connsiteX12" fmla="*/ 1778546 w 2772385"/>
              <a:gd name="connsiteY12" fmla="*/ 770649 h 3816780"/>
              <a:gd name="connsiteX13" fmla="*/ 1397078 w 2772385"/>
              <a:gd name="connsiteY13" fmla="*/ 579916 h 3816780"/>
              <a:gd name="connsiteX14" fmla="*/ 1660739 w 2772385"/>
              <a:gd name="connsiteY14" fmla="*/ 1129678 h 3816780"/>
              <a:gd name="connsiteX15" fmla="*/ 1795375 w 2772385"/>
              <a:gd name="connsiteY15" fmla="*/ 1225045 h 3816780"/>
              <a:gd name="connsiteX16" fmla="*/ 1643910 w 2772385"/>
              <a:gd name="connsiteY16" fmla="*/ 1449437 h 3816780"/>
              <a:gd name="connsiteX17" fmla="*/ 1722448 w 2772385"/>
              <a:gd name="connsiteY17" fmla="*/ 1668220 h 3816780"/>
              <a:gd name="connsiteX18" fmla="*/ 1812205 w 2772385"/>
              <a:gd name="connsiteY18" fmla="*/ 1662611 h 3816780"/>
              <a:gd name="connsiteX19" fmla="*/ 1621470 w 2772385"/>
              <a:gd name="connsiteY19" fmla="*/ 1858954 h 3816780"/>
              <a:gd name="connsiteX20" fmla="*/ 909024 w 2772385"/>
              <a:gd name="connsiteY20" fmla="*/ 1578463 h 3816780"/>
              <a:gd name="connsiteX21" fmla="*/ 454629 w 2772385"/>
              <a:gd name="connsiteY21" fmla="*/ 2605060 h 3816780"/>
              <a:gd name="connsiteX22" fmla="*/ 258286 w 2772385"/>
              <a:gd name="connsiteY22" fmla="*/ 2812623 h 3816780"/>
              <a:gd name="connsiteX23" fmla="*/ 39503 w 2772385"/>
              <a:gd name="connsiteY23" fmla="*/ 2857501 h 3816780"/>
              <a:gd name="connsiteX24" fmla="*/ 28282 w 2772385"/>
              <a:gd name="connsiteY24" fmla="*/ 2975307 h 3816780"/>
              <a:gd name="connsiteX25" fmla="*/ 258285 w 2772385"/>
              <a:gd name="connsiteY25" fmla="*/ 3087504 h 3816780"/>
              <a:gd name="connsiteX26" fmla="*/ 527559 w 2772385"/>
              <a:gd name="connsiteY26" fmla="*/ 2986527 h 3816780"/>
              <a:gd name="connsiteX27" fmla="*/ 488288 w 2772385"/>
              <a:gd name="connsiteY27" fmla="*/ 3154821 h 3816780"/>
              <a:gd name="connsiteX28" fmla="*/ 561215 w 2772385"/>
              <a:gd name="connsiteY28" fmla="*/ 3194090 h 3816780"/>
              <a:gd name="connsiteX29" fmla="*/ 381702 w 2772385"/>
              <a:gd name="connsiteY29" fmla="*/ 3592387 h 3816780"/>
              <a:gd name="connsiteX30" fmla="*/ 213408 w 2772385"/>
              <a:gd name="connsiteY30" fmla="*/ 3698973 h 3816780"/>
              <a:gd name="connsiteX31" fmla="*/ 280726 w 2772385"/>
              <a:gd name="connsiteY31" fmla="*/ 3811169 h 3816780"/>
              <a:gd name="connsiteX32" fmla="*/ 477068 w 2772385"/>
              <a:gd name="connsiteY32" fmla="*/ 3771902 h 3816780"/>
              <a:gd name="connsiteX33" fmla="*/ 622923 w 2772385"/>
              <a:gd name="connsiteY33" fmla="*/ 3547509 h 3816780"/>
              <a:gd name="connsiteX34" fmla="*/ 662193 w 2772385"/>
              <a:gd name="connsiteY34" fmla="*/ 3743852 h 3816780"/>
              <a:gd name="connsiteX35" fmla="*/ 735121 w 2772385"/>
              <a:gd name="connsiteY35" fmla="*/ 3732634 h 3816780"/>
              <a:gd name="connsiteX36" fmla="*/ 774389 w 2772385"/>
              <a:gd name="connsiteY36" fmla="*/ 3474581 h 3816780"/>
              <a:gd name="connsiteX37" fmla="*/ 695851 w 2772385"/>
              <a:gd name="connsiteY37" fmla="*/ 3238969 h 3816780"/>
              <a:gd name="connsiteX38" fmla="*/ 897805 w 2772385"/>
              <a:gd name="connsiteY38" fmla="*/ 2627499 h 3816780"/>
              <a:gd name="connsiteX39" fmla="*/ 1161466 w 2772385"/>
              <a:gd name="connsiteY39" fmla="*/ 2520912 h 3816780"/>
              <a:gd name="connsiteX40" fmla="*/ 1492445 w 2772385"/>
              <a:gd name="connsiteY40" fmla="*/ 2638718 h 3816780"/>
              <a:gd name="connsiteX41" fmla="*/ 1587812 w 2772385"/>
              <a:gd name="connsiteY41" fmla="*/ 2627499 h 3816780"/>
              <a:gd name="connsiteX42" fmla="*/ 1643910 w 2772385"/>
              <a:gd name="connsiteY42" fmla="*/ 2728476 h 3816780"/>
              <a:gd name="connsiteX43" fmla="*/ 1795375 w 2772385"/>
              <a:gd name="connsiteY43" fmla="*/ 2762134 h 3816780"/>
              <a:gd name="connsiteX44" fmla="*/ 1795375 w 2772385"/>
              <a:gd name="connsiteY44" fmla="*/ 2812623 h 3816780"/>
              <a:gd name="connsiteX45" fmla="*/ 1750497 w 2772385"/>
              <a:gd name="connsiteY45" fmla="*/ 3008967 h 3816780"/>
              <a:gd name="connsiteX46" fmla="*/ 1711228 w 2772385"/>
              <a:gd name="connsiteY46" fmla="*/ 3328726 h 3816780"/>
              <a:gd name="connsiteX47" fmla="*/ 1200735 w 2772385"/>
              <a:gd name="connsiteY47" fmla="*/ 3396044 h 3816780"/>
              <a:gd name="connsiteX48" fmla="*/ 1172686 w 2772385"/>
              <a:gd name="connsiteY48" fmla="*/ 3468971 h 3816780"/>
              <a:gd name="connsiteX49" fmla="*/ 1110978 w 2772385"/>
              <a:gd name="connsiteY49" fmla="*/ 3497020 h 3816780"/>
              <a:gd name="connsiteX50" fmla="*/ 1139027 w 2772385"/>
              <a:gd name="connsiteY50" fmla="*/ 3631656 h 3816780"/>
              <a:gd name="connsiteX51" fmla="*/ 1279272 w 2772385"/>
              <a:gd name="connsiteY51" fmla="*/ 3637266 h 3816780"/>
              <a:gd name="connsiteX52" fmla="*/ 1273662 w 2772385"/>
              <a:gd name="connsiteY52" fmla="*/ 3485801 h 3816780"/>
              <a:gd name="connsiteX53" fmla="*/ 1453176 w 2772385"/>
              <a:gd name="connsiteY53" fmla="*/ 3497020 h 3816780"/>
              <a:gd name="connsiteX54" fmla="*/ 1425127 w 2772385"/>
              <a:gd name="connsiteY54" fmla="*/ 3575558 h 3816780"/>
              <a:gd name="connsiteX55" fmla="*/ 1397078 w 2772385"/>
              <a:gd name="connsiteY55" fmla="*/ 3637266 h 3816780"/>
              <a:gd name="connsiteX56" fmla="*/ 1340980 w 2772385"/>
              <a:gd name="connsiteY56" fmla="*/ 3704584 h 3816780"/>
              <a:gd name="connsiteX57" fmla="*/ 1453177 w 2772385"/>
              <a:gd name="connsiteY57" fmla="*/ 3799951 h 3816780"/>
              <a:gd name="connsiteX58" fmla="*/ 1514884 w 2772385"/>
              <a:gd name="connsiteY58" fmla="*/ 3642876 h 3816780"/>
              <a:gd name="connsiteX59" fmla="*/ 1817814 w 2772385"/>
              <a:gd name="connsiteY59" fmla="*/ 3541899 h 3816780"/>
              <a:gd name="connsiteX60" fmla="*/ 2154403 w 2772385"/>
              <a:gd name="connsiteY60" fmla="*/ 3614826 h 3816780"/>
              <a:gd name="connsiteX61" fmla="*/ 2109525 w 2772385"/>
              <a:gd name="connsiteY61" fmla="*/ 3715803 h 3816780"/>
              <a:gd name="connsiteX62" fmla="*/ 2193672 w 2772385"/>
              <a:gd name="connsiteY62" fmla="*/ 3816780 h 3816780"/>
              <a:gd name="connsiteX63" fmla="*/ 2277819 w 2772385"/>
              <a:gd name="connsiteY63" fmla="*/ 3732633 h 3816780"/>
              <a:gd name="connsiteX64" fmla="*/ 2266600 w 2772385"/>
              <a:gd name="connsiteY64" fmla="*/ 3637266 h 3816780"/>
              <a:gd name="connsiteX65" fmla="*/ 2423675 w 2772385"/>
              <a:gd name="connsiteY65" fmla="*/ 3564338 h 3816780"/>
              <a:gd name="connsiteX66" fmla="*/ 2429284 w 2772385"/>
              <a:gd name="connsiteY66" fmla="*/ 3384824 h 3816780"/>
              <a:gd name="connsiteX67" fmla="*/ 1907572 w 2772385"/>
              <a:gd name="connsiteY67" fmla="*/ 3345556 h 3816780"/>
              <a:gd name="connsiteX68" fmla="*/ 1913181 w 2772385"/>
              <a:gd name="connsiteY68" fmla="*/ 3031406 h 3816780"/>
              <a:gd name="connsiteX69" fmla="*/ 1907571 w 2772385"/>
              <a:gd name="connsiteY69" fmla="*/ 3014576 h 3816780"/>
              <a:gd name="connsiteX70" fmla="*/ 1901962 w 2772385"/>
              <a:gd name="connsiteY70" fmla="*/ 2835062 h 3816780"/>
              <a:gd name="connsiteX71" fmla="*/ 1857083 w 2772385"/>
              <a:gd name="connsiteY71" fmla="*/ 2773354 h 3816780"/>
              <a:gd name="connsiteX72" fmla="*/ 2047817 w 2772385"/>
              <a:gd name="connsiteY72" fmla="*/ 2717256 h 3816780"/>
              <a:gd name="connsiteX73" fmla="*/ 2081476 w 2772385"/>
              <a:gd name="connsiteY73" fmla="*/ 2610669 h 3816780"/>
              <a:gd name="connsiteX74" fmla="*/ 2367576 w 2772385"/>
              <a:gd name="connsiteY74" fmla="*/ 2621889 h 3816780"/>
              <a:gd name="connsiteX75" fmla="*/ 2591969 w 2772385"/>
              <a:gd name="connsiteY75" fmla="*/ 2032858 h 3816780"/>
              <a:gd name="connsiteX76" fmla="*/ 2547090 w 2772385"/>
              <a:gd name="connsiteY76" fmla="*/ 1948711 h 3816780"/>
              <a:gd name="connsiteX77" fmla="*/ 2692946 w 2772385"/>
              <a:gd name="connsiteY77" fmla="*/ 1460657 h 3816780"/>
              <a:gd name="connsiteX78" fmla="*/ 2636848 w 2772385"/>
              <a:gd name="connsiteY78" fmla="*/ 1354071 h 3816780"/>
              <a:gd name="connsiteX79" fmla="*/ 2479772 w 2772385"/>
              <a:gd name="connsiteY79" fmla="*/ 798699 h 3816780"/>
              <a:gd name="connsiteX80" fmla="*/ 2737825 w 2772385"/>
              <a:gd name="connsiteY80" fmla="*/ 675283 h 3816780"/>
              <a:gd name="connsiteX81" fmla="*/ 2709775 w 2772385"/>
              <a:gd name="connsiteY81" fmla="*/ 434061 h 3816780"/>
              <a:gd name="connsiteX82" fmla="*/ 2625628 w 2772385"/>
              <a:gd name="connsiteY82" fmla="*/ 86253 h 3816780"/>
              <a:gd name="connsiteX0" fmla="*/ 2625628 w 2772385"/>
              <a:gd name="connsiteY0" fmla="*/ 86253 h 3816780"/>
              <a:gd name="connsiteX1" fmla="*/ 2429284 w 2772385"/>
              <a:gd name="connsiteY1" fmla="*/ 2105 h 3816780"/>
              <a:gd name="connsiteX2" fmla="*/ 2188062 w 2772385"/>
              <a:gd name="connsiteY2" fmla="*/ 159180 h 3816780"/>
              <a:gd name="connsiteX3" fmla="*/ 2087086 w 2772385"/>
              <a:gd name="connsiteY3" fmla="*/ 198449 h 3816780"/>
              <a:gd name="connsiteX4" fmla="*/ 2137574 w 2772385"/>
              <a:gd name="connsiteY4" fmla="*/ 288206 h 3816780"/>
              <a:gd name="connsiteX5" fmla="*/ 2025378 w 2772385"/>
              <a:gd name="connsiteY5" fmla="*/ 450890 h 3816780"/>
              <a:gd name="connsiteX6" fmla="*/ 2131966 w 2772385"/>
              <a:gd name="connsiteY6" fmla="*/ 585526 h 3816780"/>
              <a:gd name="connsiteX7" fmla="*/ 2154403 w 2772385"/>
              <a:gd name="connsiteY7" fmla="*/ 708942 h 3816780"/>
              <a:gd name="connsiteX8" fmla="*/ 2025378 w 2772385"/>
              <a:gd name="connsiteY8" fmla="*/ 753820 h 3816780"/>
              <a:gd name="connsiteX9" fmla="*/ 1991719 w 2772385"/>
              <a:gd name="connsiteY9" fmla="*/ 821138 h 3816780"/>
              <a:gd name="connsiteX10" fmla="*/ 1991719 w 2772385"/>
              <a:gd name="connsiteY10" fmla="*/ 708942 h 3816780"/>
              <a:gd name="connsiteX11" fmla="*/ 1941230 w 2772385"/>
              <a:gd name="connsiteY11" fmla="*/ 669673 h 3816780"/>
              <a:gd name="connsiteX12" fmla="*/ 1778546 w 2772385"/>
              <a:gd name="connsiteY12" fmla="*/ 770649 h 3816780"/>
              <a:gd name="connsiteX13" fmla="*/ 1397078 w 2772385"/>
              <a:gd name="connsiteY13" fmla="*/ 579916 h 3816780"/>
              <a:gd name="connsiteX14" fmla="*/ 1660739 w 2772385"/>
              <a:gd name="connsiteY14" fmla="*/ 1129678 h 3816780"/>
              <a:gd name="connsiteX15" fmla="*/ 1795375 w 2772385"/>
              <a:gd name="connsiteY15" fmla="*/ 1225045 h 3816780"/>
              <a:gd name="connsiteX16" fmla="*/ 1643910 w 2772385"/>
              <a:gd name="connsiteY16" fmla="*/ 1449437 h 3816780"/>
              <a:gd name="connsiteX17" fmla="*/ 1722448 w 2772385"/>
              <a:gd name="connsiteY17" fmla="*/ 1668220 h 3816780"/>
              <a:gd name="connsiteX18" fmla="*/ 1812205 w 2772385"/>
              <a:gd name="connsiteY18" fmla="*/ 1662611 h 3816780"/>
              <a:gd name="connsiteX19" fmla="*/ 1621470 w 2772385"/>
              <a:gd name="connsiteY19" fmla="*/ 1858954 h 3816780"/>
              <a:gd name="connsiteX20" fmla="*/ 909024 w 2772385"/>
              <a:gd name="connsiteY20" fmla="*/ 1578463 h 3816780"/>
              <a:gd name="connsiteX21" fmla="*/ 454629 w 2772385"/>
              <a:gd name="connsiteY21" fmla="*/ 2605060 h 3816780"/>
              <a:gd name="connsiteX22" fmla="*/ 258286 w 2772385"/>
              <a:gd name="connsiteY22" fmla="*/ 2812623 h 3816780"/>
              <a:gd name="connsiteX23" fmla="*/ 39503 w 2772385"/>
              <a:gd name="connsiteY23" fmla="*/ 2857501 h 3816780"/>
              <a:gd name="connsiteX24" fmla="*/ 28282 w 2772385"/>
              <a:gd name="connsiteY24" fmla="*/ 2975307 h 3816780"/>
              <a:gd name="connsiteX25" fmla="*/ 258285 w 2772385"/>
              <a:gd name="connsiteY25" fmla="*/ 3087504 h 3816780"/>
              <a:gd name="connsiteX26" fmla="*/ 527559 w 2772385"/>
              <a:gd name="connsiteY26" fmla="*/ 2986527 h 3816780"/>
              <a:gd name="connsiteX27" fmla="*/ 488288 w 2772385"/>
              <a:gd name="connsiteY27" fmla="*/ 3154821 h 3816780"/>
              <a:gd name="connsiteX28" fmla="*/ 561215 w 2772385"/>
              <a:gd name="connsiteY28" fmla="*/ 3194090 h 3816780"/>
              <a:gd name="connsiteX29" fmla="*/ 381702 w 2772385"/>
              <a:gd name="connsiteY29" fmla="*/ 3592387 h 3816780"/>
              <a:gd name="connsiteX30" fmla="*/ 213408 w 2772385"/>
              <a:gd name="connsiteY30" fmla="*/ 3698973 h 3816780"/>
              <a:gd name="connsiteX31" fmla="*/ 280726 w 2772385"/>
              <a:gd name="connsiteY31" fmla="*/ 3811169 h 3816780"/>
              <a:gd name="connsiteX32" fmla="*/ 477068 w 2772385"/>
              <a:gd name="connsiteY32" fmla="*/ 3771902 h 3816780"/>
              <a:gd name="connsiteX33" fmla="*/ 622923 w 2772385"/>
              <a:gd name="connsiteY33" fmla="*/ 3547509 h 3816780"/>
              <a:gd name="connsiteX34" fmla="*/ 662193 w 2772385"/>
              <a:gd name="connsiteY34" fmla="*/ 3743852 h 3816780"/>
              <a:gd name="connsiteX35" fmla="*/ 735121 w 2772385"/>
              <a:gd name="connsiteY35" fmla="*/ 3732634 h 3816780"/>
              <a:gd name="connsiteX36" fmla="*/ 774389 w 2772385"/>
              <a:gd name="connsiteY36" fmla="*/ 3474581 h 3816780"/>
              <a:gd name="connsiteX37" fmla="*/ 695851 w 2772385"/>
              <a:gd name="connsiteY37" fmla="*/ 3238969 h 3816780"/>
              <a:gd name="connsiteX38" fmla="*/ 897805 w 2772385"/>
              <a:gd name="connsiteY38" fmla="*/ 2627499 h 3816780"/>
              <a:gd name="connsiteX39" fmla="*/ 1161466 w 2772385"/>
              <a:gd name="connsiteY39" fmla="*/ 2520912 h 3816780"/>
              <a:gd name="connsiteX40" fmla="*/ 1492445 w 2772385"/>
              <a:gd name="connsiteY40" fmla="*/ 2638718 h 3816780"/>
              <a:gd name="connsiteX41" fmla="*/ 1587812 w 2772385"/>
              <a:gd name="connsiteY41" fmla="*/ 2627499 h 3816780"/>
              <a:gd name="connsiteX42" fmla="*/ 1643910 w 2772385"/>
              <a:gd name="connsiteY42" fmla="*/ 2728476 h 3816780"/>
              <a:gd name="connsiteX43" fmla="*/ 1795375 w 2772385"/>
              <a:gd name="connsiteY43" fmla="*/ 2762134 h 3816780"/>
              <a:gd name="connsiteX44" fmla="*/ 1795375 w 2772385"/>
              <a:gd name="connsiteY44" fmla="*/ 2812623 h 3816780"/>
              <a:gd name="connsiteX45" fmla="*/ 1750497 w 2772385"/>
              <a:gd name="connsiteY45" fmla="*/ 3008967 h 3816780"/>
              <a:gd name="connsiteX46" fmla="*/ 1711228 w 2772385"/>
              <a:gd name="connsiteY46" fmla="*/ 3328726 h 3816780"/>
              <a:gd name="connsiteX47" fmla="*/ 1200735 w 2772385"/>
              <a:gd name="connsiteY47" fmla="*/ 3396044 h 3816780"/>
              <a:gd name="connsiteX48" fmla="*/ 1172686 w 2772385"/>
              <a:gd name="connsiteY48" fmla="*/ 3468971 h 3816780"/>
              <a:gd name="connsiteX49" fmla="*/ 1110978 w 2772385"/>
              <a:gd name="connsiteY49" fmla="*/ 3497020 h 3816780"/>
              <a:gd name="connsiteX50" fmla="*/ 1139027 w 2772385"/>
              <a:gd name="connsiteY50" fmla="*/ 3631656 h 3816780"/>
              <a:gd name="connsiteX51" fmla="*/ 1279272 w 2772385"/>
              <a:gd name="connsiteY51" fmla="*/ 3637266 h 3816780"/>
              <a:gd name="connsiteX52" fmla="*/ 1273662 w 2772385"/>
              <a:gd name="connsiteY52" fmla="*/ 3485801 h 3816780"/>
              <a:gd name="connsiteX53" fmla="*/ 1453176 w 2772385"/>
              <a:gd name="connsiteY53" fmla="*/ 3497020 h 3816780"/>
              <a:gd name="connsiteX54" fmla="*/ 1425127 w 2772385"/>
              <a:gd name="connsiteY54" fmla="*/ 3575558 h 3816780"/>
              <a:gd name="connsiteX55" fmla="*/ 1397078 w 2772385"/>
              <a:gd name="connsiteY55" fmla="*/ 3637266 h 3816780"/>
              <a:gd name="connsiteX56" fmla="*/ 1340980 w 2772385"/>
              <a:gd name="connsiteY56" fmla="*/ 3704584 h 3816780"/>
              <a:gd name="connsiteX57" fmla="*/ 1453177 w 2772385"/>
              <a:gd name="connsiteY57" fmla="*/ 3799951 h 3816780"/>
              <a:gd name="connsiteX58" fmla="*/ 1514884 w 2772385"/>
              <a:gd name="connsiteY58" fmla="*/ 3642876 h 3816780"/>
              <a:gd name="connsiteX59" fmla="*/ 1817814 w 2772385"/>
              <a:gd name="connsiteY59" fmla="*/ 3541899 h 3816780"/>
              <a:gd name="connsiteX60" fmla="*/ 2154403 w 2772385"/>
              <a:gd name="connsiteY60" fmla="*/ 3614826 h 3816780"/>
              <a:gd name="connsiteX61" fmla="*/ 2109525 w 2772385"/>
              <a:gd name="connsiteY61" fmla="*/ 3715803 h 3816780"/>
              <a:gd name="connsiteX62" fmla="*/ 2193672 w 2772385"/>
              <a:gd name="connsiteY62" fmla="*/ 3816780 h 3816780"/>
              <a:gd name="connsiteX63" fmla="*/ 2277819 w 2772385"/>
              <a:gd name="connsiteY63" fmla="*/ 3732633 h 3816780"/>
              <a:gd name="connsiteX64" fmla="*/ 2266600 w 2772385"/>
              <a:gd name="connsiteY64" fmla="*/ 3637266 h 3816780"/>
              <a:gd name="connsiteX65" fmla="*/ 2423675 w 2772385"/>
              <a:gd name="connsiteY65" fmla="*/ 3564338 h 3816780"/>
              <a:gd name="connsiteX66" fmla="*/ 2429284 w 2772385"/>
              <a:gd name="connsiteY66" fmla="*/ 3384824 h 3816780"/>
              <a:gd name="connsiteX67" fmla="*/ 1907572 w 2772385"/>
              <a:gd name="connsiteY67" fmla="*/ 3345556 h 3816780"/>
              <a:gd name="connsiteX68" fmla="*/ 1913181 w 2772385"/>
              <a:gd name="connsiteY68" fmla="*/ 3031406 h 3816780"/>
              <a:gd name="connsiteX69" fmla="*/ 1907571 w 2772385"/>
              <a:gd name="connsiteY69" fmla="*/ 3014576 h 3816780"/>
              <a:gd name="connsiteX70" fmla="*/ 1901962 w 2772385"/>
              <a:gd name="connsiteY70" fmla="*/ 2835062 h 3816780"/>
              <a:gd name="connsiteX71" fmla="*/ 1857083 w 2772385"/>
              <a:gd name="connsiteY71" fmla="*/ 2773354 h 3816780"/>
              <a:gd name="connsiteX72" fmla="*/ 2047817 w 2772385"/>
              <a:gd name="connsiteY72" fmla="*/ 2717256 h 3816780"/>
              <a:gd name="connsiteX73" fmla="*/ 2081476 w 2772385"/>
              <a:gd name="connsiteY73" fmla="*/ 2610669 h 3816780"/>
              <a:gd name="connsiteX74" fmla="*/ 2367576 w 2772385"/>
              <a:gd name="connsiteY74" fmla="*/ 2621889 h 3816780"/>
              <a:gd name="connsiteX75" fmla="*/ 2591969 w 2772385"/>
              <a:gd name="connsiteY75" fmla="*/ 2032858 h 3816780"/>
              <a:gd name="connsiteX76" fmla="*/ 2547090 w 2772385"/>
              <a:gd name="connsiteY76" fmla="*/ 1948711 h 3816780"/>
              <a:gd name="connsiteX77" fmla="*/ 2692946 w 2772385"/>
              <a:gd name="connsiteY77" fmla="*/ 1460657 h 3816780"/>
              <a:gd name="connsiteX78" fmla="*/ 2636848 w 2772385"/>
              <a:gd name="connsiteY78" fmla="*/ 1354071 h 3816780"/>
              <a:gd name="connsiteX79" fmla="*/ 2479772 w 2772385"/>
              <a:gd name="connsiteY79" fmla="*/ 798699 h 3816780"/>
              <a:gd name="connsiteX80" fmla="*/ 2737825 w 2772385"/>
              <a:gd name="connsiteY80" fmla="*/ 675283 h 3816780"/>
              <a:gd name="connsiteX81" fmla="*/ 2709775 w 2772385"/>
              <a:gd name="connsiteY81" fmla="*/ 434061 h 3816780"/>
              <a:gd name="connsiteX82" fmla="*/ 2625628 w 2772385"/>
              <a:gd name="connsiteY82" fmla="*/ 86253 h 3816780"/>
              <a:gd name="connsiteX0" fmla="*/ 2625628 w 2772385"/>
              <a:gd name="connsiteY0" fmla="*/ 86253 h 3816780"/>
              <a:gd name="connsiteX1" fmla="*/ 2429284 w 2772385"/>
              <a:gd name="connsiteY1" fmla="*/ 2105 h 3816780"/>
              <a:gd name="connsiteX2" fmla="*/ 2188062 w 2772385"/>
              <a:gd name="connsiteY2" fmla="*/ 159180 h 3816780"/>
              <a:gd name="connsiteX3" fmla="*/ 2087086 w 2772385"/>
              <a:gd name="connsiteY3" fmla="*/ 198449 h 3816780"/>
              <a:gd name="connsiteX4" fmla="*/ 2137574 w 2772385"/>
              <a:gd name="connsiteY4" fmla="*/ 288206 h 3816780"/>
              <a:gd name="connsiteX5" fmla="*/ 2025378 w 2772385"/>
              <a:gd name="connsiteY5" fmla="*/ 450890 h 3816780"/>
              <a:gd name="connsiteX6" fmla="*/ 2131966 w 2772385"/>
              <a:gd name="connsiteY6" fmla="*/ 585526 h 3816780"/>
              <a:gd name="connsiteX7" fmla="*/ 2154403 w 2772385"/>
              <a:gd name="connsiteY7" fmla="*/ 708942 h 3816780"/>
              <a:gd name="connsiteX8" fmla="*/ 2025378 w 2772385"/>
              <a:gd name="connsiteY8" fmla="*/ 753820 h 3816780"/>
              <a:gd name="connsiteX9" fmla="*/ 1991719 w 2772385"/>
              <a:gd name="connsiteY9" fmla="*/ 821138 h 3816780"/>
              <a:gd name="connsiteX10" fmla="*/ 1991719 w 2772385"/>
              <a:gd name="connsiteY10" fmla="*/ 708942 h 3816780"/>
              <a:gd name="connsiteX11" fmla="*/ 1941230 w 2772385"/>
              <a:gd name="connsiteY11" fmla="*/ 669673 h 3816780"/>
              <a:gd name="connsiteX12" fmla="*/ 1778546 w 2772385"/>
              <a:gd name="connsiteY12" fmla="*/ 770649 h 3816780"/>
              <a:gd name="connsiteX13" fmla="*/ 1397078 w 2772385"/>
              <a:gd name="connsiteY13" fmla="*/ 579916 h 3816780"/>
              <a:gd name="connsiteX14" fmla="*/ 1660739 w 2772385"/>
              <a:gd name="connsiteY14" fmla="*/ 1129678 h 3816780"/>
              <a:gd name="connsiteX15" fmla="*/ 1795375 w 2772385"/>
              <a:gd name="connsiteY15" fmla="*/ 1225045 h 3816780"/>
              <a:gd name="connsiteX16" fmla="*/ 1643910 w 2772385"/>
              <a:gd name="connsiteY16" fmla="*/ 1449437 h 3816780"/>
              <a:gd name="connsiteX17" fmla="*/ 1722448 w 2772385"/>
              <a:gd name="connsiteY17" fmla="*/ 1668220 h 3816780"/>
              <a:gd name="connsiteX18" fmla="*/ 1812205 w 2772385"/>
              <a:gd name="connsiteY18" fmla="*/ 1662611 h 3816780"/>
              <a:gd name="connsiteX19" fmla="*/ 1621470 w 2772385"/>
              <a:gd name="connsiteY19" fmla="*/ 1858954 h 3816780"/>
              <a:gd name="connsiteX20" fmla="*/ 909024 w 2772385"/>
              <a:gd name="connsiteY20" fmla="*/ 1578463 h 3816780"/>
              <a:gd name="connsiteX21" fmla="*/ 454629 w 2772385"/>
              <a:gd name="connsiteY21" fmla="*/ 2605060 h 3816780"/>
              <a:gd name="connsiteX22" fmla="*/ 258286 w 2772385"/>
              <a:gd name="connsiteY22" fmla="*/ 2812623 h 3816780"/>
              <a:gd name="connsiteX23" fmla="*/ 39503 w 2772385"/>
              <a:gd name="connsiteY23" fmla="*/ 2857501 h 3816780"/>
              <a:gd name="connsiteX24" fmla="*/ 28282 w 2772385"/>
              <a:gd name="connsiteY24" fmla="*/ 2975307 h 3816780"/>
              <a:gd name="connsiteX25" fmla="*/ 258285 w 2772385"/>
              <a:gd name="connsiteY25" fmla="*/ 3087504 h 3816780"/>
              <a:gd name="connsiteX26" fmla="*/ 527559 w 2772385"/>
              <a:gd name="connsiteY26" fmla="*/ 2986527 h 3816780"/>
              <a:gd name="connsiteX27" fmla="*/ 488288 w 2772385"/>
              <a:gd name="connsiteY27" fmla="*/ 3154821 h 3816780"/>
              <a:gd name="connsiteX28" fmla="*/ 561215 w 2772385"/>
              <a:gd name="connsiteY28" fmla="*/ 3194090 h 3816780"/>
              <a:gd name="connsiteX29" fmla="*/ 381702 w 2772385"/>
              <a:gd name="connsiteY29" fmla="*/ 3592387 h 3816780"/>
              <a:gd name="connsiteX30" fmla="*/ 213408 w 2772385"/>
              <a:gd name="connsiteY30" fmla="*/ 3698973 h 3816780"/>
              <a:gd name="connsiteX31" fmla="*/ 280726 w 2772385"/>
              <a:gd name="connsiteY31" fmla="*/ 3811169 h 3816780"/>
              <a:gd name="connsiteX32" fmla="*/ 477068 w 2772385"/>
              <a:gd name="connsiteY32" fmla="*/ 3771902 h 3816780"/>
              <a:gd name="connsiteX33" fmla="*/ 622923 w 2772385"/>
              <a:gd name="connsiteY33" fmla="*/ 3547509 h 3816780"/>
              <a:gd name="connsiteX34" fmla="*/ 662193 w 2772385"/>
              <a:gd name="connsiteY34" fmla="*/ 3743852 h 3816780"/>
              <a:gd name="connsiteX35" fmla="*/ 735121 w 2772385"/>
              <a:gd name="connsiteY35" fmla="*/ 3732634 h 3816780"/>
              <a:gd name="connsiteX36" fmla="*/ 774389 w 2772385"/>
              <a:gd name="connsiteY36" fmla="*/ 3474581 h 3816780"/>
              <a:gd name="connsiteX37" fmla="*/ 695851 w 2772385"/>
              <a:gd name="connsiteY37" fmla="*/ 3238969 h 3816780"/>
              <a:gd name="connsiteX38" fmla="*/ 897805 w 2772385"/>
              <a:gd name="connsiteY38" fmla="*/ 2627499 h 3816780"/>
              <a:gd name="connsiteX39" fmla="*/ 1161466 w 2772385"/>
              <a:gd name="connsiteY39" fmla="*/ 2520912 h 3816780"/>
              <a:gd name="connsiteX40" fmla="*/ 1492445 w 2772385"/>
              <a:gd name="connsiteY40" fmla="*/ 2638718 h 3816780"/>
              <a:gd name="connsiteX41" fmla="*/ 1587812 w 2772385"/>
              <a:gd name="connsiteY41" fmla="*/ 2627499 h 3816780"/>
              <a:gd name="connsiteX42" fmla="*/ 1643910 w 2772385"/>
              <a:gd name="connsiteY42" fmla="*/ 2728476 h 3816780"/>
              <a:gd name="connsiteX43" fmla="*/ 1795375 w 2772385"/>
              <a:gd name="connsiteY43" fmla="*/ 2762134 h 3816780"/>
              <a:gd name="connsiteX44" fmla="*/ 1795375 w 2772385"/>
              <a:gd name="connsiteY44" fmla="*/ 2812623 h 3816780"/>
              <a:gd name="connsiteX45" fmla="*/ 1750497 w 2772385"/>
              <a:gd name="connsiteY45" fmla="*/ 3008967 h 3816780"/>
              <a:gd name="connsiteX46" fmla="*/ 1711228 w 2772385"/>
              <a:gd name="connsiteY46" fmla="*/ 3328726 h 3816780"/>
              <a:gd name="connsiteX47" fmla="*/ 1200735 w 2772385"/>
              <a:gd name="connsiteY47" fmla="*/ 3396044 h 3816780"/>
              <a:gd name="connsiteX48" fmla="*/ 1172686 w 2772385"/>
              <a:gd name="connsiteY48" fmla="*/ 3468971 h 3816780"/>
              <a:gd name="connsiteX49" fmla="*/ 1110978 w 2772385"/>
              <a:gd name="connsiteY49" fmla="*/ 3497020 h 3816780"/>
              <a:gd name="connsiteX50" fmla="*/ 1139027 w 2772385"/>
              <a:gd name="connsiteY50" fmla="*/ 3631656 h 3816780"/>
              <a:gd name="connsiteX51" fmla="*/ 1279272 w 2772385"/>
              <a:gd name="connsiteY51" fmla="*/ 3637266 h 3816780"/>
              <a:gd name="connsiteX52" fmla="*/ 1273662 w 2772385"/>
              <a:gd name="connsiteY52" fmla="*/ 3485801 h 3816780"/>
              <a:gd name="connsiteX53" fmla="*/ 1453176 w 2772385"/>
              <a:gd name="connsiteY53" fmla="*/ 3497020 h 3816780"/>
              <a:gd name="connsiteX54" fmla="*/ 1425127 w 2772385"/>
              <a:gd name="connsiteY54" fmla="*/ 3575558 h 3816780"/>
              <a:gd name="connsiteX55" fmla="*/ 1397078 w 2772385"/>
              <a:gd name="connsiteY55" fmla="*/ 3637266 h 3816780"/>
              <a:gd name="connsiteX56" fmla="*/ 1340980 w 2772385"/>
              <a:gd name="connsiteY56" fmla="*/ 3704584 h 3816780"/>
              <a:gd name="connsiteX57" fmla="*/ 1453177 w 2772385"/>
              <a:gd name="connsiteY57" fmla="*/ 3799951 h 3816780"/>
              <a:gd name="connsiteX58" fmla="*/ 1514884 w 2772385"/>
              <a:gd name="connsiteY58" fmla="*/ 3642876 h 3816780"/>
              <a:gd name="connsiteX59" fmla="*/ 1817814 w 2772385"/>
              <a:gd name="connsiteY59" fmla="*/ 3541899 h 3816780"/>
              <a:gd name="connsiteX60" fmla="*/ 2154403 w 2772385"/>
              <a:gd name="connsiteY60" fmla="*/ 3614826 h 3816780"/>
              <a:gd name="connsiteX61" fmla="*/ 2109525 w 2772385"/>
              <a:gd name="connsiteY61" fmla="*/ 3715803 h 3816780"/>
              <a:gd name="connsiteX62" fmla="*/ 2193672 w 2772385"/>
              <a:gd name="connsiteY62" fmla="*/ 3816780 h 3816780"/>
              <a:gd name="connsiteX63" fmla="*/ 2277819 w 2772385"/>
              <a:gd name="connsiteY63" fmla="*/ 3732633 h 3816780"/>
              <a:gd name="connsiteX64" fmla="*/ 2266600 w 2772385"/>
              <a:gd name="connsiteY64" fmla="*/ 3637266 h 3816780"/>
              <a:gd name="connsiteX65" fmla="*/ 2423675 w 2772385"/>
              <a:gd name="connsiteY65" fmla="*/ 3564338 h 3816780"/>
              <a:gd name="connsiteX66" fmla="*/ 2429284 w 2772385"/>
              <a:gd name="connsiteY66" fmla="*/ 3384824 h 3816780"/>
              <a:gd name="connsiteX67" fmla="*/ 1907572 w 2772385"/>
              <a:gd name="connsiteY67" fmla="*/ 3345556 h 3816780"/>
              <a:gd name="connsiteX68" fmla="*/ 1913181 w 2772385"/>
              <a:gd name="connsiteY68" fmla="*/ 3031406 h 3816780"/>
              <a:gd name="connsiteX69" fmla="*/ 1907571 w 2772385"/>
              <a:gd name="connsiteY69" fmla="*/ 3014576 h 3816780"/>
              <a:gd name="connsiteX70" fmla="*/ 1901962 w 2772385"/>
              <a:gd name="connsiteY70" fmla="*/ 2835062 h 3816780"/>
              <a:gd name="connsiteX71" fmla="*/ 1857083 w 2772385"/>
              <a:gd name="connsiteY71" fmla="*/ 2773354 h 3816780"/>
              <a:gd name="connsiteX72" fmla="*/ 2047817 w 2772385"/>
              <a:gd name="connsiteY72" fmla="*/ 2717256 h 3816780"/>
              <a:gd name="connsiteX73" fmla="*/ 2081476 w 2772385"/>
              <a:gd name="connsiteY73" fmla="*/ 2610669 h 3816780"/>
              <a:gd name="connsiteX74" fmla="*/ 2367576 w 2772385"/>
              <a:gd name="connsiteY74" fmla="*/ 2621889 h 3816780"/>
              <a:gd name="connsiteX75" fmla="*/ 2591969 w 2772385"/>
              <a:gd name="connsiteY75" fmla="*/ 2032858 h 3816780"/>
              <a:gd name="connsiteX76" fmla="*/ 2547090 w 2772385"/>
              <a:gd name="connsiteY76" fmla="*/ 1948711 h 3816780"/>
              <a:gd name="connsiteX77" fmla="*/ 2692946 w 2772385"/>
              <a:gd name="connsiteY77" fmla="*/ 1460657 h 3816780"/>
              <a:gd name="connsiteX78" fmla="*/ 2636848 w 2772385"/>
              <a:gd name="connsiteY78" fmla="*/ 1354071 h 3816780"/>
              <a:gd name="connsiteX79" fmla="*/ 2479772 w 2772385"/>
              <a:gd name="connsiteY79" fmla="*/ 798699 h 3816780"/>
              <a:gd name="connsiteX80" fmla="*/ 2737825 w 2772385"/>
              <a:gd name="connsiteY80" fmla="*/ 675283 h 3816780"/>
              <a:gd name="connsiteX81" fmla="*/ 2709775 w 2772385"/>
              <a:gd name="connsiteY81" fmla="*/ 434061 h 3816780"/>
              <a:gd name="connsiteX82" fmla="*/ 2625628 w 2772385"/>
              <a:gd name="connsiteY82" fmla="*/ 86253 h 3816780"/>
              <a:gd name="connsiteX0" fmla="*/ 2625628 w 2772385"/>
              <a:gd name="connsiteY0" fmla="*/ 86253 h 3816780"/>
              <a:gd name="connsiteX1" fmla="*/ 2429284 w 2772385"/>
              <a:gd name="connsiteY1" fmla="*/ 2105 h 3816780"/>
              <a:gd name="connsiteX2" fmla="*/ 2188062 w 2772385"/>
              <a:gd name="connsiteY2" fmla="*/ 159180 h 3816780"/>
              <a:gd name="connsiteX3" fmla="*/ 2087086 w 2772385"/>
              <a:gd name="connsiteY3" fmla="*/ 198449 h 3816780"/>
              <a:gd name="connsiteX4" fmla="*/ 2137574 w 2772385"/>
              <a:gd name="connsiteY4" fmla="*/ 288206 h 3816780"/>
              <a:gd name="connsiteX5" fmla="*/ 2025378 w 2772385"/>
              <a:gd name="connsiteY5" fmla="*/ 450890 h 3816780"/>
              <a:gd name="connsiteX6" fmla="*/ 2131966 w 2772385"/>
              <a:gd name="connsiteY6" fmla="*/ 585526 h 3816780"/>
              <a:gd name="connsiteX7" fmla="*/ 2154403 w 2772385"/>
              <a:gd name="connsiteY7" fmla="*/ 708942 h 3816780"/>
              <a:gd name="connsiteX8" fmla="*/ 2025378 w 2772385"/>
              <a:gd name="connsiteY8" fmla="*/ 753820 h 3816780"/>
              <a:gd name="connsiteX9" fmla="*/ 1991719 w 2772385"/>
              <a:gd name="connsiteY9" fmla="*/ 821138 h 3816780"/>
              <a:gd name="connsiteX10" fmla="*/ 1991719 w 2772385"/>
              <a:gd name="connsiteY10" fmla="*/ 708942 h 3816780"/>
              <a:gd name="connsiteX11" fmla="*/ 1941230 w 2772385"/>
              <a:gd name="connsiteY11" fmla="*/ 669673 h 3816780"/>
              <a:gd name="connsiteX12" fmla="*/ 1778546 w 2772385"/>
              <a:gd name="connsiteY12" fmla="*/ 770649 h 3816780"/>
              <a:gd name="connsiteX13" fmla="*/ 1397078 w 2772385"/>
              <a:gd name="connsiteY13" fmla="*/ 579916 h 3816780"/>
              <a:gd name="connsiteX14" fmla="*/ 1660739 w 2772385"/>
              <a:gd name="connsiteY14" fmla="*/ 1129678 h 3816780"/>
              <a:gd name="connsiteX15" fmla="*/ 1795375 w 2772385"/>
              <a:gd name="connsiteY15" fmla="*/ 1225045 h 3816780"/>
              <a:gd name="connsiteX16" fmla="*/ 1643910 w 2772385"/>
              <a:gd name="connsiteY16" fmla="*/ 1449437 h 3816780"/>
              <a:gd name="connsiteX17" fmla="*/ 1722448 w 2772385"/>
              <a:gd name="connsiteY17" fmla="*/ 1668220 h 3816780"/>
              <a:gd name="connsiteX18" fmla="*/ 1812205 w 2772385"/>
              <a:gd name="connsiteY18" fmla="*/ 1662611 h 3816780"/>
              <a:gd name="connsiteX19" fmla="*/ 1621470 w 2772385"/>
              <a:gd name="connsiteY19" fmla="*/ 1858954 h 3816780"/>
              <a:gd name="connsiteX20" fmla="*/ 909024 w 2772385"/>
              <a:gd name="connsiteY20" fmla="*/ 1578463 h 3816780"/>
              <a:gd name="connsiteX21" fmla="*/ 454629 w 2772385"/>
              <a:gd name="connsiteY21" fmla="*/ 2605060 h 3816780"/>
              <a:gd name="connsiteX22" fmla="*/ 258286 w 2772385"/>
              <a:gd name="connsiteY22" fmla="*/ 2812623 h 3816780"/>
              <a:gd name="connsiteX23" fmla="*/ 39503 w 2772385"/>
              <a:gd name="connsiteY23" fmla="*/ 2857501 h 3816780"/>
              <a:gd name="connsiteX24" fmla="*/ 28282 w 2772385"/>
              <a:gd name="connsiteY24" fmla="*/ 2975307 h 3816780"/>
              <a:gd name="connsiteX25" fmla="*/ 258285 w 2772385"/>
              <a:gd name="connsiteY25" fmla="*/ 3087504 h 3816780"/>
              <a:gd name="connsiteX26" fmla="*/ 527559 w 2772385"/>
              <a:gd name="connsiteY26" fmla="*/ 2986527 h 3816780"/>
              <a:gd name="connsiteX27" fmla="*/ 488288 w 2772385"/>
              <a:gd name="connsiteY27" fmla="*/ 3154821 h 3816780"/>
              <a:gd name="connsiteX28" fmla="*/ 561215 w 2772385"/>
              <a:gd name="connsiteY28" fmla="*/ 3194090 h 3816780"/>
              <a:gd name="connsiteX29" fmla="*/ 381702 w 2772385"/>
              <a:gd name="connsiteY29" fmla="*/ 3592387 h 3816780"/>
              <a:gd name="connsiteX30" fmla="*/ 213408 w 2772385"/>
              <a:gd name="connsiteY30" fmla="*/ 3698973 h 3816780"/>
              <a:gd name="connsiteX31" fmla="*/ 280726 w 2772385"/>
              <a:gd name="connsiteY31" fmla="*/ 3811169 h 3816780"/>
              <a:gd name="connsiteX32" fmla="*/ 477068 w 2772385"/>
              <a:gd name="connsiteY32" fmla="*/ 3771902 h 3816780"/>
              <a:gd name="connsiteX33" fmla="*/ 622923 w 2772385"/>
              <a:gd name="connsiteY33" fmla="*/ 3547509 h 3816780"/>
              <a:gd name="connsiteX34" fmla="*/ 662193 w 2772385"/>
              <a:gd name="connsiteY34" fmla="*/ 3743852 h 3816780"/>
              <a:gd name="connsiteX35" fmla="*/ 735121 w 2772385"/>
              <a:gd name="connsiteY35" fmla="*/ 3732634 h 3816780"/>
              <a:gd name="connsiteX36" fmla="*/ 774389 w 2772385"/>
              <a:gd name="connsiteY36" fmla="*/ 3474581 h 3816780"/>
              <a:gd name="connsiteX37" fmla="*/ 695851 w 2772385"/>
              <a:gd name="connsiteY37" fmla="*/ 3238969 h 3816780"/>
              <a:gd name="connsiteX38" fmla="*/ 897805 w 2772385"/>
              <a:gd name="connsiteY38" fmla="*/ 2627499 h 3816780"/>
              <a:gd name="connsiteX39" fmla="*/ 1161466 w 2772385"/>
              <a:gd name="connsiteY39" fmla="*/ 2520912 h 3816780"/>
              <a:gd name="connsiteX40" fmla="*/ 1492445 w 2772385"/>
              <a:gd name="connsiteY40" fmla="*/ 2638718 h 3816780"/>
              <a:gd name="connsiteX41" fmla="*/ 1587812 w 2772385"/>
              <a:gd name="connsiteY41" fmla="*/ 2627499 h 3816780"/>
              <a:gd name="connsiteX42" fmla="*/ 1643910 w 2772385"/>
              <a:gd name="connsiteY42" fmla="*/ 2728476 h 3816780"/>
              <a:gd name="connsiteX43" fmla="*/ 1795375 w 2772385"/>
              <a:gd name="connsiteY43" fmla="*/ 2762134 h 3816780"/>
              <a:gd name="connsiteX44" fmla="*/ 1795375 w 2772385"/>
              <a:gd name="connsiteY44" fmla="*/ 2812623 h 3816780"/>
              <a:gd name="connsiteX45" fmla="*/ 1750497 w 2772385"/>
              <a:gd name="connsiteY45" fmla="*/ 3008967 h 3816780"/>
              <a:gd name="connsiteX46" fmla="*/ 1711228 w 2772385"/>
              <a:gd name="connsiteY46" fmla="*/ 3328726 h 3816780"/>
              <a:gd name="connsiteX47" fmla="*/ 1200735 w 2772385"/>
              <a:gd name="connsiteY47" fmla="*/ 3396044 h 3816780"/>
              <a:gd name="connsiteX48" fmla="*/ 1172686 w 2772385"/>
              <a:gd name="connsiteY48" fmla="*/ 3468971 h 3816780"/>
              <a:gd name="connsiteX49" fmla="*/ 1110978 w 2772385"/>
              <a:gd name="connsiteY49" fmla="*/ 3497020 h 3816780"/>
              <a:gd name="connsiteX50" fmla="*/ 1139027 w 2772385"/>
              <a:gd name="connsiteY50" fmla="*/ 3631656 h 3816780"/>
              <a:gd name="connsiteX51" fmla="*/ 1279272 w 2772385"/>
              <a:gd name="connsiteY51" fmla="*/ 3637266 h 3816780"/>
              <a:gd name="connsiteX52" fmla="*/ 1273662 w 2772385"/>
              <a:gd name="connsiteY52" fmla="*/ 3485801 h 3816780"/>
              <a:gd name="connsiteX53" fmla="*/ 1453176 w 2772385"/>
              <a:gd name="connsiteY53" fmla="*/ 3497020 h 3816780"/>
              <a:gd name="connsiteX54" fmla="*/ 1425127 w 2772385"/>
              <a:gd name="connsiteY54" fmla="*/ 3575558 h 3816780"/>
              <a:gd name="connsiteX55" fmla="*/ 1397078 w 2772385"/>
              <a:gd name="connsiteY55" fmla="*/ 3637266 h 3816780"/>
              <a:gd name="connsiteX56" fmla="*/ 1340980 w 2772385"/>
              <a:gd name="connsiteY56" fmla="*/ 3704584 h 3816780"/>
              <a:gd name="connsiteX57" fmla="*/ 1453177 w 2772385"/>
              <a:gd name="connsiteY57" fmla="*/ 3799951 h 3816780"/>
              <a:gd name="connsiteX58" fmla="*/ 1514884 w 2772385"/>
              <a:gd name="connsiteY58" fmla="*/ 3642876 h 3816780"/>
              <a:gd name="connsiteX59" fmla="*/ 1817814 w 2772385"/>
              <a:gd name="connsiteY59" fmla="*/ 3541899 h 3816780"/>
              <a:gd name="connsiteX60" fmla="*/ 2154403 w 2772385"/>
              <a:gd name="connsiteY60" fmla="*/ 3614826 h 3816780"/>
              <a:gd name="connsiteX61" fmla="*/ 2109525 w 2772385"/>
              <a:gd name="connsiteY61" fmla="*/ 3715803 h 3816780"/>
              <a:gd name="connsiteX62" fmla="*/ 2193672 w 2772385"/>
              <a:gd name="connsiteY62" fmla="*/ 3816780 h 3816780"/>
              <a:gd name="connsiteX63" fmla="*/ 2277819 w 2772385"/>
              <a:gd name="connsiteY63" fmla="*/ 3732633 h 3816780"/>
              <a:gd name="connsiteX64" fmla="*/ 2266600 w 2772385"/>
              <a:gd name="connsiteY64" fmla="*/ 3637266 h 3816780"/>
              <a:gd name="connsiteX65" fmla="*/ 2423675 w 2772385"/>
              <a:gd name="connsiteY65" fmla="*/ 3564338 h 3816780"/>
              <a:gd name="connsiteX66" fmla="*/ 2429284 w 2772385"/>
              <a:gd name="connsiteY66" fmla="*/ 3384824 h 3816780"/>
              <a:gd name="connsiteX67" fmla="*/ 1907572 w 2772385"/>
              <a:gd name="connsiteY67" fmla="*/ 3345556 h 3816780"/>
              <a:gd name="connsiteX68" fmla="*/ 1913181 w 2772385"/>
              <a:gd name="connsiteY68" fmla="*/ 3031406 h 3816780"/>
              <a:gd name="connsiteX69" fmla="*/ 1907571 w 2772385"/>
              <a:gd name="connsiteY69" fmla="*/ 3014576 h 3816780"/>
              <a:gd name="connsiteX70" fmla="*/ 1901962 w 2772385"/>
              <a:gd name="connsiteY70" fmla="*/ 2835062 h 3816780"/>
              <a:gd name="connsiteX71" fmla="*/ 1857083 w 2772385"/>
              <a:gd name="connsiteY71" fmla="*/ 2773354 h 3816780"/>
              <a:gd name="connsiteX72" fmla="*/ 2047817 w 2772385"/>
              <a:gd name="connsiteY72" fmla="*/ 2717256 h 3816780"/>
              <a:gd name="connsiteX73" fmla="*/ 2081476 w 2772385"/>
              <a:gd name="connsiteY73" fmla="*/ 2610669 h 3816780"/>
              <a:gd name="connsiteX74" fmla="*/ 2367576 w 2772385"/>
              <a:gd name="connsiteY74" fmla="*/ 2621889 h 3816780"/>
              <a:gd name="connsiteX75" fmla="*/ 2591969 w 2772385"/>
              <a:gd name="connsiteY75" fmla="*/ 2032858 h 3816780"/>
              <a:gd name="connsiteX76" fmla="*/ 2547090 w 2772385"/>
              <a:gd name="connsiteY76" fmla="*/ 1948711 h 3816780"/>
              <a:gd name="connsiteX77" fmla="*/ 2692946 w 2772385"/>
              <a:gd name="connsiteY77" fmla="*/ 1460657 h 3816780"/>
              <a:gd name="connsiteX78" fmla="*/ 2636848 w 2772385"/>
              <a:gd name="connsiteY78" fmla="*/ 1354071 h 3816780"/>
              <a:gd name="connsiteX79" fmla="*/ 2479772 w 2772385"/>
              <a:gd name="connsiteY79" fmla="*/ 798699 h 3816780"/>
              <a:gd name="connsiteX80" fmla="*/ 2737825 w 2772385"/>
              <a:gd name="connsiteY80" fmla="*/ 675283 h 3816780"/>
              <a:gd name="connsiteX81" fmla="*/ 2709775 w 2772385"/>
              <a:gd name="connsiteY81" fmla="*/ 434061 h 3816780"/>
              <a:gd name="connsiteX82" fmla="*/ 2625628 w 2772385"/>
              <a:gd name="connsiteY82" fmla="*/ 86253 h 3816780"/>
              <a:gd name="connsiteX0" fmla="*/ 2625628 w 2772385"/>
              <a:gd name="connsiteY0" fmla="*/ 86253 h 3816780"/>
              <a:gd name="connsiteX1" fmla="*/ 2429284 w 2772385"/>
              <a:gd name="connsiteY1" fmla="*/ 2105 h 3816780"/>
              <a:gd name="connsiteX2" fmla="*/ 2188062 w 2772385"/>
              <a:gd name="connsiteY2" fmla="*/ 159180 h 3816780"/>
              <a:gd name="connsiteX3" fmla="*/ 2087086 w 2772385"/>
              <a:gd name="connsiteY3" fmla="*/ 198449 h 3816780"/>
              <a:gd name="connsiteX4" fmla="*/ 2137574 w 2772385"/>
              <a:gd name="connsiteY4" fmla="*/ 288206 h 3816780"/>
              <a:gd name="connsiteX5" fmla="*/ 2025378 w 2772385"/>
              <a:gd name="connsiteY5" fmla="*/ 450890 h 3816780"/>
              <a:gd name="connsiteX6" fmla="*/ 2131966 w 2772385"/>
              <a:gd name="connsiteY6" fmla="*/ 585526 h 3816780"/>
              <a:gd name="connsiteX7" fmla="*/ 2154403 w 2772385"/>
              <a:gd name="connsiteY7" fmla="*/ 708942 h 3816780"/>
              <a:gd name="connsiteX8" fmla="*/ 2025378 w 2772385"/>
              <a:gd name="connsiteY8" fmla="*/ 753820 h 3816780"/>
              <a:gd name="connsiteX9" fmla="*/ 1991719 w 2772385"/>
              <a:gd name="connsiteY9" fmla="*/ 821138 h 3816780"/>
              <a:gd name="connsiteX10" fmla="*/ 1991719 w 2772385"/>
              <a:gd name="connsiteY10" fmla="*/ 708942 h 3816780"/>
              <a:gd name="connsiteX11" fmla="*/ 1941230 w 2772385"/>
              <a:gd name="connsiteY11" fmla="*/ 669673 h 3816780"/>
              <a:gd name="connsiteX12" fmla="*/ 1778546 w 2772385"/>
              <a:gd name="connsiteY12" fmla="*/ 770649 h 3816780"/>
              <a:gd name="connsiteX13" fmla="*/ 1397078 w 2772385"/>
              <a:gd name="connsiteY13" fmla="*/ 579916 h 3816780"/>
              <a:gd name="connsiteX14" fmla="*/ 1660739 w 2772385"/>
              <a:gd name="connsiteY14" fmla="*/ 1129678 h 3816780"/>
              <a:gd name="connsiteX15" fmla="*/ 1795375 w 2772385"/>
              <a:gd name="connsiteY15" fmla="*/ 1225045 h 3816780"/>
              <a:gd name="connsiteX16" fmla="*/ 1643910 w 2772385"/>
              <a:gd name="connsiteY16" fmla="*/ 1449437 h 3816780"/>
              <a:gd name="connsiteX17" fmla="*/ 1722448 w 2772385"/>
              <a:gd name="connsiteY17" fmla="*/ 1668220 h 3816780"/>
              <a:gd name="connsiteX18" fmla="*/ 1812205 w 2772385"/>
              <a:gd name="connsiteY18" fmla="*/ 1662611 h 3816780"/>
              <a:gd name="connsiteX19" fmla="*/ 1621470 w 2772385"/>
              <a:gd name="connsiteY19" fmla="*/ 1858954 h 3816780"/>
              <a:gd name="connsiteX20" fmla="*/ 909024 w 2772385"/>
              <a:gd name="connsiteY20" fmla="*/ 1578463 h 3816780"/>
              <a:gd name="connsiteX21" fmla="*/ 454629 w 2772385"/>
              <a:gd name="connsiteY21" fmla="*/ 2605060 h 3816780"/>
              <a:gd name="connsiteX22" fmla="*/ 258286 w 2772385"/>
              <a:gd name="connsiteY22" fmla="*/ 2812623 h 3816780"/>
              <a:gd name="connsiteX23" fmla="*/ 39503 w 2772385"/>
              <a:gd name="connsiteY23" fmla="*/ 2857501 h 3816780"/>
              <a:gd name="connsiteX24" fmla="*/ 28282 w 2772385"/>
              <a:gd name="connsiteY24" fmla="*/ 2975307 h 3816780"/>
              <a:gd name="connsiteX25" fmla="*/ 258285 w 2772385"/>
              <a:gd name="connsiteY25" fmla="*/ 3087504 h 3816780"/>
              <a:gd name="connsiteX26" fmla="*/ 527559 w 2772385"/>
              <a:gd name="connsiteY26" fmla="*/ 2986527 h 3816780"/>
              <a:gd name="connsiteX27" fmla="*/ 488288 w 2772385"/>
              <a:gd name="connsiteY27" fmla="*/ 3154821 h 3816780"/>
              <a:gd name="connsiteX28" fmla="*/ 561215 w 2772385"/>
              <a:gd name="connsiteY28" fmla="*/ 3194090 h 3816780"/>
              <a:gd name="connsiteX29" fmla="*/ 381702 w 2772385"/>
              <a:gd name="connsiteY29" fmla="*/ 3592387 h 3816780"/>
              <a:gd name="connsiteX30" fmla="*/ 213408 w 2772385"/>
              <a:gd name="connsiteY30" fmla="*/ 3698973 h 3816780"/>
              <a:gd name="connsiteX31" fmla="*/ 280726 w 2772385"/>
              <a:gd name="connsiteY31" fmla="*/ 3811169 h 3816780"/>
              <a:gd name="connsiteX32" fmla="*/ 477068 w 2772385"/>
              <a:gd name="connsiteY32" fmla="*/ 3771902 h 3816780"/>
              <a:gd name="connsiteX33" fmla="*/ 622923 w 2772385"/>
              <a:gd name="connsiteY33" fmla="*/ 3547509 h 3816780"/>
              <a:gd name="connsiteX34" fmla="*/ 662193 w 2772385"/>
              <a:gd name="connsiteY34" fmla="*/ 3743852 h 3816780"/>
              <a:gd name="connsiteX35" fmla="*/ 735121 w 2772385"/>
              <a:gd name="connsiteY35" fmla="*/ 3732634 h 3816780"/>
              <a:gd name="connsiteX36" fmla="*/ 774389 w 2772385"/>
              <a:gd name="connsiteY36" fmla="*/ 3474581 h 3816780"/>
              <a:gd name="connsiteX37" fmla="*/ 695851 w 2772385"/>
              <a:gd name="connsiteY37" fmla="*/ 3238969 h 3816780"/>
              <a:gd name="connsiteX38" fmla="*/ 897805 w 2772385"/>
              <a:gd name="connsiteY38" fmla="*/ 2627499 h 3816780"/>
              <a:gd name="connsiteX39" fmla="*/ 1161466 w 2772385"/>
              <a:gd name="connsiteY39" fmla="*/ 2520912 h 3816780"/>
              <a:gd name="connsiteX40" fmla="*/ 1492445 w 2772385"/>
              <a:gd name="connsiteY40" fmla="*/ 2638718 h 3816780"/>
              <a:gd name="connsiteX41" fmla="*/ 1587812 w 2772385"/>
              <a:gd name="connsiteY41" fmla="*/ 2627499 h 3816780"/>
              <a:gd name="connsiteX42" fmla="*/ 1643910 w 2772385"/>
              <a:gd name="connsiteY42" fmla="*/ 2728476 h 3816780"/>
              <a:gd name="connsiteX43" fmla="*/ 1795375 w 2772385"/>
              <a:gd name="connsiteY43" fmla="*/ 2762134 h 3816780"/>
              <a:gd name="connsiteX44" fmla="*/ 1795375 w 2772385"/>
              <a:gd name="connsiteY44" fmla="*/ 2812623 h 3816780"/>
              <a:gd name="connsiteX45" fmla="*/ 1750497 w 2772385"/>
              <a:gd name="connsiteY45" fmla="*/ 3008967 h 3816780"/>
              <a:gd name="connsiteX46" fmla="*/ 1711228 w 2772385"/>
              <a:gd name="connsiteY46" fmla="*/ 3328726 h 3816780"/>
              <a:gd name="connsiteX47" fmla="*/ 1200735 w 2772385"/>
              <a:gd name="connsiteY47" fmla="*/ 3396044 h 3816780"/>
              <a:gd name="connsiteX48" fmla="*/ 1172686 w 2772385"/>
              <a:gd name="connsiteY48" fmla="*/ 3468971 h 3816780"/>
              <a:gd name="connsiteX49" fmla="*/ 1110978 w 2772385"/>
              <a:gd name="connsiteY49" fmla="*/ 3497020 h 3816780"/>
              <a:gd name="connsiteX50" fmla="*/ 1139027 w 2772385"/>
              <a:gd name="connsiteY50" fmla="*/ 3631656 h 3816780"/>
              <a:gd name="connsiteX51" fmla="*/ 1279272 w 2772385"/>
              <a:gd name="connsiteY51" fmla="*/ 3637266 h 3816780"/>
              <a:gd name="connsiteX52" fmla="*/ 1273662 w 2772385"/>
              <a:gd name="connsiteY52" fmla="*/ 3485801 h 3816780"/>
              <a:gd name="connsiteX53" fmla="*/ 1453176 w 2772385"/>
              <a:gd name="connsiteY53" fmla="*/ 3497020 h 3816780"/>
              <a:gd name="connsiteX54" fmla="*/ 1425127 w 2772385"/>
              <a:gd name="connsiteY54" fmla="*/ 3575558 h 3816780"/>
              <a:gd name="connsiteX55" fmla="*/ 1397078 w 2772385"/>
              <a:gd name="connsiteY55" fmla="*/ 3637266 h 3816780"/>
              <a:gd name="connsiteX56" fmla="*/ 1340980 w 2772385"/>
              <a:gd name="connsiteY56" fmla="*/ 3704584 h 3816780"/>
              <a:gd name="connsiteX57" fmla="*/ 1453177 w 2772385"/>
              <a:gd name="connsiteY57" fmla="*/ 3799951 h 3816780"/>
              <a:gd name="connsiteX58" fmla="*/ 1514884 w 2772385"/>
              <a:gd name="connsiteY58" fmla="*/ 3642876 h 3816780"/>
              <a:gd name="connsiteX59" fmla="*/ 1817814 w 2772385"/>
              <a:gd name="connsiteY59" fmla="*/ 3541899 h 3816780"/>
              <a:gd name="connsiteX60" fmla="*/ 2154403 w 2772385"/>
              <a:gd name="connsiteY60" fmla="*/ 3614826 h 3816780"/>
              <a:gd name="connsiteX61" fmla="*/ 2109525 w 2772385"/>
              <a:gd name="connsiteY61" fmla="*/ 3715803 h 3816780"/>
              <a:gd name="connsiteX62" fmla="*/ 2193672 w 2772385"/>
              <a:gd name="connsiteY62" fmla="*/ 3816780 h 3816780"/>
              <a:gd name="connsiteX63" fmla="*/ 2277819 w 2772385"/>
              <a:gd name="connsiteY63" fmla="*/ 3732633 h 3816780"/>
              <a:gd name="connsiteX64" fmla="*/ 2266600 w 2772385"/>
              <a:gd name="connsiteY64" fmla="*/ 3637266 h 3816780"/>
              <a:gd name="connsiteX65" fmla="*/ 2423675 w 2772385"/>
              <a:gd name="connsiteY65" fmla="*/ 3564338 h 3816780"/>
              <a:gd name="connsiteX66" fmla="*/ 2429284 w 2772385"/>
              <a:gd name="connsiteY66" fmla="*/ 3384824 h 3816780"/>
              <a:gd name="connsiteX67" fmla="*/ 1907572 w 2772385"/>
              <a:gd name="connsiteY67" fmla="*/ 3345556 h 3816780"/>
              <a:gd name="connsiteX68" fmla="*/ 1913181 w 2772385"/>
              <a:gd name="connsiteY68" fmla="*/ 3031406 h 3816780"/>
              <a:gd name="connsiteX69" fmla="*/ 1907571 w 2772385"/>
              <a:gd name="connsiteY69" fmla="*/ 3014576 h 3816780"/>
              <a:gd name="connsiteX70" fmla="*/ 1901962 w 2772385"/>
              <a:gd name="connsiteY70" fmla="*/ 2835062 h 3816780"/>
              <a:gd name="connsiteX71" fmla="*/ 1857083 w 2772385"/>
              <a:gd name="connsiteY71" fmla="*/ 2773354 h 3816780"/>
              <a:gd name="connsiteX72" fmla="*/ 2047817 w 2772385"/>
              <a:gd name="connsiteY72" fmla="*/ 2717256 h 3816780"/>
              <a:gd name="connsiteX73" fmla="*/ 2081476 w 2772385"/>
              <a:gd name="connsiteY73" fmla="*/ 2610669 h 3816780"/>
              <a:gd name="connsiteX74" fmla="*/ 2367576 w 2772385"/>
              <a:gd name="connsiteY74" fmla="*/ 2621889 h 3816780"/>
              <a:gd name="connsiteX75" fmla="*/ 2591969 w 2772385"/>
              <a:gd name="connsiteY75" fmla="*/ 2032858 h 3816780"/>
              <a:gd name="connsiteX76" fmla="*/ 2547090 w 2772385"/>
              <a:gd name="connsiteY76" fmla="*/ 1948711 h 3816780"/>
              <a:gd name="connsiteX77" fmla="*/ 2692946 w 2772385"/>
              <a:gd name="connsiteY77" fmla="*/ 1460657 h 3816780"/>
              <a:gd name="connsiteX78" fmla="*/ 2636848 w 2772385"/>
              <a:gd name="connsiteY78" fmla="*/ 1354071 h 3816780"/>
              <a:gd name="connsiteX79" fmla="*/ 2479772 w 2772385"/>
              <a:gd name="connsiteY79" fmla="*/ 798699 h 3816780"/>
              <a:gd name="connsiteX80" fmla="*/ 2737825 w 2772385"/>
              <a:gd name="connsiteY80" fmla="*/ 675283 h 3816780"/>
              <a:gd name="connsiteX81" fmla="*/ 2709775 w 2772385"/>
              <a:gd name="connsiteY81" fmla="*/ 434061 h 3816780"/>
              <a:gd name="connsiteX82" fmla="*/ 2625628 w 2772385"/>
              <a:gd name="connsiteY82" fmla="*/ 86253 h 3816780"/>
              <a:gd name="connsiteX0" fmla="*/ 2625628 w 2772385"/>
              <a:gd name="connsiteY0" fmla="*/ 86253 h 3816780"/>
              <a:gd name="connsiteX1" fmla="*/ 2429284 w 2772385"/>
              <a:gd name="connsiteY1" fmla="*/ 2105 h 3816780"/>
              <a:gd name="connsiteX2" fmla="*/ 2188062 w 2772385"/>
              <a:gd name="connsiteY2" fmla="*/ 159180 h 3816780"/>
              <a:gd name="connsiteX3" fmla="*/ 2087086 w 2772385"/>
              <a:gd name="connsiteY3" fmla="*/ 198449 h 3816780"/>
              <a:gd name="connsiteX4" fmla="*/ 2137574 w 2772385"/>
              <a:gd name="connsiteY4" fmla="*/ 288206 h 3816780"/>
              <a:gd name="connsiteX5" fmla="*/ 2025378 w 2772385"/>
              <a:gd name="connsiteY5" fmla="*/ 450890 h 3816780"/>
              <a:gd name="connsiteX6" fmla="*/ 2131966 w 2772385"/>
              <a:gd name="connsiteY6" fmla="*/ 585526 h 3816780"/>
              <a:gd name="connsiteX7" fmla="*/ 2154403 w 2772385"/>
              <a:gd name="connsiteY7" fmla="*/ 708942 h 3816780"/>
              <a:gd name="connsiteX8" fmla="*/ 2025378 w 2772385"/>
              <a:gd name="connsiteY8" fmla="*/ 753820 h 3816780"/>
              <a:gd name="connsiteX9" fmla="*/ 1991719 w 2772385"/>
              <a:gd name="connsiteY9" fmla="*/ 821138 h 3816780"/>
              <a:gd name="connsiteX10" fmla="*/ 1991719 w 2772385"/>
              <a:gd name="connsiteY10" fmla="*/ 708942 h 3816780"/>
              <a:gd name="connsiteX11" fmla="*/ 1941230 w 2772385"/>
              <a:gd name="connsiteY11" fmla="*/ 669673 h 3816780"/>
              <a:gd name="connsiteX12" fmla="*/ 1778546 w 2772385"/>
              <a:gd name="connsiteY12" fmla="*/ 770649 h 3816780"/>
              <a:gd name="connsiteX13" fmla="*/ 1397078 w 2772385"/>
              <a:gd name="connsiteY13" fmla="*/ 579916 h 3816780"/>
              <a:gd name="connsiteX14" fmla="*/ 1660739 w 2772385"/>
              <a:gd name="connsiteY14" fmla="*/ 1129678 h 3816780"/>
              <a:gd name="connsiteX15" fmla="*/ 1795375 w 2772385"/>
              <a:gd name="connsiteY15" fmla="*/ 1225045 h 3816780"/>
              <a:gd name="connsiteX16" fmla="*/ 1643910 w 2772385"/>
              <a:gd name="connsiteY16" fmla="*/ 1449437 h 3816780"/>
              <a:gd name="connsiteX17" fmla="*/ 1722448 w 2772385"/>
              <a:gd name="connsiteY17" fmla="*/ 1668220 h 3816780"/>
              <a:gd name="connsiteX18" fmla="*/ 1812205 w 2772385"/>
              <a:gd name="connsiteY18" fmla="*/ 1662611 h 3816780"/>
              <a:gd name="connsiteX19" fmla="*/ 1621470 w 2772385"/>
              <a:gd name="connsiteY19" fmla="*/ 1858954 h 3816780"/>
              <a:gd name="connsiteX20" fmla="*/ 909024 w 2772385"/>
              <a:gd name="connsiteY20" fmla="*/ 1578463 h 3816780"/>
              <a:gd name="connsiteX21" fmla="*/ 454629 w 2772385"/>
              <a:gd name="connsiteY21" fmla="*/ 2605060 h 3816780"/>
              <a:gd name="connsiteX22" fmla="*/ 258286 w 2772385"/>
              <a:gd name="connsiteY22" fmla="*/ 2812623 h 3816780"/>
              <a:gd name="connsiteX23" fmla="*/ 39503 w 2772385"/>
              <a:gd name="connsiteY23" fmla="*/ 2857501 h 3816780"/>
              <a:gd name="connsiteX24" fmla="*/ 28282 w 2772385"/>
              <a:gd name="connsiteY24" fmla="*/ 2975307 h 3816780"/>
              <a:gd name="connsiteX25" fmla="*/ 258285 w 2772385"/>
              <a:gd name="connsiteY25" fmla="*/ 3087504 h 3816780"/>
              <a:gd name="connsiteX26" fmla="*/ 527559 w 2772385"/>
              <a:gd name="connsiteY26" fmla="*/ 2986527 h 3816780"/>
              <a:gd name="connsiteX27" fmla="*/ 488288 w 2772385"/>
              <a:gd name="connsiteY27" fmla="*/ 3154821 h 3816780"/>
              <a:gd name="connsiteX28" fmla="*/ 561215 w 2772385"/>
              <a:gd name="connsiteY28" fmla="*/ 3194090 h 3816780"/>
              <a:gd name="connsiteX29" fmla="*/ 381702 w 2772385"/>
              <a:gd name="connsiteY29" fmla="*/ 3592387 h 3816780"/>
              <a:gd name="connsiteX30" fmla="*/ 213408 w 2772385"/>
              <a:gd name="connsiteY30" fmla="*/ 3698973 h 3816780"/>
              <a:gd name="connsiteX31" fmla="*/ 280726 w 2772385"/>
              <a:gd name="connsiteY31" fmla="*/ 3811169 h 3816780"/>
              <a:gd name="connsiteX32" fmla="*/ 477068 w 2772385"/>
              <a:gd name="connsiteY32" fmla="*/ 3771902 h 3816780"/>
              <a:gd name="connsiteX33" fmla="*/ 622923 w 2772385"/>
              <a:gd name="connsiteY33" fmla="*/ 3547509 h 3816780"/>
              <a:gd name="connsiteX34" fmla="*/ 662193 w 2772385"/>
              <a:gd name="connsiteY34" fmla="*/ 3743852 h 3816780"/>
              <a:gd name="connsiteX35" fmla="*/ 735121 w 2772385"/>
              <a:gd name="connsiteY35" fmla="*/ 3732634 h 3816780"/>
              <a:gd name="connsiteX36" fmla="*/ 774389 w 2772385"/>
              <a:gd name="connsiteY36" fmla="*/ 3474581 h 3816780"/>
              <a:gd name="connsiteX37" fmla="*/ 695851 w 2772385"/>
              <a:gd name="connsiteY37" fmla="*/ 3238969 h 3816780"/>
              <a:gd name="connsiteX38" fmla="*/ 897805 w 2772385"/>
              <a:gd name="connsiteY38" fmla="*/ 2627499 h 3816780"/>
              <a:gd name="connsiteX39" fmla="*/ 1161466 w 2772385"/>
              <a:gd name="connsiteY39" fmla="*/ 2520912 h 3816780"/>
              <a:gd name="connsiteX40" fmla="*/ 1492445 w 2772385"/>
              <a:gd name="connsiteY40" fmla="*/ 2638718 h 3816780"/>
              <a:gd name="connsiteX41" fmla="*/ 1587812 w 2772385"/>
              <a:gd name="connsiteY41" fmla="*/ 2627499 h 3816780"/>
              <a:gd name="connsiteX42" fmla="*/ 1643910 w 2772385"/>
              <a:gd name="connsiteY42" fmla="*/ 2728476 h 3816780"/>
              <a:gd name="connsiteX43" fmla="*/ 1795375 w 2772385"/>
              <a:gd name="connsiteY43" fmla="*/ 2762134 h 3816780"/>
              <a:gd name="connsiteX44" fmla="*/ 1795375 w 2772385"/>
              <a:gd name="connsiteY44" fmla="*/ 2812623 h 3816780"/>
              <a:gd name="connsiteX45" fmla="*/ 1750497 w 2772385"/>
              <a:gd name="connsiteY45" fmla="*/ 3008967 h 3816780"/>
              <a:gd name="connsiteX46" fmla="*/ 1711228 w 2772385"/>
              <a:gd name="connsiteY46" fmla="*/ 3328726 h 3816780"/>
              <a:gd name="connsiteX47" fmla="*/ 1200735 w 2772385"/>
              <a:gd name="connsiteY47" fmla="*/ 3396044 h 3816780"/>
              <a:gd name="connsiteX48" fmla="*/ 1172686 w 2772385"/>
              <a:gd name="connsiteY48" fmla="*/ 3468971 h 3816780"/>
              <a:gd name="connsiteX49" fmla="*/ 1110978 w 2772385"/>
              <a:gd name="connsiteY49" fmla="*/ 3497020 h 3816780"/>
              <a:gd name="connsiteX50" fmla="*/ 1139027 w 2772385"/>
              <a:gd name="connsiteY50" fmla="*/ 3631656 h 3816780"/>
              <a:gd name="connsiteX51" fmla="*/ 1279272 w 2772385"/>
              <a:gd name="connsiteY51" fmla="*/ 3637266 h 3816780"/>
              <a:gd name="connsiteX52" fmla="*/ 1273662 w 2772385"/>
              <a:gd name="connsiteY52" fmla="*/ 3485801 h 3816780"/>
              <a:gd name="connsiteX53" fmla="*/ 1453176 w 2772385"/>
              <a:gd name="connsiteY53" fmla="*/ 3497020 h 3816780"/>
              <a:gd name="connsiteX54" fmla="*/ 1425127 w 2772385"/>
              <a:gd name="connsiteY54" fmla="*/ 3575558 h 3816780"/>
              <a:gd name="connsiteX55" fmla="*/ 1397078 w 2772385"/>
              <a:gd name="connsiteY55" fmla="*/ 3637266 h 3816780"/>
              <a:gd name="connsiteX56" fmla="*/ 1340980 w 2772385"/>
              <a:gd name="connsiteY56" fmla="*/ 3704584 h 3816780"/>
              <a:gd name="connsiteX57" fmla="*/ 1453177 w 2772385"/>
              <a:gd name="connsiteY57" fmla="*/ 3799951 h 3816780"/>
              <a:gd name="connsiteX58" fmla="*/ 1514884 w 2772385"/>
              <a:gd name="connsiteY58" fmla="*/ 3642876 h 3816780"/>
              <a:gd name="connsiteX59" fmla="*/ 1817814 w 2772385"/>
              <a:gd name="connsiteY59" fmla="*/ 3541899 h 3816780"/>
              <a:gd name="connsiteX60" fmla="*/ 2154403 w 2772385"/>
              <a:gd name="connsiteY60" fmla="*/ 3614826 h 3816780"/>
              <a:gd name="connsiteX61" fmla="*/ 2109525 w 2772385"/>
              <a:gd name="connsiteY61" fmla="*/ 3715803 h 3816780"/>
              <a:gd name="connsiteX62" fmla="*/ 2193672 w 2772385"/>
              <a:gd name="connsiteY62" fmla="*/ 3816780 h 3816780"/>
              <a:gd name="connsiteX63" fmla="*/ 2277819 w 2772385"/>
              <a:gd name="connsiteY63" fmla="*/ 3732633 h 3816780"/>
              <a:gd name="connsiteX64" fmla="*/ 2266600 w 2772385"/>
              <a:gd name="connsiteY64" fmla="*/ 3637266 h 3816780"/>
              <a:gd name="connsiteX65" fmla="*/ 2423675 w 2772385"/>
              <a:gd name="connsiteY65" fmla="*/ 3564338 h 3816780"/>
              <a:gd name="connsiteX66" fmla="*/ 2429284 w 2772385"/>
              <a:gd name="connsiteY66" fmla="*/ 3384824 h 3816780"/>
              <a:gd name="connsiteX67" fmla="*/ 1907572 w 2772385"/>
              <a:gd name="connsiteY67" fmla="*/ 3345556 h 3816780"/>
              <a:gd name="connsiteX68" fmla="*/ 1913181 w 2772385"/>
              <a:gd name="connsiteY68" fmla="*/ 3031406 h 3816780"/>
              <a:gd name="connsiteX69" fmla="*/ 1907571 w 2772385"/>
              <a:gd name="connsiteY69" fmla="*/ 3014576 h 3816780"/>
              <a:gd name="connsiteX70" fmla="*/ 1901962 w 2772385"/>
              <a:gd name="connsiteY70" fmla="*/ 2835062 h 3816780"/>
              <a:gd name="connsiteX71" fmla="*/ 1857083 w 2772385"/>
              <a:gd name="connsiteY71" fmla="*/ 2773354 h 3816780"/>
              <a:gd name="connsiteX72" fmla="*/ 2047817 w 2772385"/>
              <a:gd name="connsiteY72" fmla="*/ 2717256 h 3816780"/>
              <a:gd name="connsiteX73" fmla="*/ 2081476 w 2772385"/>
              <a:gd name="connsiteY73" fmla="*/ 2610669 h 3816780"/>
              <a:gd name="connsiteX74" fmla="*/ 2367576 w 2772385"/>
              <a:gd name="connsiteY74" fmla="*/ 2621889 h 3816780"/>
              <a:gd name="connsiteX75" fmla="*/ 2591969 w 2772385"/>
              <a:gd name="connsiteY75" fmla="*/ 2032858 h 3816780"/>
              <a:gd name="connsiteX76" fmla="*/ 2547090 w 2772385"/>
              <a:gd name="connsiteY76" fmla="*/ 1948711 h 3816780"/>
              <a:gd name="connsiteX77" fmla="*/ 2692946 w 2772385"/>
              <a:gd name="connsiteY77" fmla="*/ 1460657 h 3816780"/>
              <a:gd name="connsiteX78" fmla="*/ 2636848 w 2772385"/>
              <a:gd name="connsiteY78" fmla="*/ 1354071 h 3816780"/>
              <a:gd name="connsiteX79" fmla="*/ 2479772 w 2772385"/>
              <a:gd name="connsiteY79" fmla="*/ 798699 h 3816780"/>
              <a:gd name="connsiteX80" fmla="*/ 2737825 w 2772385"/>
              <a:gd name="connsiteY80" fmla="*/ 675283 h 3816780"/>
              <a:gd name="connsiteX81" fmla="*/ 2709775 w 2772385"/>
              <a:gd name="connsiteY81" fmla="*/ 434061 h 3816780"/>
              <a:gd name="connsiteX82" fmla="*/ 2625628 w 2772385"/>
              <a:gd name="connsiteY82" fmla="*/ 86253 h 3816780"/>
              <a:gd name="connsiteX0" fmla="*/ 2625628 w 2772385"/>
              <a:gd name="connsiteY0" fmla="*/ 86253 h 3816780"/>
              <a:gd name="connsiteX1" fmla="*/ 2429284 w 2772385"/>
              <a:gd name="connsiteY1" fmla="*/ 2105 h 3816780"/>
              <a:gd name="connsiteX2" fmla="*/ 2188062 w 2772385"/>
              <a:gd name="connsiteY2" fmla="*/ 159180 h 3816780"/>
              <a:gd name="connsiteX3" fmla="*/ 2087086 w 2772385"/>
              <a:gd name="connsiteY3" fmla="*/ 198449 h 3816780"/>
              <a:gd name="connsiteX4" fmla="*/ 2137574 w 2772385"/>
              <a:gd name="connsiteY4" fmla="*/ 288206 h 3816780"/>
              <a:gd name="connsiteX5" fmla="*/ 2025378 w 2772385"/>
              <a:gd name="connsiteY5" fmla="*/ 450890 h 3816780"/>
              <a:gd name="connsiteX6" fmla="*/ 2131966 w 2772385"/>
              <a:gd name="connsiteY6" fmla="*/ 585526 h 3816780"/>
              <a:gd name="connsiteX7" fmla="*/ 2154403 w 2772385"/>
              <a:gd name="connsiteY7" fmla="*/ 708942 h 3816780"/>
              <a:gd name="connsiteX8" fmla="*/ 2025378 w 2772385"/>
              <a:gd name="connsiteY8" fmla="*/ 753820 h 3816780"/>
              <a:gd name="connsiteX9" fmla="*/ 1991719 w 2772385"/>
              <a:gd name="connsiteY9" fmla="*/ 821138 h 3816780"/>
              <a:gd name="connsiteX10" fmla="*/ 1991719 w 2772385"/>
              <a:gd name="connsiteY10" fmla="*/ 708942 h 3816780"/>
              <a:gd name="connsiteX11" fmla="*/ 1941230 w 2772385"/>
              <a:gd name="connsiteY11" fmla="*/ 669673 h 3816780"/>
              <a:gd name="connsiteX12" fmla="*/ 1778546 w 2772385"/>
              <a:gd name="connsiteY12" fmla="*/ 770649 h 3816780"/>
              <a:gd name="connsiteX13" fmla="*/ 1397078 w 2772385"/>
              <a:gd name="connsiteY13" fmla="*/ 579916 h 3816780"/>
              <a:gd name="connsiteX14" fmla="*/ 1660739 w 2772385"/>
              <a:gd name="connsiteY14" fmla="*/ 1129678 h 3816780"/>
              <a:gd name="connsiteX15" fmla="*/ 1795375 w 2772385"/>
              <a:gd name="connsiteY15" fmla="*/ 1225045 h 3816780"/>
              <a:gd name="connsiteX16" fmla="*/ 1643910 w 2772385"/>
              <a:gd name="connsiteY16" fmla="*/ 1449437 h 3816780"/>
              <a:gd name="connsiteX17" fmla="*/ 1722448 w 2772385"/>
              <a:gd name="connsiteY17" fmla="*/ 1668220 h 3816780"/>
              <a:gd name="connsiteX18" fmla="*/ 1812205 w 2772385"/>
              <a:gd name="connsiteY18" fmla="*/ 1662611 h 3816780"/>
              <a:gd name="connsiteX19" fmla="*/ 1621470 w 2772385"/>
              <a:gd name="connsiteY19" fmla="*/ 1858954 h 3816780"/>
              <a:gd name="connsiteX20" fmla="*/ 909024 w 2772385"/>
              <a:gd name="connsiteY20" fmla="*/ 1578463 h 3816780"/>
              <a:gd name="connsiteX21" fmla="*/ 454629 w 2772385"/>
              <a:gd name="connsiteY21" fmla="*/ 2605060 h 3816780"/>
              <a:gd name="connsiteX22" fmla="*/ 258286 w 2772385"/>
              <a:gd name="connsiteY22" fmla="*/ 2812623 h 3816780"/>
              <a:gd name="connsiteX23" fmla="*/ 39503 w 2772385"/>
              <a:gd name="connsiteY23" fmla="*/ 2857501 h 3816780"/>
              <a:gd name="connsiteX24" fmla="*/ 28282 w 2772385"/>
              <a:gd name="connsiteY24" fmla="*/ 2975307 h 3816780"/>
              <a:gd name="connsiteX25" fmla="*/ 258285 w 2772385"/>
              <a:gd name="connsiteY25" fmla="*/ 3087504 h 3816780"/>
              <a:gd name="connsiteX26" fmla="*/ 527559 w 2772385"/>
              <a:gd name="connsiteY26" fmla="*/ 2986527 h 3816780"/>
              <a:gd name="connsiteX27" fmla="*/ 488288 w 2772385"/>
              <a:gd name="connsiteY27" fmla="*/ 3154821 h 3816780"/>
              <a:gd name="connsiteX28" fmla="*/ 561215 w 2772385"/>
              <a:gd name="connsiteY28" fmla="*/ 3194090 h 3816780"/>
              <a:gd name="connsiteX29" fmla="*/ 381702 w 2772385"/>
              <a:gd name="connsiteY29" fmla="*/ 3592387 h 3816780"/>
              <a:gd name="connsiteX30" fmla="*/ 213408 w 2772385"/>
              <a:gd name="connsiteY30" fmla="*/ 3698973 h 3816780"/>
              <a:gd name="connsiteX31" fmla="*/ 280726 w 2772385"/>
              <a:gd name="connsiteY31" fmla="*/ 3811169 h 3816780"/>
              <a:gd name="connsiteX32" fmla="*/ 477068 w 2772385"/>
              <a:gd name="connsiteY32" fmla="*/ 3771902 h 3816780"/>
              <a:gd name="connsiteX33" fmla="*/ 622923 w 2772385"/>
              <a:gd name="connsiteY33" fmla="*/ 3547509 h 3816780"/>
              <a:gd name="connsiteX34" fmla="*/ 662193 w 2772385"/>
              <a:gd name="connsiteY34" fmla="*/ 3743852 h 3816780"/>
              <a:gd name="connsiteX35" fmla="*/ 735121 w 2772385"/>
              <a:gd name="connsiteY35" fmla="*/ 3732634 h 3816780"/>
              <a:gd name="connsiteX36" fmla="*/ 774389 w 2772385"/>
              <a:gd name="connsiteY36" fmla="*/ 3474581 h 3816780"/>
              <a:gd name="connsiteX37" fmla="*/ 695851 w 2772385"/>
              <a:gd name="connsiteY37" fmla="*/ 3238969 h 3816780"/>
              <a:gd name="connsiteX38" fmla="*/ 897805 w 2772385"/>
              <a:gd name="connsiteY38" fmla="*/ 2627499 h 3816780"/>
              <a:gd name="connsiteX39" fmla="*/ 1161466 w 2772385"/>
              <a:gd name="connsiteY39" fmla="*/ 2520912 h 3816780"/>
              <a:gd name="connsiteX40" fmla="*/ 1492445 w 2772385"/>
              <a:gd name="connsiteY40" fmla="*/ 2638718 h 3816780"/>
              <a:gd name="connsiteX41" fmla="*/ 1587812 w 2772385"/>
              <a:gd name="connsiteY41" fmla="*/ 2627499 h 3816780"/>
              <a:gd name="connsiteX42" fmla="*/ 1643910 w 2772385"/>
              <a:gd name="connsiteY42" fmla="*/ 2728476 h 3816780"/>
              <a:gd name="connsiteX43" fmla="*/ 1795375 w 2772385"/>
              <a:gd name="connsiteY43" fmla="*/ 2762134 h 3816780"/>
              <a:gd name="connsiteX44" fmla="*/ 1795375 w 2772385"/>
              <a:gd name="connsiteY44" fmla="*/ 2812623 h 3816780"/>
              <a:gd name="connsiteX45" fmla="*/ 1750497 w 2772385"/>
              <a:gd name="connsiteY45" fmla="*/ 3008967 h 3816780"/>
              <a:gd name="connsiteX46" fmla="*/ 1711228 w 2772385"/>
              <a:gd name="connsiteY46" fmla="*/ 3328726 h 3816780"/>
              <a:gd name="connsiteX47" fmla="*/ 1200735 w 2772385"/>
              <a:gd name="connsiteY47" fmla="*/ 3396044 h 3816780"/>
              <a:gd name="connsiteX48" fmla="*/ 1172686 w 2772385"/>
              <a:gd name="connsiteY48" fmla="*/ 3468971 h 3816780"/>
              <a:gd name="connsiteX49" fmla="*/ 1110978 w 2772385"/>
              <a:gd name="connsiteY49" fmla="*/ 3497020 h 3816780"/>
              <a:gd name="connsiteX50" fmla="*/ 1139027 w 2772385"/>
              <a:gd name="connsiteY50" fmla="*/ 3631656 h 3816780"/>
              <a:gd name="connsiteX51" fmla="*/ 1279272 w 2772385"/>
              <a:gd name="connsiteY51" fmla="*/ 3637266 h 3816780"/>
              <a:gd name="connsiteX52" fmla="*/ 1273662 w 2772385"/>
              <a:gd name="connsiteY52" fmla="*/ 3485801 h 3816780"/>
              <a:gd name="connsiteX53" fmla="*/ 1453176 w 2772385"/>
              <a:gd name="connsiteY53" fmla="*/ 3497020 h 3816780"/>
              <a:gd name="connsiteX54" fmla="*/ 1425127 w 2772385"/>
              <a:gd name="connsiteY54" fmla="*/ 3575558 h 3816780"/>
              <a:gd name="connsiteX55" fmla="*/ 1397078 w 2772385"/>
              <a:gd name="connsiteY55" fmla="*/ 3637266 h 3816780"/>
              <a:gd name="connsiteX56" fmla="*/ 1340980 w 2772385"/>
              <a:gd name="connsiteY56" fmla="*/ 3704584 h 3816780"/>
              <a:gd name="connsiteX57" fmla="*/ 1453177 w 2772385"/>
              <a:gd name="connsiteY57" fmla="*/ 3799951 h 3816780"/>
              <a:gd name="connsiteX58" fmla="*/ 1514884 w 2772385"/>
              <a:gd name="connsiteY58" fmla="*/ 3642876 h 3816780"/>
              <a:gd name="connsiteX59" fmla="*/ 1817814 w 2772385"/>
              <a:gd name="connsiteY59" fmla="*/ 3541899 h 3816780"/>
              <a:gd name="connsiteX60" fmla="*/ 2154403 w 2772385"/>
              <a:gd name="connsiteY60" fmla="*/ 3614826 h 3816780"/>
              <a:gd name="connsiteX61" fmla="*/ 2109525 w 2772385"/>
              <a:gd name="connsiteY61" fmla="*/ 3715803 h 3816780"/>
              <a:gd name="connsiteX62" fmla="*/ 2193672 w 2772385"/>
              <a:gd name="connsiteY62" fmla="*/ 3816780 h 3816780"/>
              <a:gd name="connsiteX63" fmla="*/ 2277819 w 2772385"/>
              <a:gd name="connsiteY63" fmla="*/ 3732633 h 3816780"/>
              <a:gd name="connsiteX64" fmla="*/ 2266600 w 2772385"/>
              <a:gd name="connsiteY64" fmla="*/ 3637266 h 3816780"/>
              <a:gd name="connsiteX65" fmla="*/ 2423675 w 2772385"/>
              <a:gd name="connsiteY65" fmla="*/ 3564338 h 3816780"/>
              <a:gd name="connsiteX66" fmla="*/ 2429284 w 2772385"/>
              <a:gd name="connsiteY66" fmla="*/ 3384824 h 3816780"/>
              <a:gd name="connsiteX67" fmla="*/ 1907572 w 2772385"/>
              <a:gd name="connsiteY67" fmla="*/ 3345556 h 3816780"/>
              <a:gd name="connsiteX68" fmla="*/ 1913181 w 2772385"/>
              <a:gd name="connsiteY68" fmla="*/ 3031406 h 3816780"/>
              <a:gd name="connsiteX69" fmla="*/ 1907571 w 2772385"/>
              <a:gd name="connsiteY69" fmla="*/ 3014576 h 3816780"/>
              <a:gd name="connsiteX70" fmla="*/ 1901962 w 2772385"/>
              <a:gd name="connsiteY70" fmla="*/ 2835062 h 3816780"/>
              <a:gd name="connsiteX71" fmla="*/ 1857083 w 2772385"/>
              <a:gd name="connsiteY71" fmla="*/ 2773354 h 3816780"/>
              <a:gd name="connsiteX72" fmla="*/ 2047817 w 2772385"/>
              <a:gd name="connsiteY72" fmla="*/ 2717256 h 3816780"/>
              <a:gd name="connsiteX73" fmla="*/ 2081476 w 2772385"/>
              <a:gd name="connsiteY73" fmla="*/ 2610669 h 3816780"/>
              <a:gd name="connsiteX74" fmla="*/ 2367576 w 2772385"/>
              <a:gd name="connsiteY74" fmla="*/ 2621889 h 3816780"/>
              <a:gd name="connsiteX75" fmla="*/ 2591969 w 2772385"/>
              <a:gd name="connsiteY75" fmla="*/ 2032858 h 3816780"/>
              <a:gd name="connsiteX76" fmla="*/ 2547090 w 2772385"/>
              <a:gd name="connsiteY76" fmla="*/ 1948711 h 3816780"/>
              <a:gd name="connsiteX77" fmla="*/ 2692946 w 2772385"/>
              <a:gd name="connsiteY77" fmla="*/ 1460657 h 3816780"/>
              <a:gd name="connsiteX78" fmla="*/ 2636848 w 2772385"/>
              <a:gd name="connsiteY78" fmla="*/ 1354071 h 3816780"/>
              <a:gd name="connsiteX79" fmla="*/ 2479772 w 2772385"/>
              <a:gd name="connsiteY79" fmla="*/ 798699 h 3816780"/>
              <a:gd name="connsiteX80" fmla="*/ 2737825 w 2772385"/>
              <a:gd name="connsiteY80" fmla="*/ 675283 h 3816780"/>
              <a:gd name="connsiteX81" fmla="*/ 2709775 w 2772385"/>
              <a:gd name="connsiteY81" fmla="*/ 434061 h 3816780"/>
              <a:gd name="connsiteX82" fmla="*/ 2625628 w 2772385"/>
              <a:gd name="connsiteY82" fmla="*/ 86253 h 3816780"/>
              <a:gd name="connsiteX0" fmla="*/ 2625628 w 2772385"/>
              <a:gd name="connsiteY0" fmla="*/ 86253 h 3816780"/>
              <a:gd name="connsiteX1" fmla="*/ 2429284 w 2772385"/>
              <a:gd name="connsiteY1" fmla="*/ 2105 h 3816780"/>
              <a:gd name="connsiteX2" fmla="*/ 2188062 w 2772385"/>
              <a:gd name="connsiteY2" fmla="*/ 159180 h 3816780"/>
              <a:gd name="connsiteX3" fmla="*/ 2087086 w 2772385"/>
              <a:gd name="connsiteY3" fmla="*/ 198449 h 3816780"/>
              <a:gd name="connsiteX4" fmla="*/ 2137574 w 2772385"/>
              <a:gd name="connsiteY4" fmla="*/ 288206 h 3816780"/>
              <a:gd name="connsiteX5" fmla="*/ 2025378 w 2772385"/>
              <a:gd name="connsiteY5" fmla="*/ 450890 h 3816780"/>
              <a:gd name="connsiteX6" fmla="*/ 2131966 w 2772385"/>
              <a:gd name="connsiteY6" fmla="*/ 585526 h 3816780"/>
              <a:gd name="connsiteX7" fmla="*/ 2154403 w 2772385"/>
              <a:gd name="connsiteY7" fmla="*/ 708942 h 3816780"/>
              <a:gd name="connsiteX8" fmla="*/ 2025378 w 2772385"/>
              <a:gd name="connsiteY8" fmla="*/ 753820 h 3816780"/>
              <a:gd name="connsiteX9" fmla="*/ 1991719 w 2772385"/>
              <a:gd name="connsiteY9" fmla="*/ 821138 h 3816780"/>
              <a:gd name="connsiteX10" fmla="*/ 1991719 w 2772385"/>
              <a:gd name="connsiteY10" fmla="*/ 708942 h 3816780"/>
              <a:gd name="connsiteX11" fmla="*/ 1941230 w 2772385"/>
              <a:gd name="connsiteY11" fmla="*/ 669673 h 3816780"/>
              <a:gd name="connsiteX12" fmla="*/ 1778546 w 2772385"/>
              <a:gd name="connsiteY12" fmla="*/ 770649 h 3816780"/>
              <a:gd name="connsiteX13" fmla="*/ 1397078 w 2772385"/>
              <a:gd name="connsiteY13" fmla="*/ 579916 h 3816780"/>
              <a:gd name="connsiteX14" fmla="*/ 1660739 w 2772385"/>
              <a:gd name="connsiteY14" fmla="*/ 1129678 h 3816780"/>
              <a:gd name="connsiteX15" fmla="*/ 1795375 w 2772385"/>
              <a:gd name="connsiteY15" fmla="*/ 1225045 h 3816780"/>
              <a:gd name="connsiteX16" fmla="*/ 1643910 w 2772385"/>
              <a:gd name="connsiteY16" fmla="*/ 1449437 h 3816780"/>
              <a:gd name="connsiteX17" fmla="*/ 1722448 w 2772385"/>
              <a:gd name="connsiteY17" fmla="*/ 1668220 h 3816780"/>
              <a:gd name="connsiteX18" fmla="*/ 1812205 w 2772385"/>
              <a:gd name="connsiteY18" fmla="*/ 1662611 h 3816780"/>
              <a:gd name="connsiteX19" fmla="*/ 1621470 w 2772385"/>
              <a:gd name="connsiteY19" fmla="*/ 1858954 h 3816780"/>
              <a:gd name="connsiteX20" fmla="*/ 909024 w 2772385"/>
              <a:gd name="connsiteY20" fmla="*/ 1578463 h 3816780"/>
              <a:gd name="connsiteX21" fmla="*/ 454629 w 2772385"/>
              <a:gd name="connsiteY21" fmla="*/ 2605060 h 3816780"/>
              <a:gd name="connsiteX22" fmla="*/ 258286 w 2772385"/>
              <a:gd name="connsiteY22" fmla="*/ 2812623 h 3816780"/>
              <a:gd name="connsiteX23" fmla="*/ 39503 w 2772385"/>
              <a:gd name="connsiteY23" fmla="*/ 2857501 h 3816780"/>
              <a:gd name="connsiteX24" fmla="*/ 28282 w 2772385"/>
              <a:gd name="connsiteY24" fmla="*/ 2975307 h 3816780"/>
              <a:gd name="connsiteX25" fmla="*/ 258285 w 2772385"/>
              <a:gd name="connsiteY25" fmla="*/ 3087504 h 3816780"/>
              <a:gd name="connsiteX26" fmla="*/ 527559 w 2772385"/>
              <a:gd name="connsiteY26" fmla="*/ 2986527 h 3816780"/>
              <a:gd name="connsiteX27" fmla="*/ 488288 w 2772385"/>
              <a:gd name="connsiteY27" fmla="*/ 3154821 h 3816780"/>
              <a:gd name="connsiteX28" fmla="*/ 561215 w 2772385"/>
              <a:gd name="connsiteY28" fmla="*/ 3194090 h 3816780"/>
              <a:gd name="connsiteX29" fmla="*/ 381702 w 2772385"/>
              <a:gd name="connsiteY29" fmla="*/ 3592387 h 3816780"/>
              <a:gd name="connsiteX30" fmla="*/ 213408 w 2772385"/>
              <a:gd name="connsiteY30" fmla="*/ 3698973 h 3816780"/>
              <a:gd name="connsiteX31" fmla="*/ 280726 w 2772385"/>
              <a:gd name="connsiteY31" fmla="*/ 3811169 h 3816780"/>
              <a:gd name="connsiteX32" fmla="*/ 477068 w 2772385"/>
              <a:gd name="connsiteY32" fmla="*/ 3771902 h 3816780"/>
              <a:gd name="connsiteX33" fmla="*/ 622923 w 2772385"/>
              <a:gd name="connsiteY33" fmla="*/ 3547509 h 3816780"/>
              <a:gd name="connsiteX34" fmla="*/ 662193 w 2772385"/>
              <a:gd name="connsiteY34" fmla="*/ 3743852 h 3816780"/>
              <a:gd name="connsiteX35" fmla="*/ 735121 w 2772385"/>
              <a:gd name="connsiteY35" fmla="*/ 3732634 h 3816780"/>
              <a:gd name="connsiteX36" fmla="*/ 774389 w 2772385"/>
              <a:gd name="connsiteY36" fmla="*/ 3474581 h 3816780"/>
              <a:gd name="connsiteX37" fmla="*/ 695851 w 2772385"/>
              <a:gd name="connsiteY37" fmla="*/ 3238969 h 3816780"/>
              <a:gd name="connsiteX38" fmla="*/ 897805 w 2772385"/>
              <a:gd name="connsiteY38" fmla="*/ 2627499 h 3816780"/>
              <a:gd name="connsiteX39" fmla="*/ 1161466 w 2772385"/>
              <a:gd name="connsiteY39" fmla="*/ 2520912 h 3816780"/>
              <a:gd name="connsiteX40" fmla="*/ 1492445 w 2772385"/>
              <a:gd name="connsiteY40" fmla="*/ 2638718 h 3816780"/>
              <a:gd name="connsiteX41" fmla="*/ 1587812 w 2772385"/>
              <a:gd name="connsiteY41" fmla="*/ 2627499 h 3816780"/>
              <a:gd name="connsiteX42" fmla="*/ 1643910 w 2772385"/>
              <a:gd name="connsiteY42" fmla="*/ 2728476 h 3816780"/>
              <a:gd name="connsiteX43" fmla="*/ 1795375 w 2772385"/>
              <a:gd name="connsiteY43" fmla="*/ 2762134 h 3816780"/>
              <a:gd name="connsiteX44" fmla="*/ 1795375 w 2772385"/>
              <a:gd name="connsiteY44" fmla="*/ 2812623 h 3816780"/>
              <a:gd name="connsiteX45" fmla="*/ 1750497 w 2772385"/>
              <a:gd name="connsiteY45" fmla="*/ 3008967 h 3816780"/>
              <a:gd name="connsiteX46" fmla="*/ 1711228 w 2772385"/>
              <a:gd name="connsiteY46" fmla="*/ 3328726 h 3816780"/>
              <a:gd name="connsiteX47" fmla="*/ 1200735 w 2772385"/>
              <a:gd name="connsiteY47" fmla="*/ 3396044 h 3816780"/>
              <a:gd name="connsiteX48" fmla="*/ 1172686 w 2772385"/>
              <a:gd name="connsiteY48" fmla="*/ 3468971 h 3816780"/>
              <a:gd name="connsiteX49" fmla="*/ 1110978 w 2772385"/>
              <a:gd name="connsiteY49" fmla="*/ 3497020 h 3816780"/>
              <a:gd name="connsiteX50" fmla="*/ 1139027 w 2772385"/>
              <a:gd name="connsiteY50" fmla="*/ 3631656 h 3816780"/>
              <a:gd name="connsiteX51" fmla="*/ 1279272 w 2772385"/>
              <a:gd name="connsiteY51" fmla="*/ 3637266 h 3816780"/>
              <a:gd name="connsiteX52" fmla="*/ 1273662 w 2772385"/>
              <a:gd name="connsiteY52" fmla="*/ 3485801 h 3816780"/>
              <a:gd name="connsiteX53" fmla="*/ 1453176 w 2772385"/>
              <a:gd name="connsiteY53" fmla="*/ 3497020 h 3816780"/>
              <a:gd name="connsiteX54" fmla="*/ 1425127 w 2772385"/>
              <a:gd name="connsiteY54" fmla="*/ 3575558 h 3816780"/>
              <a:gd name="connsiteX55" fmla="*/ 1397078 w 2772385"/>
              <a:gd name="connsiteY55" fmla="*/ 3637266 h 3816780"/>
              <a:gd name="connsiteX56" fmla="*/ 1340980 w 2772385"/>
              <a:gd name="connsiteY56" fmla="*/ 3704584 h 3816780"/>
              <a:gd name="connsiteX57" fmla="*/ 1453177 w 2772385"/>
              <a:gd name="connsiteY57" fmla="*/ 3799951 h 3816780"/>
              <a:gd name="connsiteX58" fmla="*/ 1514884 w 2772385"/>
              <a:gd name="connsiteY58" fmla="*/ 3642876 h 3816780"/>
              <a:gd name="connsiteX59" fmla="*/ 1817814 w 2772385"/>
              <a:gd name="connsiteY59" fmla="*/ 3541899 h 3816780"/>
              <a:gd name="connsiteX60" fmla="*/ 2154403 w 2772385"/>
              <a:gd name="connsiteY60" fmla="*/ 3614826 h 3816780"/>
              <a:gd name="connsiteX61" fmla="*/ 2109525 w 2772385"/>
              <a:gd name="connsiteY61" fmla="*/ 3715803 h 3816780"/>
              <a:gd name="connsiteX62" fmla="*/ 2193672 w 2772385"/>
              <a:gd name="connsiteY62" fmla="*/ 3816780 h 3816780"/>
              <a:gd name="connsiteX63" fmla="*/ 2277819 w 2772385"/>
              <a:gd name="connsiteY63" fmla="*/ 3732633 h 3816780"/>
              <a:gd name="connsiteX64" fmla="*/ 2266600 w 2772385"/>
              <a:gd name="connsiteY64" fmla="*/ 3637266 h 3816780"/>
              <a:gd name="connsiteX65" fmla="*/ 2423675 w 2772385"/>
              <a:gd name="connsiteY65" fmla="*/ 3564338 h 3816780"/>
              <a:gd name="connsiteX66" fmla="*/ 2429284 w 2772385"/>
              <a:gd name="connsiteY66" fmla="*/ 3384824 h 3816780"/>
              <a:gd name="connsiteX67" fmla="*/ 1907572 w 2772385"/>
              <a:gd name="connsiteY67" fmla="*/ 3345556 h 3816780"/>
              <a:gd name="connsiteX68" fmla="*/ 1913181 w 2772385"/>
              <a:gd name="connsiteY68" fmla="*/ 3031406 h 3816780"/>
              <a:gd name="connsiteX69" fmla="*/ 1907571 w 2772385"/>
              <a:gd name="connsiteY69" fmla="*/ 3014576 h 3816780"/>
              <a:gd name="connsiteX70" fmla="*/ 1901962 w 2772385"/>
              <a:gd name="connsiteY70" fmla="*/ 2835062 h 3816780"/>
              <a:gd name="connsiteX71" fmla="*/ 1857083 w 2772385"/>
              <a:gd name="connsiteY71" fmla="*/ 2773354 h 3816780"/>
              <a:gd name="connsiteX72" fmla="*/ 2047817 w 2772385"/>
              <a:gd name="connsiteY72" fmla="*/ 2717256 h 3816780"/>
              <a:gd name="connsiteX73" fmla="*/ 2081476 w 2772385"/>
              <a:gd name="connsiteY73" fmla="*/ 2610669 h 3816780"/>
              <a:gd name="connsiteX74" fmla="*/ 2367576 w 2772385"/>
              <a:gd name="connsiteY74" fmla="*/ 2621889 h 3816780"/>
              <a:gd name="connsiteX75" fmla="*/ 2591969 w 2772385"/>
              <a:gd name="connsiteY75" fmla="*/ 2032858 h 3816780"/>
              <a:gd name="connsiteX76" fmla="*/ 2547090 w 2772385"/>
              <a:gd name="connsiteY76" fmla="*/ 1948711 h 3816780"/>
              <a:gd name="connsiteX77" fmla="*/ 2692946 w 2772385"/>
              <a:gd name="connsiteY77" fmla="*/ 1460657 h 3816780"/>
              <a:gd name="connsiteX78" fmla="*/ 2636848 w 2772385"/>
              <a:gd name="connsiteY78" fmla="*/ 1354071 h 3816780"/>
              <a:gd name="connsiteX79" fmla="*/ 2479772 w 2772385"/>
              <a:gd name="connsiteY79" fmla="*/ 798699 h 3816780"/>
              <a:gd name="connsiteX80" fmla="*/ 2737825 w 2772385"/>
              <a:gd name="connsiteY80" fmla="*/ 675283 h 3816780"/>
              <a:gd name="connsiteX81" fmla="*/ 2709775 w 2772385"/>
              <a:gd name="connsiteY81" fmla="*/ 434061 h 3816780"/>
              <a:gd name="connsiteX82" fmla="*/ 2625628 w 2772385"/>
              <a:gd name="connsiteY82" fmla="*/ 86253 h 3816780"/>
              <a:gd name="connsiteX0" fmla="*/ 2625628 w 2772385"/>
              <a:gd name="connsiteY0" fmla="*/ 86253 h 3816780"/>
              <a:gd name="connsiteX1" fmla="*/ 2429284 w 2772385"/>
              <a:gd name="connsiteY1" fmla="*/ 2105 h 3816780"/>
              <a:gd name="connsiteX2" fmla="*/ 2188062 w 2772385"/>
              <a:gd name="connsiteY2" fmla="*/ 159180 h 3816780"/>
              <a:gd name="connsiteX3" fmla="*/ 2087086 w 2772385"/>
              <a:gd name="connsiteY3" fmla="*/ 198449 h 3816780"/>
              <a:gd name="connsiteX4" fmla="*/ 2137574 w 2772385"/>
              <a:gd name="connsiteY4" fmla="*/ 288206 h 3816780"/>
              <a:gd name="connsiteX5" fmla="*/ 2025378 w 2772385"/>
              <a:gd name="connsiteY5" fmla="*/ 450890 h 3816780"/>
              <a:gd name="connsiteX6" fmla="*/ 2131966 w 2772385"/>
              <a:gd name="connsiteY6" fmla="*/ 585526 h 3816780"/>
              <a:gd name="connsiteX7" fmla="*/ 2154403 w 2772385"/>
              <a:gd name="connsiteY7" fmla="*/ 708942 h 3816780"/>
              <a:gd name="connsiteX8" fmla="*/ 2025378 w 2772385"/>
              <a:gd name="connsiteY8" fmla="*/ 753820 h 3816780"/>
              <a:gd name="connsiteX9" fmla="*/ 1991719 w 2772385"/>
              <a:gd name="connsiteY9" fmla="*/ 821138 h 3816780"/>
              <a:gd name="connsiteX10" fmla="*/ 1991719 w 2772385"/>
              <a:gd name="connsiteY10" fmla="*/ 708942 h 3816780"/>
              <a:gd name="connsiteX11" fmla="*/ 1941230 w 2772385"/>
              <a:gd name="connsiteY11" fmla="*/ 669673 h 3816780"/>
              <a:gd name="connsiteX12" fmla="*/ 1778546 w 2772385"/>
              <a:gd name="connsiteY12" fmla="*/ 770649 h 3816780"/>
              <a:gd name="connsiteX13" fmla="*/ 1397078 w 2772385"/>
              <a:gd name="connsiteY13" fmla="*/ 579916 h 3816780"/>
              <a:gd name="connsiteX14" fmla="*/ 1660739 w 2772385"/>
              <a:gd name="connsiteY14" fmla="*/ 1129678 h 3816780"/>
              <a:gd name="connsiteX15" fmla="*/ 1795375 w 2772385"/>
              <a:gd name="connsiteY15" fmla="*/ 1225045 h 3816780"/>
              <a:gd name="connsiteX16" fmla="*/ 1643910 w 2772385"/>
              <a:gd name="connsiteY16" fmla="*/ 1449437 h 3816780"/>
              <a:gd name="connsiteX17" fmla="*/ 1722448 w 2772385"/>
              <a:gd name="connsiteY17" fmla="*/ 1668220 h 3816780"/>
              <a:gd name="connsiteX18" fmla="*/ 1812205 w 2772385"/>
              <a:gd name="connsiteY18" fmla="*/ 1662611 h 3816780"/>
              <a:gd name="connsiteX19" fmla="*/ 1621470 w 2772385"/>
              <a:gd name="connsiteY19" fmla="*/ 1858954 h 3816780"/>
              <a:gd name="connsiteX20" fmla="*/ 909024 w 2772385"/>
              <a:gd name="connsiteY20" fmla="*/ 1578463 h 3816780"/>
              <a:gd name="connsiteX21" fmla="*/ 454629 w 2772385"/>
              <a:gd name="connsiteY21" fmla="*/ 2605060 h 3816780"/>
              <a:gd name="connsiteX22" fmla="*/ 258286 w 2772385"/>
              <a:gd name="connsiteY22" fmla="*/ 2812623 h 3816780"/>
              <a:gd name="connsiteX23" fmla="*/ 39503 w 2772385"/>
              <a:gd name="connsiteY23" fmla="*/ 2857501 h 3816780"/>
              <a:gd name="connsiteX24" fmla="*/ 28282 w 2772385"/>
              <a:gd name="connsiteY24" fmla="*/ 2975307 h 3816780"/>
              <a:gd name="connsiteX25" fmla="*/ 258285 w 2772385"/>
              <a:gd name="connsiteY25" fmla="*/ 3087504 h 3816780"/>
              <a:gd name="connsiteX26" fmla="*/ 527559 w 2772385"/>
              <a:gd name="connsiteY26" fmla="*/ 2986527 h 3816780"/>
              <a:gd name="connsiteX27" fmla="*/ 488288 w 2772385"/>
              <a:gd name="connsiteY27" fmla="*/ 3154821 h 3816780"/>
              <a:gd name="connsiteX28" fmla="*/ 561215 w 2772385"/>
              <a:gd name="connsiteY28" fmla="*/ 3194090 h 3816780"/>
              <a:gd name="connsiteX29" fmla="*/ 381702 w 2772385"/>
              <a:gd name="connsiteY29" fmla="*/ 3592387 h 3816780"/>
              <a:gd name="connsiteX30" fmla="*/ 213408 w 2772385"/>
              <a:gd name="connsiteY30" fmla="*/ 3698973 h 3816780"/>
              <a:gd name="connsiteX31" fmla="*/ 280726 w 2772385"/>
              <a:gd name="connsiteY31" fmla="*/ 3811169 h 3816780"/>
              <a:gd name="connsiteX32" fmla="*/ 477068 w 2772385"/>
              <a:gd name="connsiteY32" fmla="*/ 3771902 h 3816780"/>
              <a:gd name="connsiteX33" fmla="*/ 622923 w 2772385"/>
              <a:gd name="connsiteY33" fmla="*/ 3547509 h 3816780"/>
              <a:gd name="connsiteX34" fmla="*/ 662193 w 2772385"/>
              <a:gd name="connsiteY34" fmla="*/ 3743852 h 3816780"/>
              <a:gd name="connsiteX35" fmla="*/ 735121 w 2772385"/>
              <a:gd name="connsiteY35" fmla="*/ 3732634 h 3816780"/>
              <a:gd name="connsiteX36" fmla="*/ 774389 w 2772385"/>
              <a:gd name="connsiteY36" fmla="*/ 3474581 h 3816780"/>
              <a:gd name="connsiteX37" fmla="*/ 695851 w 2772385"/>
              <a:gd name="connsiteY37" fmla="*/ 3238969 h 3816780"/>
              <a:gd name="connsiteX38" fmla="*/ 897805 w 2772385"/>
              <a:gd name="connsiteY38" fmla="*/ 2627499 h 3816780"/>
              <a:gd name="connsiteX39" fmla="*/ 1161466 w 2772385"/>
              <a:gd name="connsiteY39" fmla="*/ 2520912 h 3816780"/>
              <a:gd name="connsiteX40" fmla="*/ 1492445 w 2772385"/>
              <a:gd name="connsiteY40" fmla="*/ 2638718 h 3816780"/>
              <a:gd name="connsiteX41" fmla="*/ 1587812 w 2772385"/>
              <a:gd name="connsiteY41" fmla="*/ 2627499 h 3816780"/>
              <a:gd name="connsiteX42" fmla="*/ 1643910 w 2772385"/>
              <a:gd name="connsiteY42" fmla="*/ 2728476 h 3816780"/>
              <a:gd name="connsiteX43" fmla="*/ 1795375 w 2772385"/>
              <a:gd name="connsiteY43" fmla="*/ 2762134 h 3816780"/>
              <a:gd name="connsiteX44" fmla="*/ 1795375 w 2772385"/>
              <a:gd name="connsiteY44" fmla="*/ 2812623 h 3816780"/>
              <a:gd name="connsiteX45" fmla="*/ 1750497 w 2772385"/>
              <a:gd name="connsiteY45" fmla="*/ 3008967 h 3816780"/>
              <a:gd name="connsiteX46" fmla="*/ 1711228 w 2772385"/>
              <a:gd name="connsiteY46" fmla="*/ 3328726 h 3816780"/>
              <a:gd name="connsiteX47" fmla="*/ 1200735 w 2772385"/>
              <a:gd name="connsiteY47" fmla="*/ 3396044 h 3816780"/>
              <a:gd name="connsiteX48" fmla="*/ 1172686 w 2772385"/>
              <a:gd name="connsiteY48" fmla="*/ 3468971 h 3816780"/>
              <a:gd name="connsiteX49" fmla="*/ 1110978 w 2772385"/>
              <a:gd name="connsiteY49" fmla="*/ 3497020 h 3816780"/>
              <a:gd name="connsiteX50" fmla="*/ 1139027 w 2772385"/>
              <a:gd name="connsiteY50" fmla="*/ 3631656 h 3816780"/>
              <a:gd name="connsiteX51" fmla="*/ 1279272 w 2772385"/>
              <a:gd name="connsiteY51" fmla="*/ 3637266 h 3816780"/>
              <a:gd name="connsiteX52" fmla="*/ 1273662 w 2772385"/>
              <a:gd name="connsiteY52" fmla="*/ 3485801 h 3816780"/>
              <a:gd name="connsiteX53" fmla="*/ 1453176 w 2772385"/>
              <a:gd name="connsiteY53" fmla="*/ 3497020 h 3816780"/>
              <a:gd name="connsiteX54" fmla="*/ 1425127 w 2772385"/>
              <a:gd name="connsiteY54" fmla="*/ 3575558 h 3816780"/>
              <a:gd name="connsiteX55" fmla="*/ 1397078 w 2772385"/>
              <a:gd name="connsiteY55" fmla="*/ 3637266 h 3816780"/>
              <a:gd name="connsiteX56" fmla="*/ 1340980 w 2772385"/>
              <a:gd name="connsiteY56" fmla="*/ 3704584 h 3816780"/>
              <a:gd name="connsiteX57" fmla="*/ 1453177 w 2772385"/>
              <a:gd name="connsiteY57" fmla="*/ 3799951 h 3816780"/>
              <a:gd name="connsiteX58" fmla="*/ 1514884 w 2772385"/>
              <a:gd name="connsiteY58" fmla="*/ 3642876 h 3816780"/>
              <a:gd name="connsiteX59" fmla="*/ 1817814 w 2772385"/>
              <a:gd name="connsiteY59" fmla="*/ 3541899 h 3816780"/>
              <a:gd name="connsiteX60" fmla="*/ 2154403 w 2772385"/>
              <a:gd name="connsiteY60" fmla="*/ 3614826 h 3816780"/>
              <a:gd name="connsiteX61" fmla="*/ 2109525 w 2772385"/>
              <a:gd name="connsiteY61" fmla="*/ 3715803 h 3816780"/>
              <a:gd name="connsiteX62" fmla="*/ 2193672 w 2772385"/>
              <a:gd name="connsiteY62" fmla="*/ 3816780 h 3816780"/>
              <a:gd name="connsiteX63" fmla="*/ 2277819 w 2772385"/>
              <a:gd name="connsiteY63" fmla="*/ 3732633 h 3816780"/>
              <a:gd name="connsiteX64" fmla="*/ 2266600 w 2772385"/>
              <a:gd name="connsiteY64" fmla="*/ 3637266 h 3816780"/>
              <a:gd name="connsiteX65" fmla="*/ 2423675 w 2772385"/>
              <a:gd name="connsiteY65" fmla="*/ 3564338 h 3816780"/>
              <a:gd name="connsiteX66" fmla="*/ 2429284 w 2772385"/>
              <a:gd name="connsiteY66" fmla="*/ 3384824 h 3816780"/>
              <a:gd name="connsiteX67" fmla="*/ 1907572 w 2772385"/>
              <a:gd name="connsiteY67" fmla="*/ 3345556 h 3816780"/>
              <a:gd name="connsiteX68" fmla="*/ 1913181 w 2772385"/>
              <a:gd name="connsiteY68" fmla="*/ 3031406 h 3816780"/>
              <a:gd name="connsiteX69" fmla="*/ 1907571 w 2772385"/>
              <a:gd name="connsiteY69" fmla="*/ 3014576 h 3816780"/>
              <a:gd name="connsiteX70" fmla="*/ 1901962 w 2772385"/>
              <a:gd name="connsiteY70" fmla="*/ 2835062 h 3816780"/>
              <a:gd name="connsiteX71" fmla="*/ 1857083 w 2772385"/>
              <a:gd name="connsiteY71" fmla="*/ 2773354 h 3816780"/>
              <a:gd name="connsiteX72" fmla="*/ 2047817 w 2772385"/>
              <a:gd name="connsiteY72" fmla="*/ 2717256 h 3816780"/>
              <a:gd name="connsiteX73" fmla="*/ 2081476 w 2772385"/>
              <a:gd name="connsiteY73" fmla="*/ 2610669 h 3816780"/>
              <a:gd name="connsiteX74" fmla="*/ 2367576 w 2772385"/>
              <a:gd name="connsiteY74" fmla="*/ 2621889 h 3816780"/>
              <a:gd name="connsiteX75" fmla="*/ 2591969 w 2772385"/>
              <a:gd name="connsiteY75" fmla="*/ 2032858 h 3816780"/>
              <a:gd name="connsiteX76" fmla="*/ 2547090 w 2772385"/>
              <a:gd name="connsiteY76" fmla="*/ 1948711 h 3816780"/>
              <a:gd name="connsiteX77" fmla="*/ 2692946 w 2772385"/>
              <a:gd name="connsiteY77" fmla="*/ 1460657 h 3816780"/>
              <a:gd name="connsiteX78" fmla="*/ 2636848 w 2772385"/>
              <a:gd name="connsiteY78" fmla="*/ 1354071 h 3816780"/>
              <a:gd name="connsiteX79" fmla="*/ 2479772 w 2772385"/>
              <a:gd name="connsiteY79" fmla="*/ 798699 h 3816780"/>
              <a:gd name="connsiteX80" fmla="*/ 2737825 w 2772385"/>
              <a:gd name="connsiteY80" fmla="*/ 675283 h 3816780"/>
              <a:gd name="connsiteX81" fmla="*/ 2709775 w 2772385"/>
              <a:gd name="connsiteY81" fmla="*/ 434061 h 3816780"/>
              <a:gd name="connsiteX82" fmla="*/ 2625628 w 2772385"/>
              <a:gd name="connsiteY82" fmla="*/ 86253 h 3816780"/>
              <a:gd name="connsiteX0" fmla="*/ 2625628 w 2772385"/>
              <a:gd name="connsiteY0" fmla="*/ 86253 h 3816780"/>
              <a:gd name="connsiteX1" fmla="*/ 2429284 w 2772385"/>
              <a:gd name="connsiteY1" fmla="*/ 2105 h 3816780"/>
              <a:gd name="connsiteX2" fmla="*/ 2188062 w 2772385"/>
              <a:gd name="connsiteY2" fmla="*/ 159180 h 3816780"/>
              <a:gd name="connsiteX3" fmla="*/ 2087086 w 2772385"/>
              <a:gd name="connsiteY3" fmla="*/ 198449 h 3816780"/>
              <a:gd name="connsiteX4" fmla="*/ 2137574 w 2772385"/>
              <a:gd name="connsiteY4" fmla="*/ 288206 h 3816780"/>
              <a:gd name="connsiteX5" fmla="*/ 2025378 w 2772385"/>
              <a:gd name="connsiteY5" fmla="*/ 450890 h 3816780"/>
              <a:gd name="connsiteX6" fmla="*/ 2131966 w 2772385"/>
              <a:gd name="connsiteY6" fmla="*/ 585526 h 3816780"/>
              <a:gd name="connsiteX7" fmla="*/ 2154403 w 2772385"/>
              <a:gd name="connsiteY7" fmla="*/ 708942 h 3816780"/>
              <a:gd name="connsiteX8" fmla="*/ 2025378 w 2772385"/>
              <a:gd name="connsiteY8" fmla="*/ 753820 h 3816780"/>
              <a:gd name="connsiteX9" fmla="*/ 1991719 w 2772385"/>
              <a:gd name="connsiteY9" fmla="*/ 821138 h 3816780"/>
              <a:gd name="connsiteX10" fmla="*/ 1991719 w 2772385"/>
              <a:gd name="connsiteY10" fmla="*/ 708942 h 3816780"/>
              <a:gd name="connsiteX11" fmla="*/ 1941230 w 2772385"/>
              <a:gd name="connsiteY11" fmla="*/ 669673 h 3816780"/>
              <a:gd name="connsiteX12" fmla="*/ 1778546 w 2772385"/>
              <a:gd name="connsiteY12" fmla="*/ 770649 h 3816780"/>
              <a:gd name="connsiteX13" fmla="*/ 1397078 w 2772385"/>
              <a:gd name="connsiteY13" fmla="*/ 579916 h 3816780"/>
              <a:gd name="connsiteX14" fmla="*/ 1660739 w 2772385"/>
              <a:gd name="connsiteY14" fmla="*/ 1129678 h 3816780"/>
              <a:gd name="connsiteX15" fmla="*/ 1795375 w 2772385"/>
              <a:gd name="connsiteY15" fmla="*/ 1225045 h 3816780"/>
              <a:gd name="connsiteX16" fmla="*/ 1643910 w 2772385"/>
              <a:gd name="connsiteY16" fmla="*/ 1449437 h 3816780"/>
              <a:gd name="connsiteX17" fmla="*/ 1722448 w 2772385"/>
              <a:gd name="connsiteY17" fmla="*/ 1668220 h 3816780"/>
              <a:gd name="connsiteX18" fmla="*/ 1812205 w 2772385"/>
              <a:gd name="connsiteY18" fmla="*/ 1662611 h 3816780"/>
              <a:gd name="connsiteX19" fmla="*/ 1621470 w 2772385"/>
              <a:gd name="connsiteY19" fmla="*/ 1858954 h 3816780"/>
              <a:gd name="connsiteX20" fmla="*/ 909024 w 2772385"/>
              <a:gd name="connsiteY20" fmla="*/ 1578463 h 3816780"/>
              <a:gd name="connsiteX21" fmla="*/ 454629 w 2772385"/>
              <a:gd name="connsiteY21" fmla="*/ 2605060 h 3816780"/>
              <a:gd name="connsiteX22" fmla="*/ 258286 w 2772385"/>
              <a:gd name="connsiteY22" fmla="*/ 2812623 h 3816780"/>
              <a:gd name="connsiteX23" fmla="*/ 39503 w 2772385"/>
              <a:gd name="connsiteY23" fmla="*/ 2857501 h 3816780"/>
              <a:gd name="connsiteX24" fmla="*/ 28282 w 2772385"/>
              <a:gd name="connsiteY24" fmla="*/ 2975307 h 3816780"/>
              <a:gd name="connsiteX25" fmla="*/ 258285 w 2772385"/>
              <a:gd name="connsiteY25" fmla="*/ 3087504 h 3816780"/>
              <a:gd name="connsiteX26" fmla="*/ 527559 w 2772385"/>
              <a:gd name="connsiteY26" fmla="*/ 2986527 h 3816780"/>
              <a:gd name="connsiteX27" fmla="*/ 488288 w 2772385"/>
              <a:gd name="connsiteY27" fmla="*/ 3154821 h 3816780"/>
              <a:gd name="connsiteX28" fmla="*/ 561215 w 2772385"/>
              <a:gd name="connsiteY28" fmla="*/ 3194090 h 3816780"/>
              <a:gd name="connsiteX29" fmla="*/ 381702 w 2772385"/>
              <a:gd name="connsiteY29" fmla="*/ 3592387 h 3816780"/>
              <a:gd name="connsiteX30" fmla="*/ 213408 w 2772385"/>
              <a:gd name="connsiteY30" fmla="*/ 3698973 h 3816780"/>
              <a:gd name="connsiteX31" fmla="*/ 280726 w 2772385"/>
              <a:gd name="connsiteY31" fmla="*/ 3811169 h 3816780"/>
              <a:gd name="connsiteX32" fmla="*/ 477068 w 2772385"/>
              <a:gd name="connsiteY32" fmla="*/ 3771902 h 3816780"/>
              <a:gd name="connsiteX33" fmla="*/ 622923 w 2772385"/>
              <a:gd name="connsiteY33" fmla="*/ 3547509 h 3816780"/>
              <a:gd name="connsiteX34" fmla="*/ 662193 w 2772385"/>
              <a:gd name="connsiteY34" fmla="*/ 3743852 h 3816780"/>
              <a:gd name="connsiteX35" fmla="*/ 735121 w 2772385"/>
              <a:gd name="connsiteY35" fmla="*/ 3732634 h 3816780"/>
              <a:gd name="connsiteX36" fmla="*/ 774389 w 2772385"/>
              <a:gd name="connsiteY36" fmla="*/ 3474581 h 3816780"/>
              <a:gd name="connsiteX37" fmla="*/ 695851 w 2772385"/>
              <a:gd name="connsiteY37" fmla="*/ 3238969 h 3816780"/>
              <a:gd name="connsiteX38" fmla="*/ 897805 w 2772385"/>
              <a:gd name="connsiteY38" fmla="*/ 2627499 h 3816780"/>
              <a:gd name="connsiteX39" fmla="*/ 1161466 w 2772385"/>
              <a:gd name="connsiteY39" fmla="*/ 2520912 h 3816780"/>
              <a:gd name="connsiteX40" fmla="*/ 1492445 w 2772385"/>
              <a:gd name="connsiteY40" fmla="*/ 2638718 h 3816780"/>
              <a:gd name="connsiteX41" fmla="*/ 1587812 w 2772385"/>
              <a:gd name="connsiteY41" fmla="*/ 2627499 h 3816780"/>
              <a:gd name="connsiteX42" fmla="*/ 1643910 w 2772385"/>
              <a:gd name="connsiteY42" fmla="*/ 2728476 h 3816780"/>
              <a:gd name="connsiteX43" fmla="*/ 1795375 w 2772385"/>
              <a:gd name="connsiteY43" fmla="*/ 2762134 h 3816780"/>
              <a:gd name="connsiteX44" fmla="*/ 1795375 w 2772385"/>
              <a:gd name="connsiteY44" fmla="*/ 2812623 h 3816780"/>
              <a:gd name="connsiteX45" fmla="*/ 1750497 w 2772385"/>
              <a:gd name="connsiteY45" fmla="*/ 3008967 h 3816780"/>
              <a:gd name="connsiteX46" fmla="*/ 1711228 w 2772385"/>
              <a:gd name="connsiteY46" fmla="*/ 3328726 h 3816780"/>
              <a:gd name="connsiteX47" fmla="*/ 1200735 w 2772385"/>
              <a:gd name="connsiteY47" fmla="*/ 3396044 h 3816780"/>
              <a:gd name="connsiteX48" fmla="*/ 1172686 w 2772385"/>
              <a:gd name="connsiteY48" fmla="*/ 3468971 h 3816780"/>
              <a:gd name="connsiteX49" fmla="*/ 1110978 w 2772385"/>
              <a:gd name="connsiteY49" fmla="*/ 3497020 h 3816780"/>
              <a:gd name="connsiteX50" fmla="*/ 1139027 w 2772385"/>
              <a:gd name="connsiteY50" fmla="*/ 3631656 h 3816780"/>
              <a:gd name="connsiteX51" fmla="*/ 1279272 w 2772385"/>
              <a:gd name="connsiteY51" fmla="*/ 3637266 h 3816780"/>
              <a:gd name="connsiteX52" fmla="*/ 1273662 w 2772385"/>
              <a:gd name="connsiteY52" fmla="*/ 3485801 h 3816780"/>
              <a:gd name="connsiteX53" fmla="*/ 1453176 w 2772385"/>
              <a:gd name="connsiteY53" fmla="*/ 3497020 h 3816780"/>
              <a:gd name="connsiteX54" fmla="*/ 1425127 w 2772385"/>
              <a:gd name="connsiteY54" fmla="*/ 3575558 h 3816780"/>
              <a:gd name="connsiteX55" fmla="*/ 1397078 w 2772385"/>
              <a:gd name="connsiteY55" fmla="*/ 3637266 h 3816780"/>
              <a:gd name="connsiteX56" fmla="*/ 1340980 w 2772385"/>
              <a:gd name="connsiteY56" fmla="*/ 3704584 h 3816780"/>
              <a:gd name="connsiteX57" fmla="*/ 1453177 w 2772385"/>
              <a:gd name="connsiteY57" fmla="*/ 3799951 h 3816780"/>
              <a:gd name="connsiteX58" fmla="*/ 1514884 w 2772385"/>
              <a:gd name="connsiteY58" fmla="*/ 3642876 h 3816780"/>
              <a:gd name="connsiteX59" fmla="*/ 1817814 w 2772385"/>
              <a:gd name="connsiteY59" fmla="*/ 3541899 h 3816780"/>
              <a:gd name="connsiteX60" fmla="*/ 2154403 w 2772385"/>
              <a:gd name="connsiteY60" fmla="*/ 3614826 h 3816780"/>
              <a:gd name="connsiteX61" fmla="*/ 2109525 w 2772385"/>
              <a:gd name="connsiteY61" fmla="*/ 3715803 h 3816780"/>
              <a:gd name="connsiteX62" fmla="*/ 2193672 w 2772385"/>
              <a:gd name="connsiteY62" fmla="*/ 3816780 h 3816780"/>
              <a:gd name="connsiteX63" fmla="*/ 2277819 w 2772385"/>
              <a:gd name="connsiteY63" fmla="*/ 3732633 h 3816780"/>
              <a:gd name="connsiteX64" fmla="*/ 2266600 w 2772385"/>
              <a:gd name="connsiteY64" fmla="*/ 3637266 h 3816780"/>
              <a:gd name="connsiteX65" fmla="*/ 2423675 w 2772385"/>
              <a:gd name="connsiteY65" fmla="*/ 3564338 h 3816780"/>
              <a:gd name="connsiteX66" fmla="*/ 2429284 w 2772385"/>
              <a:gd name="connsiteY66" fmla="*/ 3384824 h 3816780"/>
              <a:gd name="connsiteX67" fmla="*/ 1907572 w 2772385"/>
              <a:gd name="connsiteY67" fmla="*/ 3345556 h 3816780"/>
              <a:gd name="connsiteX68" fmla="*/ 1913181 w 2772385"/>
              <a:gd name="connsiteY68" fmla="*/ 3031406 h 3816780"/>
              <a:gd name="connsiteX69" fmla="*/ 1907571 w 2772385"/>
              <a:gd name="connsiteY69" fmla="*/ 3014576 h 3816780"/>
              <a:gd name="connsiteX70" fmla="*/ 1901962 w 2772385"/>
              <a:gd name="connsiteY70" fmla="*/ 2835062 h 3816780"/>
              <a:gd name="connsiteX71" fmla="*/ 1857083 w 2772385"/>
              <a:gd name="connsiteY71" fmla="*/ 2773354 h 3816780"/>
              <a:gd name="connsiteX72" fmla="*/ 2047817 w 2772385"/>
              <a:gd name="connsiteY72" fmla="*/ 2717256 h 3816780"/>
              <a:gd name="connsiteX73" fmla="*/ 2081476 w 2772385"/>
              <a:gd name="connsiteY73" fmla="*/ 2610669 h 3816780"/>
              <a:gd name="connsiteX74" fmla="*/ 2367576 w 2772385"/>
              <a:gd name="connsiteY74" fmla="*/ 2621889 h 3816780"/>
              <a:gd name="connsiteX75" fmla="*/ 2591969 w 2772385"/>
              <a:gd name="connsiteY75" fmla="*/ 2032858 h 3816780"/>
              <a:gd name="connsiteX76" fmla="*/ 2547090 w 2772385"/>
              <a:gd name="connsiteY76" fmla="*/ 1948711 h 3816780"/>
              <a:gd name="connsiteX77" fmla="*/ 2648067 w 2772385"/>
              <a:gd name="connsiteY77" fmla="*/ 1432608 h 3816780"/>
              <a:gd name="connsiteX78" fmla="*/ 2636848 w 2772385"/>
              <a:gd name="connsiteY78" fmla="*/ 1354071 h 3816780"/>
              <a:gd name="connsiteX79" fmla="*/ 2479772 w 2772385"/>
              <a:gd name="connsiteY79" fmla="*/ 798699 h 3816780"/>
              <a:gd name="connsiteX80" fmla="*/ 2737825 w 2772385"/>
              <a:gd name="connsiteY80" fmla="*/ 675283 h 3816780"/>
              <a:gd name="connsiteX81" fmla="*/ 2709775 w 2772385"/>
              <a:gd name="connsiteY81" fmla="*/ 434061 h 3816780"/>
              <a:gd name="connsiteX82" fmla="*/ 2625628 w 2772385"/>
              <a:gd name="connsiteY82" fmla="*/ 86253 h 3816780"/>
              <a:gd name="connsiteX0" fmla="*/ 2625628 w 2772385"/>
              <a:gd name="connsiteY0" fmla="*/ 86253 h 3816780"/>
              <a:gd name="connsiteX1" fmla="*/ 2429284 w 2772385"/>
              <a:gd name="connsiteY1" fmla="*/ 2105 h 3816780"/>
              <a:gd name="connsiteX2" fmla="*/ 2188062 w 2772385"/>
              <a:gd name="connsiteY2" fmla="*/ 159180 h 3816780"/>
              <a:gd name="connsiteX3" fmla="*/ 2087086 w 2772385"/>
              <a:gd name="connsiteY3" fmla="*/ 198449 h 3816780"/>
              <a:gd name="connsiteX4" fmla="*/ 2137574 w 2772385"/>
              <a:gd name="connsiteY4" fmla="*/ 288206 h 3816780"/>
              <a:gd name="connsiteX5" fmla="*/ 2025378 w 2772385"/>
              <a:gd name="connsiteY5" fmla="*/ 450890 h 3816780"/>
              <a:gd name="connsiteX6" fmla="*/ 2131966 w 2772385"/>
              <a:gd name="connsiteY6" fmla="*/ 585526 h 3816780"/>
              <a:gd name="connsiteX7" fmla="*/ 2154403 w 2772385"/>
              <a:gd name="connsiteY7" fmla="*/ 708942 h 3816780"/>
              <a:gd name="connsiteX8" fmla="*/ 2025378 w 2772385"/>
              <a:gd name="connsiteY8" fmla="*/ 753820 h 3816780"/>
              <a:gd name="connsiteX9" fmla="*/ 1991719 w 2772385"/>
              <a:gd name="connsiteY9" fmla="*/ 821138 h 3816780"/>
              <a:gd name="connsiteX10" fmla="*/ 1991719 w 2772385"/>
              <a:gd name="connsiteY10" fmla="*/ 708942 h 3816780"/>
              <a:gd name="connsiteX11" fmla="*/ 1941230 w 2772385"/>
              <a:gd name="connsiteY11" fmla="*/ 669673 h 3816780"/>
              <a:gd name="connsiteX12" fmla="*/ 1778546 w 2772385"/>
              <a:gd name="connsiteY12" fmla="*/ 770649 h 3816780"/>
              <a:gd name="connsiteX13" fmla="*/ 1397078 w 2772385"/>
              <a:gd name="connsiteY13" fmla="*/ 579916 h 3816780"/>
              <a:gd name="connsiteX14" fmla="*/ 1660739 w 2772385"/>
              <a:gd name="connsiteY14" fmla="*/ 1129678 h 3816780"/>
              <a:gd name="connsiteX15" fmla="*/ 1795375 w 2772385"/>
              <a:gd name="connsiteY15" fmla="*/ 1225045 h 3816780"/>
              <a:gd name="connsiteX16" fmla="*/ 1643910 w 2772385"/>
              <a:gd name="connsiteY16" fmla="*/ 1449437 h 3816780"/>
              <a:gd name="connsiteX17" fmla="*/ 1722448 w 2772385"/>
              <a:gd name="connsiteY17" fmla="*/ 1668220 h 3816780"/>
              <a:gd name="connsiteX18" fmla="*/ 1812205 w 2772385"/>
              <a:gd name="connsiteY18" fmla="*/ 1662611 h 3816780"/>
              <a:gd name="connsiteX19" fmla="*/ 1621470 w 2772385"/>
              <a:gd name="connsiteY19" fmla="*/ 1858954 h 3816780"/>
              <a:gd name="connsiteX20" fmla="*/ 909024 w 2772385"/>
              <a:gd name="connsiteY20" fmla="*/ 1578463 h 3816780"/>
              <a:gd name="connsiteX21" fmla="*/ 454629 w 2772385"/>
              <a:gd name="connsiteY21" fmla="*/ 2605060 h 3816780"/>
              <a:gd name="connsiteX22" fmla="*/ 258286 w 2772385"/>
              <a:gd name="connsiteY22" fmla="*/ 2812623 h 3816780"/>
              <a:gd name="connsiteX23" fmla="*/ 39503 w 2772385"/>
              <a:gd name="connsiteY23" fmla="*/ 2857501 h 3816780"/>
              <a:gd name="connsiteX24" fmla="*/ 28282 w 2772385"/>
              <a:gd name="connsiteY24" fmla="*/ 2975307 h 3816780"/>
              <a:gd name="connsiteX25" fmla="*/ 258285 w 2772385"/>
              <a:gd name="connsiteY25" fmla="*/ 3087504 h 3816780"/>
              <a:gd name="connsiteX26" fmla="*/ 527559 w 2772385"/>
              <a:gd name="connsiteY26" fmla="*/ 2986527 h 3816780"/>
              <a:gd name="connsiteX27" fmla="*/ 488288 w 2772385"/>
              <a:gd name="connsiteY27" fmla="*/ 3154821 h 3816780"/>
              <a:gd name="connsiteX28" fmla="*/ 561215 w 2772385"/>
              <a:gd name="connsiteY28" fmla="*/ 3194090 h 3816780"/>
              <a:gd name="connsiteX29" fmla="*/ 381702 w 2772385"/>
              <a:gd name="connsiteY29" fmla="*/ 3592387 h 3816780"/>
              <a:gd name="connsiteX30" fmla="*/ 213408 w 2772385"/>
              <a:gd name="connsiteY30" fmla="*/ 3698973 h 3816780"/>
              <a:gd name="connsiteX31" fmla="*/ 280726 w 2772385"/>
              <a:gd name="connsiteY31" fmla="*/ 3811169 h 3816780"/>
              <a:gd name="connsiteX32" fmla="*/ 477068 w 2772385"/>
              <a:gd name="connsiteY32" fmla="*/ 3771902 h 3816780"/>
              <a:gd name="connsiteX33" fmla="*/ 622923 w 2772385"/>
              <a:gd name="connsiteY33" fmla="*/ 3547509 h 3816780"/>
              <a:gd name="connsiteX34" fmla="*/ 662193 w 2772385"/>
              <a:gd name="connsiteY34" fmla="*/ 3743852 h 3816780"/>
              <a:gd name="connsiteX35" fmla="*/ 735121 w 2772385"/>
              <a:gd name="connsiteY35" fmla="*/ 3732634 h 3816780"/>
              <a:gd name="connsiteX36" fmla="*/ 774389 w 2772385"/>
              <a:gd name="connsiteY36" fmla="*/ 3474581 h 3816780"/>
              <a:gd name="connsiteX37" fmla="*/ 695851 w 2772385"/>
              <a:gd name="connsiteY37" fmla="*/ 3238969 h 3816780"/>
              <a:gd name="connsiteX38" fmla="*/ 897805 w 2772385"/>
              <a:gd name="connsiteY38" fmla="*/ 2627499 h 3816780"/>
              <a:gd name="connsiteX39" fmla="*/ 1161466 w 2772385"/>
              <a:gd name="connsiteY39" fmla="*/ 2520912 h 3816780"/>
              <a:gd name="connsiteX40" fmla="*/ 1492445 w 2772385"/>
              <a:gd name="connsiteY40" fmla="*/ 2638718 h 3816780"/>
              <a:gd name="connsiteX41" fmla="*/ 1587812 w 2772385"/>
              <a:gd name="connsiteY41" fmla="*/ 2627499 h 3816780"/>
              <a:gd name="connsiteX42" fmla="*/ 1643910 w 2772385"/>
              <a:gd name="connsiteY42" fmla="*/ 2728476 h 3816780"/>
              <a:gd name="connsiteX43" fmla="*/ 1795375 w 2772385"/>
              <a:gd name="connsiteY43" fmla="*/ 2762134 h 3816780"/>
              <a:gd name="connsiteX44" fmla="*/ 1795375 w 2772385"/>
              <a:gd name="connsiteY44" fmla="*/ 2812623 h 3816780"/>
              <a:gd name="connsiteX45" fmla="*/ 1750497 w 2772385"/>
              <a:gd name="connsiteY45" fmla="*/ 3008967 h 3816780"/>
              <a:gd name="connsiteX46" fmla="*/ 1711228 w 2772385"/>
              <a:gd name="connsiteY46" fmla="*/ 3328726 h 3816780"/>
              <a:gd name="connsiteX47" fmla="*/ 1200735 w 2772385"/>
              <a:gd name="connsiteY47" fmla="*/ 3396044 h 3816780"/>
              <a:gd name="connsiteX48" fmla="*/ 1172686 w 2772385"/>
              <a:gd name="connsiteY48" fmla="*/ 3468971 h 3816780"/>
              <a:gd name="connsiteX49" fmla="*/ 1110978 w 2772385"/>
              <a:gd name="connsiteY49" fmla="*/ 3497020 h 3816780"/>
              <a:gd name="connsiteX50" fmla="*/ 1139027 w 2772385"/>
              <a:gd name="connsiteY50" fmla="*/ 3631656 h 3816780"/>
              <a:gd name="connsiteX51" fmla="*/ 1279272 w 2772385"/>
              <a:gd name="connsiteY51" fmla="*/ 3637266 h 3816780"/>
              <a:gd name="connsiteX52" fmla="*/ 1273662 w 2772385"/>
              <a:gd name="connsiteY52" fmla="*/ 3485801 h 3816780"/>
              <a:gd name="connsiteX53" fmla="*/ 1453176 w 2772385"/>
              <a:gd name="connsiteY53" fmla="*/ 3497020 h 3816780"/>
              <a:gd name="connsiteX54" fmla="*/ 1425127 w 2772385"/>
              <a:gd name="connsiteY54" fmla="*/ 3575558 h 3816780"/>
              <a:gd name="connsiteX55" fmla="*/ 1397078 w 2772385"/>
              <a:gd name="connsiteY55" fmla="*/ 3637266 h 3816780"/>
              <a:gd name="connsiteX56" fmla="*/ 1340980 w 2772385"/>
              <a:gd name="connsiteY56" fmla="*/ 3704584 h 3816780"/>
              <a:gd name="connsiteX57" fmla="*/ 1453177 w 2772385"/>
              <a:gd name="connsiteY57" fmla="*/ 3799951 h 3816780"/>
              <a:gd name="connsiteX58" fmla="*/ 1514884 w 2772385"/>
              <a:gd name="connsiteY58" fmla="*/ 3642876 h 3816780"/>
              <a:gd name="connsiteX59" fmla="*/ 1817814 w 2772385"/>
              <a:gd name="connsiteY59" fmla="*/ 3541899 h 3816780"/>
              <a:gd name="connsiteX60" fmla="*/ 2154403 w 2772385"/>
              <a:gd name="connsiteY60" fmla="*/ 3614826 h 3816780"/>
              <a:gd name="connsiteX61" fmla="*/ 2109525 w 2772385"/>
              <a:gd name="connsiteY61" fmla="*/ 3715803 h 3816780"/>
              <a:gd name="connsiteX62" fmla="*/ 2193672 w 2772385"/>
              <a:gd name="connsiteY62" fmla="*/ 3816780 h 3816780"/>
              <a:gd name="connsiteX63" fmla="*/ 2277819 w 2772385"/>
              <a:gd name="connsiteY63" fmla="*/ 3732633 h 3816780"/>
              <a:gd name="connsiteX64" fmla="*/ 2266600 w 2772385"/>
              <a:gd name="connsiteY64" fmla="*/ 3637266 h 3816780"/>
              <a:gd name="connsiteX65" fmla="*/ 2423675 w 2772385"/>
              <a:gd name="connsiteY65" fmla="*/ 3564338 h 3816780"/>
              <a:gd name="connsiteX66" fmla="*/ 2429284 w 2772385"/>
              <a:gd name="connsiteY66" fmla="*/ 3384824 h 3816780"/>
              <a:gd name="connsiteX67" fmla="*/ 1907572 w 2772385"/>
              <a:gd name="connsiteY67" fmla="*/ 3345556 h 3816780"/>
              <a:gd name="connsiteX68" fmla="*/ 1913181 w 2772385"/>
              <a:gd name="connsiteY68" fmla="*/ 3031406 h 3816780"/>
              <a:gd name="connsiteX69" fmla="*/ 1907571 w 2772385"/>
              <a:gd name="connsiteY69" fmla="*/ 3014576 h 3816780"/>
              <a:gd name="connsiteX70" fmla="*/ 1901962 w 2772385"/>
              <a:gd name="connsiteY70" fmla="*/ 2835062 h 3816780"/>
              <a:gd name="connsiteX71" fmla="*/ 1857083 w 2772385"/>
              <a:gd name="connsiteY71" fmla="*/ 2773354 h 3816780"/>
              <a:gd name="connsiteX72" fmla="*/ 2047817 w 2772385"/>
              <a:gd name="connsiteY72" fmla="*/ 2717256 h 3816780"/>
              <a:gd name="connsiteX73" fmla="*/ 2081476 w 2772385"/>
              <a:gd name="connsiteY73" fmla="*/ 2610669 h 3816780"/>
              <a:gd name="connsiteX74" fmla="*/ 2367576 w 2772385"/>
              <a:gd name="connsiteY74" fmla="*/ 2621889 h 3816780"/>
              <a:gd name="connsiteX75" fmla="*/ 2591969 w 2772385"/>
              <a:gd name="connsiteY75" fmla="*/ 2032858 h 3816780"/>
              <a:gd name="connsiteX76" fmla="*/ 2547090 w 2772385"/>
              <a:gd name="connsiteY76" fmla="*/ 1948711 h 3816780"/>
              <a:gd name="connsiteX77" fmla="*/ 2648067 w 2772385"/>
              <a:gd name="connsiteY77" fmla="*/ 1432608 h 3816780"/>
              <a:gd name="connsiteX78" fmla="*/ 2636848 w 2772385"/>
              <a:gd name="connsiteY78" fmla="*/ 1354071 h 3816780"/>
              <a:gd name="connsiteX79" fmla="*/ 2479772 w 2772385"/>
              <a:gd name="connsiteY79" fmla="*/ 798699 h 3816780"/>
              <a:gd name="connsiteX80" fmla="*/ 2737825 w 2772385"/>
              <a:gd name="connsiteY80" fmla="*/ 675283 h 3816780"/>
              <a:gd name="connsiteX81" fmla="*/ 2709775 w 2772385"/>
              <a:gd name="connsiteY81" fmla="*/ 434061 h 3816780"/>
              <a:gd name="connsiteX82" fmla="*/ 2625628 w 2772385"/>
              <a:gd name="connsiteY82" fmla="*/ 86253 h 3816780"/>
              <a:gd name="connsiteX0" fmla="*/ 2625628 w 2772385"/>
              <a:gd name="connsiteY0" fmla="*/ 86253 h 3816780"/>
              <a:gd name="connsiteX1" fmla="*/ 2429284 w 2772385"/>
              <a:gd name="connsiteY1" fmla="*/ 2105 h 3816780"/>
              <a:gd name="connsiteX2" fmla="*/ 2188062 w 2772385"/>
              <a:gd name="connsiteY2" fmla="*/ 159180 h 3816780"/>
              <a:gd name="connsiteX3" fmla="*/ 2087086 w 2772385"/>
              <a:gd name="connsiteY3" fmla="*/ 198449 h 3816780"/>
              <a:gd name="connsiteX4" fmla="*/ 2137574 w 2772385"/>
              <a:gd name="connsiteY4" fmla="*/ 288206 h 3816780"/>
              <a:gd name="connsiteX5" fmla="*/ 2025378 w 2772385"/>
              <a:gd name="connsiteY5" fmla="*/ 450890 h 3816780"/>
              <a:gd name="connsiteX6" fmla="*/ 2131966 w 2772385"/>
              <a:gd name="connsiteY6" fmla="*/ 585526 h 3816780"/>
              <a:gd name="connsiteX7" fmla="*/ 2154403 w 2772385"/>
              <a:gd name="connsiteY7" fmla="*/ 708942 h 3816780"/>
              <a:gd name="connsiteX8" fmla="*/ 2025378 w 2772385"/>
              <a:gd name="connsiteY8" fmla="*/ 753820 h 3816780"/>
              <a:gd name="connsiteX9" fmla="*/ 1991719 w 2772385"/>
              <a:gd name="connsiteY9" fmla="*/ 821138 h 3816780"/>
              <a:gd name="connsiteX10" fmla="*/ 1991719 w 2772385"/>
              <a:gd name="connsiteY10" fmla="*/ 708942 h 3816780"/>
              <a:gd name="connsiteX11" fmla="*/ 1941230 w 2772385"/>
              <a:gd name="connsiteY11" fmla="*/ 669673 h 3816780"/>
              <a:gd name="connsiteX12" fmla="*/ 1778546 w 2772385"/>
              <a:gd name="connsiteY12" fmla="*/ 770649 h 3816780"/>
              <a:gd name="connsiteX13" fmla="*/ 1397078 w 2772385"/>
              <a:gd name="connsiteY13" fmla="*/ 579916 h 3816780"/>
              <a:gd name="connsiteX14" fmla="*/ 1660739 w 2772385"/>
              <a:gd name="connsiteY14" fmla="*/ 1129678 h 3816780"/>
              <a:gd name="connsiteX15" fmla="*/ 1795375 w 2772385"/>
              <a:gd name="connsiteY15" fmla="*/ 1225045 h 3816780"/>
              <a:gd name="connsiteX16" fmla="*/ 1643910 w 2772385"/>
              <a:gd name="connsiteY16" fmla="*/ 1449437 h 3816780"/>
              <a:gd name="connsiteX17" fmla="*/ 1722448 w 2772385"/>
              <a:gd name="connsiteY17" fmla="*/ 1668220 h 3816780"/>
              <a:gd name="connsiteX18" fmla="*/ 1812205 w 2772385"/>
              <a:gd name="connsiteY18" fmla="*/ 1662611 h 3816780"/>
              <a:gd name="connsiteX19" fmla="*/ 1621470 w 2772385"/>
              <a:gd name="connsiteY19" fmla="*/ 1858954 h 3816780"/>
              <a:gd name="connsiteX20" fmla="*/ 909024 w 2772385"/>
              <a:gd name="connsiteY20" fmla="*/ 1578463 h 3816780"/>
              <a:gd name="connsiteX21" fmla="*/ 454629 w 2772385"/>
              <a:gd name="connsiteY21" fmla="*/ 2605060 h 3816780"/>
              <a:gd name="connsiteX22" fmla="*/ 258286 w 2772385"/>
              <a:gd name="connsiteY22" fmla="*/ 2812623 h 3816780"/>
              <a:gd name="connsiteX23" fmla="*/ 39503 w 2772385"/>
              <a:gd name="connsiteY23" fmla="*/ 2857501 h 3816780"/>
              <a:gd name="connsiteX24" fmla="*/ 28282 w 2772385"/>
              <a:gd name="connsiteY24" fmla="*/ 2975307 h 3816780"/>
              <a:gd name="connsiteX25" fmla="*/ 258285 w 2772385"/>
              <a:gd name="connsiteY25" fmla="*/ 3087504 h 3816780"/>
              <a:gd name="connsiteX26" fmla="*/ 527559 w 2772385"/>
              <a:gd name="connsiteY26" fmla="*/ 2986527 h 3816780"/>
              <a:gd name="connsiteX27" fmla="*/ 488288 w 2772385"/>
              <a:gd name="connsiteY27" fmla="*/ 3154821 h 3816780"/>
              <a:gd name="connsiteX28" fmla="*/ 561215 w 2772385"/>
              <a:gd name="connsiteY28" fmla="*/ 3194090 h 3816780"/>
              <a:gd name="connsiteX29" fmla="*/ 381702 w 2772385"/>
              <a:gd name="connsiteY29" fmla="*/ 3592387 h 3816780"/>
              <a:gd name="connsiteX30" fmla="*/ 213408 w 2772385"/>
              <a:gd name="connsiteY30" fmla="*/ 3698973 h 3816780"/>
              <a:gd name="connsiteX31" fmla="*/ 280726 w 2772385"/>
              <a:gd name="connsiteY31" fmla="*/ 3811169 h 3816780"/>
              <a:gd name="connsiteX32" fmla="*/ 477068 w 2772385"/>
              <a:gd name="connsiteY32" fmla="*/ 3771902 h 3816780"/>
              <a:gd name="connsiteX33" fmla="*/ 622923 w 2772385"/>
              <a:gd name="connsiteY33" fmla="*/ 3547509 h 3816780"/>
              <a:gd name="connsiteX34" fmla="*/ 662193 w 2772385"/>
              <a:gd name="connsiteY34" fmla="*/ 3743852 h 3816780"/>
              <a:gd name="connsiteX35" fmla="*/ 735121 w 2772385"/>
              <a:gd name="connsiteY35" fmla="*/ 3732634 h 3816780"/>
              <a:gd name="connsiteX36" fmla="*/ 774389 w 2772385"/>
              <a:gd name="connsiteY36" fmla="*/ 3474581 h 3816780"/>
              <a:gd name="connsiteX37" fmla="*/ 695851 w 2772385"/>
              <a:gd name="connsiteY37" fmla="*/ 3238969 h 3816780"/>
              <a:gd name="connsiteX38" fmla="*/ 897805 w 2772385"/>
              <a:gd name="connsiteY38" fmla="*/ 2627499 h 3816780"/>
              <a:gd name="connsiteX39" fmla="*/ 1161466 w 2772385"/>
              <a:gd name="connsiteY39" fmla="*/ 2520912 h 3816780"/>
              <a:gd name="connsiteX40" fmla="*/ 1492445 w 2772385"/>
              <a:gd name="connsiteY40" fmla="*/ 2638718 h 3816780"/>
              <a:gd name="connsiteX41" fmla="*/ 1587812 w 2772385"/>
              <a:gd name="connsiteY41" fmla="*/ 2627499 h 3816780"/>
              <a:gd name="connsiteX42" fmla="*/ 1643910 w 2772385"/>
              <a:gd name="connsiteY42" fmla="*/ 2728476 h 3816780"/>
              <a:gd name="connsiteX43" fmla="*/ 1795375 w 2772385"/>
              <a:gd name="connsiteY43" fmla="*/ 2762134 h 3816780"/>
              <a:gd name="connsiteX44" fmla="*/ 1795375 w 2772385"/>
              <a:gd name="connsiteY44" fmla="*/ 2812623 h 3816780"/>
              <a:gd name="connsiteX45" fmla="*/ 1750497 w 2772385"/>
              <a:gd name="connsiteY45" fmla="*/ 3008967 h 3816780"/>
              <a:gd name="connsiteX46" fmla="*/ 1711228 w 2772385"/>
              <a:gd name="connsiteY46" fmla="*/ 3328726 h 3816780"/>
              <a:gd name="connsiteX47" fmla="*/ 1200735 w 2772385"/>
              <a:gd name="connsiteY47" fmla="*/ 3396044 h 3816780"/>
              <a:gd name="connsiteX48" fmla="*/ 1172686 w 2772385"/>
              <a:gd name="connsiteY48" fmla="*/ 3468971 h 3816780"/>
              <a:gd name="connsiteX49" fmla="*/ 1110978 w 2772385"/>
              <a:gd name="connsiteY49" fmla="*/ 3497020 h 3816780"/>
              <a:gd name="connsiteX50" fmla="*/ 1139027 w 2772385"/>
              <a:gd name="connsiteY50" fmla="*/ 3631656 h 3816780"/>
              <a:gd name="connsiteX51" fmla="*/ 1279272 w 2772385"/>
              <a:gd name="connsiteY51" fmla="*/ 3637266 h 3816780"/>
              <a:gd name="connsiteX52" fmla="*/ 1273662 w 2772385"/>
              <a:gd name="connsiteY52" fmla="*/ 3485801 h 3816780"/>
              <a:gd name="connsiteX53" fmla="*/ 1453176 w 2772385"/>
              <a:gd name="connsiteY53" fmla="*/ 3497020 h 3816780"/>
              <a:gd name="connsiteX54" fmla="*/ 1425127 w 2772385"/>
              <a:gd name="connsiteY54" fmla="*/ 3575558 h 3816780"/>
              <a:gd name="connsiteX55" fmla="*/ 1397078 w 2772385"/>
              <a:gd name="connsiteY55" fmla="*/ 3637266 h 3816780"/>
              <a:gd name="connsiteX56" fmla="*/ 1340980 w 2772385"/>
              <a:gd name="connsiteY56" fmla="*/ 3704584 h 3816780"/>
              <a:gd name="connsiteX57" fmla="*/ 1453177 w 2772385"/>
              <a:gd name="connsiteY57" fmla="*/ 3799951 h 3816780"/>
              <a:gd name="connsiteX58" fmla="*/ 1514884 w 2772385"/>
              <a:gd name="connsiteY58" fmla="*/ 3642876 h 3816780"/>
              <a:gd name="connsiteX59" fmla="*/ 1817814 w 2772385"/>
              <a:gd name="connsiteY59" fmla="*/ 3541899 h 3816780"/>
              <a:gd name="connsiteX60" fmla="*/ 2154403 w 2772385"/>
              <a:gd name="connsiteY60" fmla="*/ 3614826 h 3816780"/>
              <a:gd name="connsiteX61" fmla="*/ 2109525 w 2772385"/>
              <a:gd name="connsiteY61" fmla="*/ 3715803 h 3816780"/>
              <a:gd name="connsiteX62" fmla="*/ 2193672 w 2772385"/>
              <a:gd name="connsiteY62" fmla="*/ 3816780 h 3816780"/>
              <a:gd name="connsiteX63" fmla="*/ 2277819 w 2772385"/>
              <a:gd name="connsiteY63" fmla="*/ 3732633 h 3816780"/>
              <a:gd name="connsiteX64" fmla="*/ 2266600 w 2772385"/>
              <a:gd name="connsiteY64" fmla="*/ 3637266 h 3816780"/>
              <a:gd name="connsiteX65" fmla="*/ 2423675 w 2772385"/>
              <a:gd name="connsiteY65" fmla="*/ 3564338 h 3816780"/>
              <a:gd name="connsiteX66" fmla="*/ 2429284 w 2772385"/>
              <a:gd name="connsiteY66" fmla="*/ 3384824 h 3816780"/>
              <a:gd name="connsiteX67" fmla="*/ 1907572 w 2772385"/>
              <a:gd name="connsiteY67" fmla="*/ 3345556 h 3816780"/>
              <a:gd name="connsiteX68" fmla="*/ 1913181 w 2772385"/>
              <a:gd name="connsiteY68" fmla="*/ 3031406 h 3816780"/>
              <a:gd name="connsiteX69" fmla="*/ 1907571 w 2772385"/>
              <a:gd name="connsiteY69" fmla="*/ 3014576 h 3816780"/>
              <a:gd name="connsiteX70" fmla="*/ 1901962 w 2772385"/>
              <a:gd name="connsiteY70" fmla="*/ 2835062 h 3816780"/>
              <a:gd name="connsiteX71" fmla="*/ 1857083 w 2772385"/>
              <a:gd name="connsiteY71" fmla="*/ 2773354 h 3816780"/>
              <a:gd name="connsiteX72" fmla="*/ 2047817 w 2772385"/>
              <a:gd name="connsiteY72" fmla="*/ 2717256 h 3816780"/>
              <a:gd name="connsiteX73" fmla="*/ 2081476 w 2772385"/>
              <a:gd name="connsiteY73" fmla="*/ 2610669 h 3816780"/>
              <a:gd name="connsiteX74" fmla="*/ 2367576 w 2772385"/>
              <a:gd name="connsiteY74" fmla="*/ 2621889 h 3816780"/>
              <a:gd name="connsiteX75" fmla="*/ 2591969 w 2772385"/>
              <a:gd name="connsiteY75" fmla="*/ 2032858 h 3816780"/>
              <a:gd name="connsiteX76" fmla="*/ 2547090 w 2772385"/>
              <a:gd name="connsiteY76" fmla="*/ 1948711 h 3816780"/>
              <a:gd name="connsiteX77" fmla="*/ 2648067 w 2772385"/>
              <a:gd name="connsiteY77" fmla="*/ 1432608 h 3816780"/>
              <a:gd name="connsiteX78" fmla="*/ 2620019 w 2772385"/>
              <a:gd name="connsiteY78" fmla="*/ 1337242 h 3816780"/>
              <a:gd name="connsiteX79" fmla="*/ 2479772 w 2772385"/>
              <a:gd name="connsiteY79" fmla="*/ 798699 h 3816780"/>
              <a:gd name="connsiteX80" fmla="*/ 2737825 w 2772385"/>
              <a:gd name="connsiteY80" fmla="*/ 675283 h 3816780"/>
              <a:gd name="connsiteX81" fmla="*/ 2709775 w 2772385"/>
              <a:gd name="connsiteY81" fmla="*/ 434061 h 3816780"/>
              <a:gd name="connsiteX82" fmla="*/ 2625628 w 2772385"/>
              <a:gd name="connsiteY82" fmla="*/ 86253 h 3816780"/>
              <a:gd name="connsiteX0" fmla="*/ 2625628 w 2772385"/>
              <a:gd name="connsiteY0" fmla="*/ 86253 h 3816780"/>
              <a:gd name="connsiteX1" fmla="*/ 2429284 w 2772385"/>
              <a:gd name="connsiteY1" fmla="*/ 2105 h 3816780"/>
              <a:gd name="connsiteX2" fmla="*/ 2188062 w 2772385"/>
              <a:gd name="connsiteY2" fmla="*/ 159180 h 3816780"/>
              <a:gd name="connsiteX3" fmla="*/ 2087086 w 2772385"/>
              <a:gd name="connsiteY3" fmla="*/ 198449 h 3816780"/>
              <a:gd name="connsiteX4" fmla="*/ 2137574 w 2772385"/>
              <a:gd name="connsiteY4" fmla="*/ 288206 h 3816780"/>
              <a:gd name="connsiteX5" fmla="*/ 2025378 w 2772385"/>
              <a:gd name="connsiteY5" fmla="*/ 450890 h 3816780"/>
              <a:gd name="connsiteX6" fmla="*/ 2131966 w 2772385"/>
              <a:gd name="connsiteY6" fmla="*/ 585526 h 3816780"/>
              <a:gd name="connsiteX7" fmla="*/ 2154403 w 2772385"/>
              <a:gd name="connsiteY7" fmla="*/ 708942 h 3816780"/>
              <a:gd name="connsiteX8" fmla="*/ 2025378 w 2772385"/>
              <a:gd name="connsiteY8" fmla="*/ 753820 h 3816780"/>
              <a:gd name="connsiteX9" fmla="*/ 1991719 w 2772385"/>
              <a:gd name="connsiteY9" fmla="*/ 821138 h 3816780"/>
              <a:gd name="connsiteX10" fmla="*/ 1991719 w 2772385"/>
              <a:gd name="connsiteY10" fmla="*/ 708942 h 3816780"/>
              <a:gd name="connsiteX11" fmla="*/ 1941230 w 2772385"/>
              <a:gd name="connsiteY11" fmla="*/ 669673 h 3816780"/>
              <a:gd name="connsiteX12" fmla="*/ 1778546 w 2772385"/>
              <a:gd name="connsiteY12" fmla="*/ 770649 h 3816780"/>
              <a:gd name="connsiteX13" fmla="*/ 1397078 w 2772385"/>
              <a:gd name="connsiteY13" fmla="*/ 579916 h 3816780"/>
              <a:gd name="connsiteX14" fmla="*/ 1660739 w 2772385"/>
              <a:gd name="connsiteY14" fmla="*/ 1129678 h 3816780"/>
              <a:gd name="connsiteX15" fmla="*/ 1795375 w 2772385"/>
              <a:gd name="connsiteY15" fmla="*/ 1225045 h 3816780"/>
              <a:gd name="connsiteX16" fmla="*/ 1643910 w 2772385"/>
              <a:gd name="connsiteY16" fmla="*/ 1449437 h 3816780"/>
              <a:gd name="connsiteX17" fmla="*/ 1722448 w 2772385"/>
              <a:gd name="connsiteY17" fmla="*/ 1668220 h 3816780"/>
              <a:gd name="connsiteX18" fmla="*/ 1812205 w 2772385"/>
              <a:gd name="connsiteY18" fmla="*/ 1662611 h 3816780"/>
              <a:gd name="connsiteX19" fmla="*/ 1621470 w 2772385"/>
              <a:gd name="connsiteY19" fmla="*/ 1858954 h 3816780"/>
              <a:gd name="connsiteX20" fmla="*/ 909024 w 2772385"/>
              <a:gd name="connsiteY20" fmla="*/ 1578463 h 3816780"/>
              <a:gd name="connsiteX21" fmla="*/ 454629 w 2772385"/>
              <a:gd name="connsiteY21" fmla="*/ 2605060 h 3816780"/>
              <a:gd name="connsiteX22" fmla="*/ 258286 w 2772385"/>
              <a:gd name="connsiteY22" fmla="*/ 2812623 h 3816780"/>
              <a:gd name="connsiteX23" fmla="*/ 39503 w 2772385"/>
              <a:gd name="connsiteY23" fmla="*/ 2857501 h 3816780"/>
              <a:gd name="connsiteX24" fmla="*/ 28282 w 2772385"/>
              <a:gd name="connsiteY24" fmla="*/ 2975307 h 3816780"/>
              <a:gd name="connsiteX25" fmla="*/ 258285 w 2772385"/>
              <a:gd name="connsiteY25" fmla="*/ 3087504 h 3816780"/>
              <a:gd name="connsiteX26" fmla="*/ 527559 w 2772385"/>
              <a:gd name="connsiteY26" fmla="*/ 2986527 h 3816780"/>
              <a:gd name="connsiteX27" fmla="*/ 488288 w 2772385"/>
              <a:gd name="connsiteY27" fmla="*/ 3154821 h 3816780"/>
              <a:gd name="connsiteX28" fmla="*/ 561215 w 2772385"/>
              <a:gd name="connsiteY28" fmla="*/ 3194090 h 3816780"/>
              <a:gd name="connsiteX29" fmla="*/ 381702 w 2772385"/>
              <a:gd name="connsiteY29" fmla="*/ 3592387 h 3816780"/>
              <a:gd name="connsiteX30" fmla="*/ 213408 w 2772385"/>
              <a:gd name="connsiteY30" fmla="*/ 3698973 h 3816780"/>
              <a:gd name="connsiteX31" fmla="*/ 280726 w 2772385"/>
              <a:gd name="connsiteY31" fmla="*/ 3811169 h 3816780"/>
              <a:gd name="connsiteX32" fmla="*/ 477068 w 2772385"/>
              <a:gd name="connsiteY32" fmla="*/ 3771902 h 3816780"/>
              <a:gd name="connsiteX33" fmla="*/ 622923 w 2772385"/>
              <a:gd name="connsiteY33" fmla="*/ 3547509 h 3816780"/>
              <a:gd name="connsiteX34" fmla="*/ 662193 w 2772385"/>
              <a:gd name="connsiteY34" fmla="*/ 3743852 h 3816780"/>
              <a:gd name="connsiteX35" fmla="*/ 735121 w 2772385"/>
              <a:gd name="connsiteY35" fmla="*/ 3732634 h 3816780"/>
              <a:gd name="connsiteX36" fmla="*/ 774389 w 2772385"/>
              <a:gd name="connsiteY36" fmla="*/ 3474581 h 3816780"/>
              <a:gd name="connsiteX37" fmla="*/ 695851 w 2772385"/>
              <a:gd name="connsiteY37" fmla="*/ 3238969 h 3816780"/>
              <a:gd name="connsiteX38" fmla="*/ 897805 w 2772385"/>
              <a:gd name="connsiteY38" fmla="*/ 2627499 h 3816780"/>
              <a:gd name="connsiteX39" fmla="*/ 1161466 w 2772385"/>
              <a:gd name="connsiteY39" fmla="*/ 2520912 h 3816780"/>
              <a:gd name="connsiteX40" fmla="*/ 1492445 w 2772385"/>
              <a:gd name="connsiteY40" fmla="*/ 2638718 h 3816780"/>
              <a:gd name="connsiteX41" fmla="*/ 1587812 w 2772385"/>
              <a:gd name="connsiteY41" fmla="*/ 2627499 h 3816780"/>
              <a:gd name="connsiteX42" fmla="*/ 1643910 w 2772385"/>
              <a:gd name="connsiteY42" fmla="*/ 2728476 h 3816780"/>
              <a:gd name="connsiteX43" fmla="*/ 1795375 w 2772385"/>
              <a:gd name="connsiteY43" fmla="*/ 2762134 h 3816780"/>
              <a:gd name="connsiteX44" fmla="*/ 1795375 w 2772385"/>
              <a:gd name="connsiteY44" fmla="*/ 2812623 h 3816780"/>
              <a:gd name="connsiteX45" fmla="*/ 1750497 w 2772385"/>
              <a:gd name="connsiteY45" fmla="*/ 3008967 h 3816780"/>
              <a:gd name="connsiteX46" fmla="*/ 1711228 w 2772385"/>
              <a:gd name="connsiteY46" fmla="*/ 3328726 h 3816780"/>
              <a:gd name="connsiteX47" fmla="*/ 1200735 w 2772385"/>
              <a:gd name="connsiteY47" fmla="*/ 3396044 h 3816780"/>
              <a:gd name="connsiteX48" fmla="*/ 1172686 w 2772385"/>
              <a:gd name="connsiteY48" fmla="*/ 3468971 h 3816780"/>
              <a:gd name="connsiteX49" fmla="*/ 1110978 w 2772385"/>
              <a:gd name="connsiteY49" fmla="*/ 3497020 h 3816780"/>
              <a:gd name="connsiteX50" fmla="*/ 1139027 w 2772385"/>
              <a:gd name="connsiteY50" fmla="*/ 3631656 h 3816780"/>
              <a:gd name="connsiteX51" fmla="*/ 1279272 w 2772385"/>
              <a:gd name="connsiteY51" fmla="*/ 3637266 h 3816780"/>
              <a:gd name="connsiteX52" fmla="*/ 1273662 w 2772385"/>
              <a:gd name="connsiteY52" fmla="*/ 3485801 h 3816780"/>
              <a:gd name="connsiteX53" fmla="*/ 1453176 w 2772385"/>
              <a:gd name="connsiteY53" fmla="*/ 3497020 h 3816780"/>
              <a:gd name="connsiteX54" fmla="*/ 1425127 w 2772385"/>
              <a:gd name="connsiteY54" fmla="*/ 3575558 h 3816780"/>
              <a:gd name="connsiteX55" fmla="*/ 1397078 w 2772385"/>
              <a:gd name="connsiteY55" fmla="*/ 3637266 h 3816780"/>
              <a:gd name="connsiteX56" fmla="*/ 1340980 w 2772385"/>
              <a:gd name="connsiteY56" fmla="*/ 3704584 h 3816780"/>
              <a:gd name="connsiteX57" fmla="*/ 1453177 w 2772385"/>
              <a:gd name="connsiteY57" fmla="*/ 3799951 h 3816780"/>
              <a:gd name="connsiteX58" fmla="*/ 1514884 w 2772385"/>
              <a:gd name="connsiteY58" fmla="*/ 3642876 h 3816780"/>
              <a:gd name="connsiteX59" fmla="*/ 1817814 w 2772385"/>
              <a:gd name="connsiteY59" fmla="*/ 3541899 h 3816780"/>
              <a:gd name="connsiteX60" fmla="*/ 2154403 w 2772385"/>
              <a:gd name="connsiteY60" fmla="*/ 3614826 h 3816780"/>
              <a:gd name="connsiteX61" fmla="*/ 2109525 w 2772385"/>
              <a:gd name="connsiteY61" fmla="*/ 3715803 h 3816780"/>
              <a:gd name="connsiteX62" fmla="*/ 2193672 w 2772385"/>
              <a:gd name="connsiteY62" fmla="*/ 3816780 h 3816780"/>
              <a:gd name="connsiteX63" fmla="*/ 2277819 w 2772385"/>
              <a:gd name="connsiteY63" fmla="*/ 3732633 h 3816780"/>
              <a:gd name="connsiteX64" fmla="*/ 2266600 w 2772385"/>
              <a:gd name="connsiteY64" fmla="*/ 3637266 h 3816780"/>
              <a:gd name="connsiteX65" fmla="*/ 2423675 w 2772385"/>
              <a:gd name="connsiteY65" fmla="*/ 3564338 h 3816780"/>
              <a:gd name="connsiteX66" fmla="*/ 2429284 w 2772385"/>
              <a:gd name="connsiteY66" fmla="*/ 3384824 h 3816780"/>
              <a:gd name="connsiteX67" fmla="*/ 1907572 w 2772385"/>
              <a:gd name="connsiteY67" fmla="*/ 3345556 h 3816780"/>
              <a:gd name="connsiteX68" fmla="*/ 1913181 w 2772385"/>
              <a:gd name="connsiteY68" fmla="*/ 3031406 h 3816780"/>
              <a:gd name="connsiteX69" fmla="*/ 1907571 w 2772385"/>
              <a:gd name="connsiteY69" fmla="*/ 3014576 h 3816780"/>
              <a:gd name="connsiteX70" fmla="*/ 1901962 w 2772385"/>
              <a:gd name="connsiteY70" fmla="*/ 2835062 h 3816780"/>
              <a:gd name="connsiteX71" fmla="*/ 1857083 w 2772385"/>
              <a:gd name="connsiteY71" fmla="*/ 2773354 h 3816780"/>
              <a:gd name="connsiteX72" fmla="*/ 2047817 w 2772385"/>
              <a:gd name="connsiteY72" fmla="*/ 2717256 h 3816780"/>
              <a:gd name="connsiteX73" fmla="*/ 2081476 w 2772385"/>
              <a:gd name="connsiteY73" fmla="*/ 2610669 h 3816780"/>
              <a:gd name="connsiteX74" fmla="*/ 2367576 w 2772385"/>
              <a:gd name="connsiteY74" fmla="*/ 2621889 h 3816780"/>
              <a:gd name="connsiteX75" fmla="*/ 2591969 w 2772385"/>
              <a:gd name="connsiteY75" fmla="*/ 2032858 h 3816780"/>
              <a:gd name="connsiteX76" fmla="*/ 2547090 w 2772385"/>
              <a:gd name="connsiteY76" fmla="*/ 1948711 h 3816780"/>
              <a:gd name="connsiteX77" fmla="*/ 2648067 w 2772385"/>
              <a:gd name="connsiteY77" fmla="*/ 1432608 h 3816780"/>
              <a:gd name="connsiteX78" fmla="*/ 2580750 w 2772385"/>
              <a:gd name="connsiteY78" fmla="*/ 1337242 h 3816780"/>
              <a:gd name="connsiteX79" fmla="*/ 2479772 w 2772385"/>
              <a:gd name="connsiteY79" fmla="*/ 798699 h 3816780"/>
              <a:gd name="connsiteX80" fmla="*/ 2737825 w 2772385"/>
              <a:gd name="connsiteY80" fmla="*/ 675283 h 3816780"/>
              <a:gd name="connsiteX81" fmla="*/ 2709775 w 2772385"/>
              <a:gd name="connsiteY81" fmla="*/ 434061 h 3816780"/>
              <a:gd name="connsiteX82" fmla="*/ 2625628 w 2772385"/>
              <a:gd name="connsiteY82" fmla="*/ 86253 h 3816780"/>
              <a:gd name="connsiteX0" fmla="*/ 2625628 w 2772385"/>
              <a:gd name="connsiteY0" fmla="*/ 86253 h 3816780"/>
              <a:gd name="connsiteX1" fmla="*/ 2429284 w 2772385"/>
              <a:gd name="connsiteY1" fmla="*/ 2105 h 3816780"/>
              <a:gd name="connsiteX2" fmla="*/ 2188062 w 2772385"/>
              <a:gd name="connsiteY2" fmla="*/ 159180 h 3816780"/>
              <a:gd name="connsiteX3" fmla="*/ 2087086 w 2772385"/>
              <a:gd name="connsiteY3" fmla="*/ 198449 h 3816780"/>
              <a:gd name="connsiteX4" fmla="*/ 2137574 w 2772385"/>
              <a:gd name="connsiteY4" fmla="*/ 288206 h 3816780"/>
              <a:gd name="connsiteX5" fmla="*/ 2025378 w 2772385"/>
              <a:gd name="connsiteY5" fmla="*/ 450890 h 3816780"/>
              <a:gd name="connsiteX6" fmla="*/ 2131966 w 2772385"/>
              <a:gd name="connsiteY6" fmla="*/ 585526 h 3816780"/>
              <a:gd name="connsiteX7" fmla="*/ 2154403 w 2772385"/>
              <a:gd name="connsiteY7" fmla="*/ 708942 h 3816780"/>
              <a:gd name="connsiteX8" fmla="*/ 2025378 w 2772385"/>
              <a:gd name="connsiteY8" fmla="*/ 753820 h 3816780"/>
              <a:gd name="connsiteX9" fmla="*/ 1991719 w 2772385"/>
              <a:gd name="connsiteY9" fmla="*/ 821138 h 3816780"/>
              <a:gd name="connsiteX10" fmla="*/ 1991719 w 2772385"/>
              <a:gd name="connsiteY10" fmla="*/ 708942 h 3816780"/>
              <a:gd name="connsiteX11" fmla="*/ 1941230 w 2772385"/>
              <a:gd name="connsiteY11" fmla="*/ 669673 h 3816780"/>
              <a:gd name="connsiteX12" fmla="*/ 1778546 w 2772385"/>
              <a:gd name="connsiteY12" fmla="*/ 770649 h 3816780"/>
              <a:gd name="connsiteX13" fmla="*/ 1397078 w 2772385"/>
              <a:gd name="connsiteY13" fmla="*/ 579916 h 3816780"/>
              <a:gd name="connsiteX14" fmla="*/ 1660739 w 2772385"/>
              <a:gd name="connsiteY14" fmla="*/ 1129678 h 3816780"/>
              <a:gd name="connsiteX15" fmla="*/ 1795375 w 2772385"/>
              <a:gd name="connsiteY15" fmla="*/ 1225045 h 3816780"/>
              <a:gd name="connsiteX16" fmla="*/ 1643910 w 2772385"/>
              <a:gd name="connsiteY16" fmla="*/ 1449437 h 3816780"/>
              <a:gd name="connsiteX17" fmla="*/ 1722448 w 2772385"/>
              <a:gd name="connsiteY17" fmla="*/ 1668220 h 3816780"/>
              <a:gd name="connsiteX18" fmla="*/ 1812205 w 2772385"/>
              <a:gd name="connsiteY18" fmla="*/ 1662611 h 3816780"/>
              <a:gd name="connsiteX19" fmla="*/ 1621470 w 2772385"/>
              <a:gd name="connsiteY19" fmla="*/ 1858954 h 3816780"/>
              <a:gd name="connsiteX20" fmla="*/ 909024 w 2772385"/>
              <a:gd name="connsiteY20" fmla="*/ 1578463 h 3816780"/>
              <a:gd name="connsiteX21" fmla="*/ 454629 w 2772385"/>
              <a:gd name="connsiteY21" fmla="*/ 2605060 h 3816780"/>
              <a:gd name="connsiteX22" fmla="*/ 258286 w 2772385"/>
              <a:gd name="connsiteY22" fmla="*/ 2812623 h 3816780"/>
              <a:gd name="connsiteX23" fmla="*/ 39503 w 2772385"/>
              <a:gd name="connsiteY23" fmla="*/ 2857501 h 3816780"/>
              <a:gd name="connsiteX24" fmla="*/ 28282 w 2772385"/>
              <a:gd name="connsiteY24" fmla="*/ 2975307 h 3816780"/>
              <a:gd name="connsiteX25" fmla="*/ 258285 w 2772385"/>
              <a:gd name="connsiteY25" fmla="*/ 3087504 h 3816780"/>
              <a:gd name="connsiteX26" fmla="*/ 527559 w 2772385"/>
              <a:gd name="connsiteY26" fmla="*/ 2986527 h 3816780"/>
              <a:gd name="connsiteX27" fmla="*/ 488288 w 2772385"/>
              <a:gd name="connsiteY27" fmla="*/ 3154821 h 3816780"/>
              <a:gd name="connsiteX28" fmla="*/ 561215 w 2772385"/>
              <a:gd name="connsiteY28" fmla="*/ 3194090 h 3816780"/>
              <a:gd name="connsiteX29" fmla="*/ 381702 w 2772385"/>
              <a:gd name="connsiteY29" fmla="*/ 3592387 h 3816780"/>
              <a:gd name="connsiteX30" fmla="*/ 213408 w 2772385"/>
              <a:gd name="connsiteY30" fmla="*/ 3698973 h 3816780"/>
              <a:gd name="connsiteX31" fmla="*/ 280726 w 2772385"/>
              <a:gd name="connsiteY31" fmla="*/ 3811169 h 3816780"/>
              <a:gd name="connsiteX32" fmla="*/ 477068 w 2772385"/>
              <a:gd name="connsiteY32" fmla="*/ 3771902 h 3816780"/>
              <a:gd name="connsiteX33" fmla="*/ 622923 w 2772385"/>
              <a:gd name="connsiteY33" fmla="*/ 3547509 h 3816780"/>
              <a:gd name="connsiteX34" fmla="*/ 662193 w 2772385"/>
              <a:gd name="connsiteY34" fmla="*/ 3743852 h 3816780"/>
              <a:gd name="connsiteX35" fmla="*/ 735121 w 2772385"/>
              <a:gd name="connsiteY35" fmla="*/ 3732634 h 3816780"/>
              <a:gd name="connsiteX36" fmla="*/ 774389 w 2772385"/>
              <a:gd name="connsiteY36" fmla="*/ 3474581 h 3816780"/>
              <a:gd name="connsiteX37" fmla="*/ 695851 w 2772385"/>
              <a:gd name="connsiteY37" fmla="*/ 3238969 h 3816780"/>
              <a:gd name="connsiteX38" fmla="*/ 897805 w 2772385"/>
              <a:gd name="connsiteY38" fmla="*/ 2627499 h 3816780"/>
              <a:gd name="connsiteX39" fmla="*/ 1161466 w 2772385"/>
              <a:gd name="connsiteY39" fmla="*/ 2520912 h 3816780"/>
              <a:gd name="connsiteX40" fmla="*/ 1492445 w 2772385"/>
              <a:gd name="connsiteY40" fmla="*/ 2638718 h 3816780"/>
              <a:gd name="connsiteX41" fmla="*/ 1587812 w 2772385"/>
              <a:gd name="connsiteY41" fmla="*/ 2627499 h 3816780"/>
              <a:gd name="connsiteX42" fmla="*/ 1643910 w 2772385"/>
              <a:gd name="connsiteY42" fmla="*/ 2728476 h 3816780"/>
              <a:gd name="connsiteX43" fmla="*/ 1795375 w 2772385"/>
              <a:gd name="connsiteY43" fmla="*/ 2762134 h 3816780"/>
              <a:gd name="connsiteX44" fmla="*/ 1795375 w 2772385"/>
              <a:gd name="connsiteY44" fmla="*/ 2812623 h 3816780"/>
              <a:gd name="connsiteX45" fmla="*/ 1750497 w 2772385"/>
              <a:gd name="connsiteY45" fmla="*/ 3008967 h 3816780"/>
              <a:gd name="connsiteX46" fmla="*/ 1711228 w 2772385"/>
              <a:gd name="connsiteY46" fmla="*/ 3328726 h 3816780"/>
              <a:gd name="connsiteX47" fmla="*/ 1200735 w 2772385"/>
              <a:gd name="connsiteY47" fmla="*/ 3396044 h 3816780"/>
              <a:gd name="connsiteX48" fmla="*/ 1172686 w 2772385"/>
              <a:gd name="connsiteY48" fmla="*/ 3468971 h 3816780"/>
              <a:gd name="connsiteX49" fmla="*/ 1110978 w 2772385"/>
              <a:gd name="connsiteY49" fmla="*/ 3497020 h 3816780"/>
              <a:gd name="connsiteX50" fmla="*/ 1139027 w 2772385"/>
              <a:gd name="connsiteY50" fmla="*/ 3631656 h 3816780"/>
              <a:gd name="connsiteX51" fmla="*/ 1279272 w 2772385"/>
              <a:gd name="connsiteY51" fmla="*/ 3637266 h 3816780"/>
              <a:gd name="connsiteX52" fmla="*/ 1273662 w 2772385"/>
              <a:gd name="connsiteY52" fmla="*/ 3485801 h 3816780"/>
              <a:gd name="connsiteX53" fmla="*/ 1453176 w 2772385"/>
              <a:gd name="connsiteY53" fmla="*/ 3497020 h 3816780"/>
              <a:gd name="connsiteX54" fmla="*/ 1425127 w 2772385"/>
              <a:gd name="connsiteY54" fmla="*/ 3575558 h 3816780"/>
              <a:gd name="connsiteX55" fmla="*/ 1397078 w 2772385"/>
              <a:gd name="connsiteY55" fmla="*/ 3637266 h 3816780"/>
              <a:gd name="connsiteX56" fmla="*/ 1340980 w 2772385"/>
              <a:gd name="connsiteY56" fmla="*/ 3704584 h 3816780"/>
              <a:gd name="connsiteX57" fmla="*/ 1453177 w 2772385"/>
              <a:gd name="connsiteY57" fmla="*/ 3799951 h 3816780"/>
              <a:gd name="connsiteX58" fmla="*/ 1514884 w 2772385"/>
              <a:gd name="connsiteY58" fmla="*/ 3642876 h 3816780"/>
              <a:gd name="connsiteX59" fmla="*/ 1817814 w 2772385"/>
              <a:gd name="connsiteY59" fmla="*/ 3541899 h 3816780"/>
              <a:gd name="connsiteX60" fmla="*/ 2154403 w 2772385"/>
              <a:gd name="connsiteY60" fmla="*/ 3614826 h 3816780"/>
              <a:gd name="connsiteX61" fmla="*/ 2109525 w 2772385"/>
              <a:gd name="connsiteY61" fmla="*/ 3715803 h 3816780"/>
              <a:gd name="connsiteX62" fmla="*/ 2193672 w 2772385"/>
              <a:gd name="connsiteY62" fmla="*/ 3816780 h 3816780"/>
              <a:gd name="connsiteX63" fmla="*/ 2277819 w 2772385"/>
              <a:gd name="connsiteY63" fmla="*/ 3732633 h 3816780"/>
              <a:gd name="connsiteX64" fmla="*/ 2266600 w 2772385"/>
              <a:gd name="connsiteY64" fmla="*/ 3637266 h 3816780"/>
              <a:gd name="connsiteX65" fmla="*/ 2423675 w 2772385"/>
              <a:gd name="connsiteY65" fmla="*/ 3564338 h 3816780"/>
              <a:gd name="connsiteX66" fmla="*/ 2429284 w 2772385"/>
              <a:gd name="connsiteY66" fmla="*/ 3384824 h 3816780"/>
              <a:gd name="connsiteX67" fmla="*/ 1907572 w 2772385"/>
              <a:gd name="connsiteY67" fmla="*/ 3345556 h 3816780"/>
              <a:gd name="connsiteX68" fmla="*/ 1913181 w 2772385"/>
              <a:gd name="connsiteY68" fmla="*/ 3031406 h 3816780"/>
              <a:gd name="connsiteX69" fmla="*/ 1907571 w 2772385"/>
              <a:gd name="connsiteY69" fmla="*/ 3014576 h 3816780"/>
              <a:gd name="connsiteX70" fmla="*/ 1901962 w 2772385"/>
              <a:gd name="connsiteY70" fmla="*/ 2835062 h 3816780"/>
              <a:gd name="connsiteX71" fmla="*/ 1857083 w 2772385"/>
              <a:gd name="connsiteY71" fmla="*/ 2773354 h 3816780"/>
              <a:gd name="connsiteX72" fmla="*/ 2047817 w 2772385"/>
              <a:gd name="connsiteY72" fmla="*/ 2717256 h 3816780"/>
              <a:gd name="connsiteX73" fmla="*/ 2081476 w 2772385"/>
              <a:gd name="connsiteY73" fmla="*/ 2610669 h 3816780"/>
              <a:gd name="connsiteX74" fmla="*/ 2367576 w 2772385"/>
              <a:gd name="connsiteY74" fmla="*/ 2621889 h 3816780"/>
              <a:gd name="connsiteX75" fmla="*/ 2591969 w 2772385"/>
              <a:gd name="connsiteY75" fmla="*/ 2032858 h 3816780"/>
              <a:gd name="connsiteX76" fmla="*/ 2547090 w 2772385"/>
              <a:gd name="connsiteY76" fmla="*/ 1948711 h 3816780"/>
              <a:gd name="connsiteX77" fmla="*/ 2648067 w 2772385"/>
              <a:gd name="connsiteY77" fmla="*/ 1432608 h 3816780"/>
              <a:gd name="connsiteX78" fmla="*/ 2580750 w 2772385"/>
              <a:gd name="connsiteY78" fmla="*/ 1337242 h 3816780"/>
              <a:gd name="connsiteX79" fmla="*/ 2479772 w 2772385"/>
              <a:gd name="connsiteY79" fmla="*/ 798699 h 3816780"/>
              <a:gd name="connsiteX80" fmla="*/ 2737825 w 2772385"/>
              <a:gd name="connsiteY80" fmla="*/ 675283 h 3816780"/>
              <a:gd name="connsiteX81" fmla="*/ 2709775 w 2772385"/>
              <a:gd name="connsiteY81" fmla="*/ 434061 h 3816780"/>
              <a:gd name="connsiteX82" fmla="*/ 2625628 w 2772385"/>
              <a:gd name="connsiteY82" fmla="*/ 86253 h 3816780"/>
              <a:gd name="connsiteX0" fmla="*/ 2625628 w 2772385"/>
              <a:gd name="connsiteY0" fmla="*/ 86253 h 3816780"/>
              <a:gd name="connsiteX1" fmla="*/ 2429284 w 2772385"/>
              <a:gd name="connsiteY1" fmla="*/ 2105 h 3816780"/>
              <a:gd name="connsiteX2" fmla="*/ 2188062 w 2772385"/>
              <a:gd name="connsiteY2" fmla="*/ 159180 h 3816780"/>
              <a:gd name="connsiteX3" fmla="*/ 2087086 w 2772385"/>
              <a:gd name="connsiteY3" fmla="*/ 198449 h 3816780"/>
              <a:gd name="connsiteX4" fmla="*/ 2137574 w 2772385"/>
              <a:gd name="connsiteY4" fmla="*/ 288206 h 3816780"/>
              <a:gd name="connsiteX5" fmla="*/ 2025378 w 2772385"/>
              <a:gd name="connsiteY5" fmla="*/ 450890 h 3816780"/>
              <a:gd name="connsiteX6" fmla="*/ 2131966 w 2772385"/>
              <a:gd name="connsiteY6" fmla="*/ 585526 h 3816780"/>
              <a:gd name="connsiteX7" fmla="*/ 2154403 w 2772385"/>
              <a:gd name="connsiteY7" fmla="*/ 708942 h 3816780"/>
              <a:gd name="connsiteX8" fmla="*/ 2025378 w 2772385"/>
              <a:gd name="connsiteY8" fmla="*/ 753820 h 3816780"/>
              <a:gd name="connsiteX9" fmla="*/ 1991719 w 2772385"/>
              <a:gd name="connsiteY9" fmla="*/ 821138 h 3816780"/>
              <a:gd name="connsiteX10" fmla="*/ 1991719 w 2772385"/>
              <a:gd name="connsiteY10" fmla="*/ 708942 h 3816780"/>
              <a:gd name="connsiteX11" fmla="*/ 1941230 w 2772385"/>
              <a:gd name="connsiteY11" fmla="*/ 669673 h 3816780"/>
              <a:gd name="connsiteX12" fmla="*/ 1778546 w 2772385"/>
              <a:gd name="connsiteY12" fmla="*/ 770649 h 3816780"/>
              <a:gd name="connsiteX13" fmla="*/ 1397078 w 2772385"/>
              <a:gd name="connsiteY13" fmla="*/ 579916 h 3816780"/>
              <a:gd name="connsiteX14" fmla="*/ 1660739 w 2772385"/>
              <a:gd name="connsiteY14" fmla="*/ 1129678 h 3816780"/>
              <a:gd name="connsiteX15" fmla="*/ 1795375 w 2772385"/>
              <a:gd name="connsiteY15" fmla="*/ 1225045 h 3816780"/>
              <a:gd name="connsiteX16" fmla="*/ 1643910 w 2772385"/>
              <a:gd name="connsiteY16" fmla="*/ 1449437 h 3816780"/>
              <a:gd name="connsiteX17" fmla="*/ 1722448 w 2772385"/>
              <a:gd name="connsiteY17" fmla="*/ 1668220 h 3816780"/>
              <a:gd name="connsiteX18" fmla="*/ 1812205 w 2772385"/>
              <a:gd name="connsiteY18" fmla="*/ 1662611 h 3816780"/>
              <a:gd name="connsiteX19" fmla="*/ 1621470 w 2772385"/>
              <a:gd name="connsiteY19" fmla="*/ 1858954 h 3816780"/>
              <a:gd name="connsiteX20" fmla="*/ 909024 w 2772385"/>
              <a:gd name="connsiteY20" fmla="*/ 1578463 h 3816780"/>
              <a:gd name="connsiteX21" fmla="*/ 454629 w 2772385"/>
              <a:gd name="connsiteY21" fmla="*/ 2605060 h 3816780"/>
              <a:gd name="connsiteX22" fmla="*/ 258286 w 2772385"/>
              <a:gd name="connsiteY22" fmla="*/ 2812623 h 3816780"/>
              <a:gd name="connsiteX23" fmla="*/ 39503 w 2772385"/>
              <a:gd name="connsiteY23" fmla="*/ 2857501 h 3816780"/>
              <a:gd name="connsiteX24" fmla="*/ 28282 w 2772385"/>
              <a:gd name="connsiteY24" fmla="*/ 2975307 h 3816780"/>
              <a:gd name="connsiteX25" fmla="*/ 258285 w 2772385"/>
              <a:gd name="connsiteY25" fmla="*/ 3087504 h 3816780"/>
              <a:gd name="connsiteX26" fmla="*/ 527559 w 2772385"/>
              <a:gd name="connsiteY26" fmla="*/ 2986527 h 3816780"/>
              <a:gd name="connsiteX27" fmla="*/ 488288 w 2772385"/>
              <a:gd name="connsiteY27" fmla="*/ 3154821 h 3816780"/>
              <a:gd name="connsiteX28" fmla="*/ 561215 w 2772385"/>
              <a:gd name="connsiteY28" fmla="*/ 3194090 h 3816780"/>
              <a:gd name="connsiteX29" fmla="*/ 381702 w 2772385"/>
              <a:gd name="connsiteY29" fmla="*/ 3592387 h 3816780"/>
              <a:gd name="connsiteX30" fmla="*/ 213408 w 2772385"/>
              <a:gd name="connsiteY30" fmla="*/ 3698973 h 3816780"/>
              <a:gd name="connsiteX31" fmla="*/ 280726 w 2772385"/>
              <a:gd name="connsiteY31" fmla="*/ 3811169 h 3816780"/>
              <a:gd name="connsiteX32" fmla="*/ 477068 w 2772385"/>
              <a:gd name="connsiteY32" fmla="*/ 3771902 h 3816780"/>
              <a:gd name="connsiteX33" fmla="*/ 622923 w 2772385"/>
              <a:gd name="connsiteY33" fmla="*/ 3547509 h 3816780"/>
              <a:gd name="connsiteX34" fmla="*/ 662193 w 2772385"/>
              <a:gd name="connsiteY34" fmla="*/ 3743852 h 3816780"/>
              <a:gd name="connsiteX35" fmla="*/ 735121 w 2772385"/>
              <a:gd name="connsiteY35" fmla="*/ 3732634 h 3816780"/>
              <a:gd name="connsiteX36" fmla="*/ 774389 w 2772385"/>
              <a:gd name="connsiteY36" fmla="*/ 3474581 h 3816780"/>
              <a:gd name="connsiteX37" fmla="*/ 695851 w 2772385"/>
              <a:gd name="connsiteY37" fmla="*/ 3238969 h 3816780"/>
              <a:gd name="connsiteX38" fmla="*/ 897805 w 2772385"/>
              <a:gd name="connsiteY38" fmla="*/ 2627499 h 3816780"/>
              <a:gd name="connsiteX39" fmla="*/ 1161466 w 2772385"/>
              <a:gd name="connsiteY39" fmla="*/ 2520912 h 3816780"/>
              <a:gd name="connsiteX40" fmla="*/ 1492445 w 2772385"/>
              <a:gd name="connsiteY40" fmla="*/ 2638718 h 3816780"/>
              <a:gd name="connsiteX41" fmla="*/ 1587812 w 2772385"/>
              <a:gd name="connsiteY41" fmla="*/ 2627499 h 3816780"/>
              <a:gd name="connsiteX42" fmla="*/ 1643910 w 2772385"/>
              <a:gd name="connsiteY42" fmla="*/ 2728476 h 3816780"/>
              <a:gd name="connsiteX43" fmla="*/ 1795375 w 2772385"/>
              <a:gd name="connsiteY43" fmla="*/ 2762134 h 3816780"/>
              <a:gd name="connsiteX44" fmla="*/ 1795375 w 2772385"/>
              <a:gd name="connsiteY44" fmla="*/ 2812623 h 3816780"/>
              <a:gd name="connsiteX45" fmla="*/ 1750497 w 2772385"/>
              <a:gd name="connsiteY45" fmla="*/ 3008967 h 3816780"/>
              <a:gd name="connsiteX46" fmla="*/ 1711228 w 2772385"/>
              <a:gd name="connsiteY46" fmla="*/ 3328726 h 3816780"/>
              <a:gd name="connsiteX47" fmla="*/ 1200735 w 2772385"/>
              <a:gd name="connsiteY47" fmla="*/ 3396044 h 3816780"/>
              <a:gd name="connsiteX48" fmla="*/ 1172686 w 2772385"/>
              <a:gd name="connsiteY48" fmla="*/ 3468971 h 3816780"/>
              <a:gd name="connsiteX49" fmla="*/ 1110978 w 2772385"/>
              <a:gd name="connsiteY49" fmla="*/ 3497020 h 3816780"/>
              <a:gd name="connsiteX50" fmla="*/ 1139027 w 2772385"/>
              <a:gd name="connsiteY50" fmla="*/ 3631656 h 3816780"/>
              <a:gd name="connsiteX51" fmla="*/ 1279272 w 2772385"/>
              <a:gd name="connsiteY51" fmla="*/ 3637266 h 3816780"/>
              <a:gd name="connsiteX52" fmla="*/ 1273662 w 2772385"/>
              <a:gd name="connsiteY52" fmla="*/ 3485801 h 3816780"/>
              <a:gd name="connsiteX53" fmla="*/ 1453176 w 2772385"/>
              <a:gd name="connsiteY53" fmla="*/ 3497020 h 3816780"/>
              <a:gd name="connsiteX54" fmla="*/ 1425127 w 2772385"/>
              <a:gd name="connsiteY54" fmla="*/ 3575558 h 3816780"/>
              <a:gd name="connsiteX55" fmla="*/ 1397078 w 2772385"/>
              <a:gd name="connsiteY55" fmla="*/ 3637266 h 3816780"/>
              <a:gd name="connsiteX56" fmla="*/ 1340980 w 2772385"/>
              <a:gd name="connsiteY56" fmla="*/ 3704584 h 3816780"/>
              <a:gd name="connsiteX57" fmla="*/ 1453177 w 2772385"/>
              <a:gd name="connsiteY57" fmla="*/ 3799951 h 3816780"/>
              <a:gd name="connsiteX58" fmla="*/ 1514884 w 2772385"/>
              <a:gd name="connsiteY58" fmla="*/ 3642876 h 3816780"/>
              <a:gd name="connsiteX59" fmla="*/ 1817814 w 2772385"/>
              <a:gd name="connsiteY59" fmla="*/ 3541899 h 3816780"/>
              <a:gd name="connsiteX60" fmla="*/ 2154403 w 2772385"/>
              <a:gd name="connsiteY60" fmla="*/ 3614826 h 3816780"/>
              <a:gd name="connsiteX61" fmla="*/ 2109525 w 2772385"/>
              <a:gd name="connsiteY61" fmla="*/ 3715803 h 3816780"/>
              <a:gd name="connsiteX62" fmla="*/ 2193672 w 2772385"/>
              <a:gd name="connsiteY62" fmla="*/ 3816780 h 3816780"/>
              <a:gd name="connsiteX63" fmla="*/ 2277819 w 2772385"/>
              <a:gd name="connsiteY63" fmla="*/ 3732633 h 3816780"/>
              <a:gd name="connsiteX64" fmla="*/ 2266600 w 2772385"/>
              <a:gd name="connsiteY64" fmla="*/ 3637266 h 3816780"/>
              <a:gd name="connsiteX65" fmla="*/ 2423675 w 2772385"/>
              <a:gd name="connsiteY65" fmla="*/ 3564338 h 3816780"/>
              <a:gd name="connsiteX66" fmla="*/ 2429284 w 2772385"/>
              <a:gd name="connsiteY66" fmla="*/ 3384824 h 3816780"/>
              <a:gd name="connsiteX67" fmla="*/ 1907572 w 2772385"/>
              <a:gd name="connsiteY67" fmla="*/ 3345556 h 3816780"/>
              <a:gd name="connsiteX68" fmla="*/ 1913181 w 2772385"/>
              <a:gd name="connsiteY68" fmla="*/ 3031406 h 3816780"/>
              <a:gd name="connsiteX69" fmla="*/ 1907571 w 2772385"/>
              <a:gd name="connsiteY69" fmla="*/ 3014576 h 3816780"/>
              <a:gd name="connsiteX70" fmla="*/ 1901962 w 2772385"/>
              <a:gd name="connsiteY70" fmla="*/ 2835062 h 3816780"/>
              <a:gd name="connsiteX71" fmla="*/ 1857083 w 2772385"/>
              <a:gd name="connsiteY71" fmla="*/ 2773354 h 3816780"/>
              <a:gd name="connsiteX72" fmla="*/ 2047817 w 2772385"/>
              <a:gd name="connsiteY72" fmla="*/ 2717256 h 3816780"/>
              <a:gd name="connsiteX73" fmla="*/ 2081476 w 2772385"/>
              <a:gd name="connsiteY73" fmla="*/ 2610669 h 3816780"/>
              <a:gd name="connsiteX74" fmla="*/ 2367576 w 2772385"/>
              <a:gd name="connsiteY74" fmla="*/ 2621889 h 3816780"/>
              <a:gd name="connsiteX75" fmla="*/ 2591969 w 2772385"/>
              <a:gd name="connsiteY75" fmla="*/ 2032858 h 3816780"/>
              <a:gd name="connsiteX76" fmla="*/ 2547090 w 2772385"/>
              <a:gd name="connsiteY76" fmla="*/ 1948711 h 3816780"/>
              <a:gd name="connsiteX77" fmla="*/ 2648067 w 2772385"/>
              <a:gd name="connsiteY77" fmla="*/ 1432608 h 3816780"/>
              <a:gd name="connsiteX78" fmla="*/ 2580750 w 2772385"/>
              <a:gd name="connsiteY78" fmla="*/ 1337242 h 3816780"/>
              <a:gd name="connsiteX79" fmla="*/ 2462943 w 2772385"/>
              <a:gd name="connsiteY79" fmla="*/ 809919 h 3816780"/>
              <a:gd name="connsiteX80" fmla="*/ 2737825 w 2772385"/>
              <a:gd name="connsiteY80" fmla="*/ 675283 h 3816780"/>
              <a:gd name="connsiteX81" fmla="*/ 2709775 w 2772385"/>
              <a:gd name="connsiteY81" fmla="*/ 434061 h 3816780"/>
              <a:gd name="connsiteX82" fmla="*/ 2625628 w 2772385"/>
              <a:gd name="connsiteY82" fmla="*/ 86253 h 3816780"/>
              <a:gd name="connsiteX0" fmla="*/ 2625628 w 2772385"/>
              <a:gd name="connsiteY0" fmla="*/ 86253 h 3816780"/>
              <a:gd name="connsiteX1" fmla="*/ 2429284 w 2772385"/>
              <a:gd name="connsiteY1" fmla="*/ 2105 h 3816780"/>
              <a:gd name="connsiteX2" fmla="*/ 2188062 w 2772385"/>
              <a:gd name="connsiteY2" fmla="*/ 159180 h 3816780"/>
              <a:gd name="connsiteX3" fmla="*/ 2087086 w 2772385"/>
              <a:gd name="connsiteY3" fmla="*/ 198449 h 3816780"/>
              <a:gd name="connsiteX4" fmla="*/ 2137574 w 2772385"/>
              <a:gd name="connsiteY4" fmla="*/ 288206 h 3816780"/>
              <a:gd name="connsiteX5" fmla="*/ 2025378 w 2772385"/>
              <a:gd name="connsiteY5" fmla="*/ 450890 h 3816780"/>
              <a:gd name="connsiteX6" fmla="*/ 2131966 w 2772385"/>
              <a:gd name="connsiteY6" fmla="*/ 585526 h 3816780"/>
              <a:gd name="connsiteX7" fmla="*/ 2154403 w 2772385"/>
              <a:gd name="connsiteY7" fmla="*/ 708942 h 3816780"/>
              <a:gd name="connsiteX8" fmla="*/ 2025378 w 2772385"/>
              <a:gd name="connsiteY8" fmla="*/ 753820 h 3816780"/>
              <a:gd name="connsiteX9" fmla="*/ 1991719 w 2772385"/>
              <a:gd name="connsiteY9" fmla="*/ 821138 h 3816780"/>
              <a:gd name="connsiteX10" fmla="*/ 1991719 w 2772385"/>
              <a:gd name="connsiteY10" fmla="*/ 708942 h 3816780"/>
              <a:gd name="connsiteX11" fmla="*/ 1941230 w 2772385"/>
              <a:gd name="connsiteY11" fmla="*/ 669673 h 3816780"/>
              <a:gd name="connsiteX12" fmla="*/ 1778546 w 2772385"/>
              <a:gd name="connsiteY12" fmla="*/ 770649 h 3816780"/>
              <a:gd name="connsiteX13" fmla="*/ 1397078 w 2772385"/>
              <a:gd name="connsiteY13" fmla="*/ 579916 h 3816780"/>
              <a:gd name="connsiteX14" fmla="*/ 1660739 w 2772385"/>
              <a:gd name="connsiteY14" fmla="*/ 1129678 h 3816780"/>
              <a:gd name="connsiteX15" fmla="*/ 1795375 w 2772385"/>
              <a:gd name="connsiteY15" fmla="*/ 1225045 h 3816780"/>
              <a:gd name="connsiteX16" fmla="*/ 1643910 w 2772385"/>
              <a:gd name="connsiteY16" fmla="*/ 1449437 h 3816780"/>
              <a:gd name="connsiteX17" fmla="*/ 1722448 w 2772385"/>
              <a:gd name="connsiteY17" fmla="*/ 1668220 h 3816780"/>
              <a:gd name="connsiteX18" fmla="*/ 1812205 w 2772385"/>
              <a:gd name="connsiteY18" fmla="*/ 1662611 h 3816780"/>
              <a:gd name="connsiteX19" fmla="*/ 1621470 w 2772385"/>
              <a:gd name="connsiteY19" fmla="*/ 1858954 h 3816780"/>
              <a:gd name="connsiteX20" fmla="*/ 909024 w 2772385"/>
              <a:gd name="connsiteY20" fmla="*/ 1578463 h 3816780"/>
              <a:gd name="connsiteX21" fmla="*/ 454629 w 2772385"/>
              <a:gd name="connsiteY21" fmla="*/ 2605060 h 3816780"/>
              <a:gd name="connsiteX22" fmla="*/ 258286 w 2772385"/>
              <a:gd name="connsiteY22" fmla="*/ 2812623 h 3816780"/>
              <a:gd name="connsiteX23" fmla="*/ 39503 w 2772385"/>
              <a:gd name="connsiteY23" fmla="*/ 2857501 h 3816780"/>
              <a:gd name="connsiteX24" fmla="*/ 28282 w 2772385"/>
              <a:gd name="connsiteY24" fmla="*/ 2975307 h 3816780"/>
              <a:gd name="connsiteX25" fmla="*/ 258285 w 2772385"/>
              <a:gd name="connsiteY25" fmla="*/ 3087504 h 3816780"/>
              <a:gd name="connsiteX26" fmla="*/ 527559 w 2772385"/>
              <a:gd name="connsiteY26" fmla="*/ 2986527 h 3816780"/>
              <a:gd name="connsiteX27" fmla="*/ 488288 w 2772385"/>
              <a:gd name="connsiteY27" fmla="*/ 3154821 h 3816780"/>
              <a:gd name="connsiteX28" fmla="*/ 561215 w 2772385"/>
              <a:gd name="connsiteY28" fmla="*/ 3194090 h 3816780"/>
              <a:gd name="connsiteX29" fmla="*/ 381702 w 2772385"/>
              <a:gd name="connsiteY29" fmla="*/ 3592387 h 3816780"/>
              <a:gd name="connsiteX30" fmla="*/ 213408 w 2772385"/>
              <a:gd name="connsiteY30" fmla="*/ 3698973 h 3816780"/>
              <a:gd name="connsiteX31" fmla="*/ 280726 w 2772385"/>
              <a:gd name="connsiteY31" fmla="*/ 3811169 h 3816780"/>
              <a:gd name="connsiteX32" fmla="*/ 477068 w 2772385"/>
              <a:gd name="connsiteY32" fmla="*/ 3771902 h 3816780"/>
              <a:gd name="connsiteX33" fmla="*/ 622923 w 2772385"/>
              <a:gd name="connsiteY33" fmla="*/ 3547509 h 3816780"/>
              <a:gd name="connsiteX34" fmla="*/ 662193 w 2772385"/>
              <a:gd name="connsiteY34" fmla="*/ 3743852 h 3816780"/>
              <a:gd name="connsiteX35" fmla="*/ 735121 w 2772385"/>
              <a:gd name="connsiteY35" fmla="*/ 3732634 h 3816780"/>
              <a:gd name="connsiteX36" fmla="*/ 774389 w 2772385"/>
              <a:gd name="connsiteY36" fmla="*/ 3474581 h 3816780"/>
              <a:gd name="connsiteX37" fmla="*/ 695851 w 2772385"/>
              <a:gd name="connsiteY37" fmla="*/ 3238969 h 3816780"/>
              <a:gd name="connsiteX38" fmla="*/ 897805 w 2772385"/>
              <a:gd name="connsiteY38" fmla="*/ 2627499 h 3816780"/>
              <a:gd name="connsiteX39" fmla="*/ 1161466 w 2772385"/>
              <a:gd name="connsiteY39" fmla="*/ 2520912 h 3816780"/>
              <a:gd name="connsiteX40" fmla="*/ 1492445 w 2772385"/>
              <a:gd name="connsiteY40" fmla="*/ 2638718 h 3816780"/>
              <a:gd name="connsiteX41" fmla="*/ 1587812 w 2772385"/>
              <a:gd name="connsiteY41" fmla="*/ 2627499 h 3816780"/>
              <a:gd name="connsiteX42" fmla="*/ 1643910 w 2772385"/>
              <a:gd name="connsiteY42" fmla="*/ 2728476 h 3816780"/>
              <a:gd name="connsiteX43" fmla="*/ 1795375 w 2772385"/>
              <a:gd name="connsiteY43" fmla="*/ 2762134 h 3816780"/>
              <a:gd name="connsiteX44" fmla="*/ 1795375 w 2772385"/>
              <a:gd name="connsiteY44" fmla="*/ 2812623 h 3816780"/>
              <a:gd name="connsiteX45" fmla="*/ 1750497 w 2772385"/>
              <a:gd name="connsiteY45" fmla="*/ 3008967 h 3816780"/>
              <a:gd name="connsiteX46" fmla="*/ 1711228 w 2772385"/>
              <a:gd name="connsiteY46" fmla="*/ 3328726 h 3816780"/>
              <a:gd name="connsiteX47" fmla="*/ 1200735 w 2772385"/>
              <a:gd name="connsiteY47" fmla="*/ 3396044 h 3816780"/>
              <a:gd name="connsiteX48" fmla="*/ 1172686 w 2772385"/>
              <a:gd name="connsiteY48" fmla="*/ 3468971 h 3816780"/>
              <a:gd name="connsiteX49" fmla="*/ 1110978 w 2772385"/>
              <a:gd name="connsiteY49" fmla="*/ 3497020 h 3816780"/>
              <a:gd name="connsiteX50" fmla="*/ 1139027 w 2772385"/>
              <a:gd name="connsiteY50" fmla="*/ 3631656 h 3816780"/>
              <a:gd name="connsiteX51" fmla="*/ 1279272 w 2772385"/>
              <a:gd name="connsiteY51" fmla="*/ 3637266 h 3816780"/>
              <a:gd name="connsiteX52" fmla="*/ 1273662 w 2772385"/>
              <a:gd name="connsiteY52" fmla="*/ 3485801 h 3816780"/>
              <a:gd name="connsiteX53" fmla="*/ 1453176 w 2772385"/>
              <a:gd name="connsiteY53" fmla="*/ 3497020 h 3816780"/>
              <a:gd name="connsiteX54" fmla="*/ 1425127 w 2772385"/>
              <a:gd name="connsiteY54" fmla="*/ 3575558 h 3816780"/>
              <a:gd name="connsiteX55" fmla="*/ 1397078 w 2772385"/>
              <a:gd name="connsiteY55" fmla="*/ 3637266 h 3816780"/>
              <a:gd name="connsiteX56" fmla="*/ 1340980 w 2772385"/>
              <a:gd name="connsiteY56" fmla="*/ 3704584 h 3816780"/>
              <a:gd name="connsiteX57" fmla="*/ 1453177 w 2772385"/>
              <a:gd name="connsiteY57" fmla="*/ 3799951 h 3816780"/>
              <a:gd name="connsiteX58" fmla="*/ 1514884 w 2772385"/>
              <a:gd name="connsiteY58" fmla="*/ 3642876 h 3816780"/>
              <a:gd name="connsiteX59" fmla="*/ 1817814 w 2772385"/>
              <a:gd name="connsiteY59" fmla="*/ 3541899 h 3816780"/>
              <a:gd name="connsiteX60" fmla="*/ 2154403 w 2772385"/>
              <a:gd name="connsiteY60" fmla="*/ 3614826 h 3816780"/>
              <a:gd name="connsiteX61" fmla="*/ 2109525 w 2772385"/>
              <a:gd name="connsiteY61" fmla="*/ 3715803 h 3816780"/>
              <a:gd name="connsiteX62" fmla="*/ 2193672 w 2772385"/>
              <a:gd name="connsiteY62" fmla="*/ 3816780 h 3816780"/>
              <a:gd name="connsiteX63" fmla="*/ 2277819 w 2772385"/>
              <a:gd name="connsiteY63" fmla="*/ 3732633 h 3816780"/>
              <a:gd name="connsiteX64" fmla="*/ 2266600 w 2772385"/>
              <a:gd name="connsiteY64" fmla="*/ 3637266 h 3816780"/>
              <a:gd name="connsiteX65" fmla="*/ 2423675 w 2772385"/>
              <a:gd name="connsiteY65" fmla="*/ 3564338 h 3816780"/>
              <a:gd name="connsiteX66" fmla="*/ 2429284 w 2772385"/>
              <a:gd name="connsiteY66" fmla="*/ 3384824 h 3816780"/>
              <a:gd name="connsiteX67" fmla="*/ 1907572 w 2772385"/>
              <a:gd name="connsiteY67" fmla="*/ 3345556 h 3816780"/>
              <a:gd name="connsiteX68" fmla="*/ 1913181 w 2772385"/>
              <a:gd name="connsiteY68" fmla="*/ 3031406 h 3816780"/>
              <a:gd name="connsiteX69" fmla="*/ 1907571 w 2772385"/>
              <a:gd name="connsiteY69" fmla="*/ 3014576 h 3816780"/>
              <a:gd name="connsiteX70" fmla="*/ 1901962 w 2772385"/>
              <a:gd name="connsiteY70" fmla="*/ 2835062 h 3816780"/>
              <a:gd name="connsiteX71" fmla="*/ 1857083 w 2772385"/>
              <a:gd name="connsiteY71" fmla="*/ 2773354 h 3816780"/>
              <a:gd name="connsiteX72" fmla="*/ 2047817 w 2772385"/>
              <a:gd name="connsiteY72" fmla="*/ 2717256 h 3816780"/>
              <a:gd name="connsiteX73" fmla="*/ 2081476 w 2772385"/>
              <a:gd name="connsiteY73" fmla="*/ 2610669 h 3816780"/>
              <a:gd name="connsiteX74" fmla="*/ 2367576 w 2772385"/>
              <a:gd name="connsiteY74" fmla="*/ 2621889 h 3816780"/>
              <a:gd name="connsiteX75" fmla="*/ 2591969 w 2772385"/>
              <a:gd name="connsiteY75" fmla="*/ 2032858 h 3816780"/>
              <a:gd name="connsiteX76" fmla="*/ 2547090 w 2772385"/>
              <a:gd name="connsiteY76" fmla="*/ 1948711 h 3816780"/>
              <a:gd name="connsiteX77" fmla="*/ 2648067 w 2772385"/>
              <a:gd name="connsiteY77" fmla="*/ 1432608 h 3816780"/>
              <a:gd name="connsiteX78" fmla="*/ 2580750 w 2772385"/>
              <a:gd name="connsiteY78" fmla="*/ 1337242 h 3816780"/>
              <a:gd name="connsiteX79" fmla="*/ 2462943 w 2772385"/>
              <a:gd name="connsiteY79" fmla="*/ 809919 h 3816780"/>
              <a:gd name="connsiteX80" fmla="*/ 2737825 w 2772385"/>
              <a:gd name="connsiteY80" fmla="*/ 675283 h 3816780"/>
              <a:gd name="connsiteX81" fmla="*/ 2709775 w 2772385"/>
              <a:gd name="connsiteY81" fmla="*/ 434061 h 3816780"/>
              <a:gd name="connsiteX82" fmla="*/ 2625628 w 2772385"/>
              <a:gd name="connsiteY82" fmla="*/ 86253 h 3816780"/>
              <a:gd name="connsiteX0" fmla="*/ 2625628 w 2772385"/>
              <a:gd name="connsiteY0" fmla="*/ 86253 h 3816780"/>
              <a:gd name="connsiteX1" fmla="*/ 2429284 w 2772385"/>
              <a:gd name="connsiteY1" fmla="*/ 2105 h 3816780"/>
              <a:gd name="connsiteX2" fmla="*/ 2188062 w 2772385"/>
              <a:gd name="connsiteY2" fmla="*/ 159180 h 3816780"/>
              <a:gd name="connsiteX3" fmla="*/ 2087086 w 2772385"/>
              <a:gd name="connsiteY3" fmla="*/ 198449 h 3816780"/>
              <a:gd name="connsiteX4" fmla="*/ 2137574 w 2772385"/>
              <a:gd name="connsiteY4" fmla="*/ 288206 h 3816780"/>
              <a:gd name="connsiteX5" fmla="*/ 2025378 w 2772385"/>
              <a:gd name="connsiteY5" fmla="*/ 450890 h 3816780"/>
              <a:gd name="connsiteX6" fmla="*/ 2131966 w 2772385"/>
              <a:gd name="connsiteY6" fmla="*/ 585526 h 3816780"/>
              <a:gd name="connsiteX7" fmla="*/ 2154403 w 2772385"/>
              <a:gd name="connsiteY7" fmla="*/ 708942 h 3816780"/>
              <a:gd name="connsiteX8" fmla="*/ 2025378 w 2772385"/>
              <a:gd name="connsiteY8" fmla="*/ 753820 h 3816780"/>
              <a:gd name="connsiteX9" fmla="*/ 1991719 w 2772385"/>
              <a:gd name="connsiteY9" fmla="*/ 821138 h 3816780"/>
              <a:gd name="connsiteX10" fmla="*/ 1991719 w 2772385"/>
              <a:gd name="connsiteY10" fmla="*/ 708942 h 3816780"/>
              <a:gd name="connsiteX11" fmla="*/ 1941230 w 2772385"/>
              <a:gd name="connsiteY11" fmla="*/ 669673 h 3816780"/>
              <a:gd name="connsiteX12" fmla="*/ 1778546 w 2772385"/>
              <a:gd name="connsiteY12" fmla="*/ 770649 h 3816780"/>
              <a:gd name="connsiteX13" fmla="*/ 1397078 w 2772385"/>
              <a:gd name="connsiteY13" fmla="*/ 579916 h 3816780"/>
              <a:gd name="connsiteX14" fmla="*/ 1660739 w 2772385"/>
              <a:gd name="connsiteY14" fmla="*/ 1129678 h 3816780"/>
              <a:gd name="connsiteX15" fmla="*/ 1795375 w 2772385"/>
              <a:gd name="connsiteY15" fmla="*/ 1225045 h 3816780"/>
              <a:gd name="connsiteX16" fmla="*/ 1643910 w 2772385"/>
              <a:gd name="connsiteY16" fmla="*/ 1449437 h 3816780"/>
              <a:gd name="connsiteX17" fmla="*/ 1722448 w 2772385"/>
              <a:gd name="connsiteY17" fmla="*/ 1668220 h 3816780"/>
              <a:gd name="connsiteX18" fmla="*/ 1812205 w 2772385"/>
              <a:gd name="connsiteY18" fmla="*/ 1662611 h 3816780"/>
              <a:gd name="connsiteX19" fmla="*/ 1621470 w 2772385"/>
              <a:gd name="connsiteY19" fmla="*/ 1858954 h 3816780"/>
              <a:gd name="connsiteX20" fmla="*/ 909024 w 2772385"/>
              <a:gd name="connsiteY20" fmla="*/ 1578463 h 3816780"/>
              <a:gd name="connsiteX21" fmla="*/ 454629 w 2772385"/>
              <a:gd name="connsiteY21" fmla="*/ 2605060 h 3816780"/>
              <a:gd name="connsiteX22" fmla="*/ 258286 w 2772385"/>
              <a:gd name="connsiteY22" fmla="*/ 2812623 h 3816780"/>
              <a:gd name="connsiteX23" fmla="*/ 39503 w 2772385"/>
              <a:gd name="connsiteY23" fmla="*/ 2857501 h 3816780"/>
              <a:gd name="connsiteX24" fmla="*/ 28282 w 2772385"/>
              <a:gd name="connsiteY24" fmla="*/ 2975307 h 3816780"/>
              <a:gd name="connsiteX25" fmla="*/ 258285 w 2772385"/>
              <a:gd name="connsiteY25" fmla="*/ 3087504 h 3816780"/>
              <a:gd name="connsiteX26" fmla="*/ 527559 w 2772385"/>
              <a:gd name="connsiteY26" fmla="*/ 2986527 h 3816780"/>
              <a:gd name="connsiteX27" fmla="*/ 488288 w 2772385"/>
              <a:gd name="connsiteY27" fmla="*/ 3154821 h 3816780"/>
              <a:gd name="connsiteX28" fmla="*/ 561215 w 2772385"/>
              <a:gd name="connsiteY28" fmla="*/ 3194090 h 3816780"/>
              <a:gd name="connsiteX29" fmla="*/ 381702 w 2772385"/>
              <a:gd name="connsiteY29" fmla="*/ 3592387 h 3816780"/>
              <a:gd name="connsiteX30" fmla="*/ 213408 w 2772385"/>
              <a:gd name="connsiteY30" fmla="*/ 3698973 h 3816780"/>
              <a:gd name="connsiteX31" fmla="*/ 280726 w 2772385"/>
              <a:gd name="connsiteY31" fmla="*/ 3811169 h 3816780"/>
              <a:gd name="connsiteX32" fmla="*/ 477068 w 2772385"/>
              <a:gd name="connsiteY32" fmla="*/ 3771902 h 3816780"/>
              <a:gd name="connsiteX33" fmla="*/ 622923 w 2772385"/>
              <a:gd name="connsiteY33" fmla="*/ 3547509 h 3816780"/>
              <a:gd name="connsiteX34" fmla="*/ 662193 w 2772385"/>
              <a:gd name="connsiteY34" fmla="*/ 3743852 h 3816780"/>
              <a:gd name="connsiteX35" fmla="*/ 735121 w 2772385"/>
              <a:gd name="connsiteY35" fmla="*/ 3732634 h 3816780"/>
              <a:gd name="connsiteX36" fmla="*/ 774389 w 2772385"/>
              <a:gd name="connsiteY36" fmla="*/ 3474581 h 3816780"/>
              <a:gd name="connsiteX37" fmla="*/ 695851 w 2772385"/>
              <a:gd name="connsiteY37" fmla="*/ 3238969 h 3816780"/>
              <a:gd name="connsiteX38" fmla="*/ 897805 w 2772385"/>
              <a:gd name="connsiteY38" fmla="*/ 2627499 h 3816780"/>
              <a:gd name="connsiteX39" fmla="*/ 1161466 w 2772385"/>
              <a:gd name="connsiteY39" fmla="*/ 2520912 h 3816780"/>
              <a:gd name="connsiteX40" fmla="*/ 1492445 w 2772385"/>
              <a:gd name="connsiteY40" fmla="*/ 2638718 h 3816780"/>
              <a:gd name="connsiteX41" fmla="*/ 1587812 w 2772385"/>
              <a:gd name="connsiteY41" fmla="*/ 2627499 h 3816780"/>
              <a:gd name="connsiteX42" fmla="*/ 1643910 w 2772385"/>
              <a:gd name="connsiteY42" fmla="*/ 2728476 h 3816780"/>
              <a:gd name="connsiteX43" fmla="*/ 1795375 w 2772385"/>
              <a:gd name="connsiteY43" fmla="*/ 2762134 h 3816780"/>
              <a:gd name="connsiteX44" fmla="*/ 1795375 w 2772385"/>
              <a:gd name="connsiteY44" fmla="*/ 2812623 h 3816780"/>
              <a:gd name="connsiteX45" fmla="*/ 1750497 w 2772385"/>
              <a:gd name="connsiteY45" fmla="*/ 3008967 h 3816780"/>
              <a:gd name="connsiteX46" fmla="*/ 1711228 w 2772385"/>
              <a:gd name="connsiteY46" fmla="*/ 3328726 h 3816780"/>
              <a:gd name="connsiteX47" fmla="*/ 1200735 w 2772385"/>
              <a:gd name="connsiteY47" fmla="*/ 3396044 h 3816780"/>
              <a:gd name="connsiteX48" fmla="*/ 1172686 w 2772385"/>
              <a:gd name="connsiteY48" fmla="*/ 3468971 h 3816780"/>
              <a:gd name="connsiteX49" fmla="*/ 1110978 w 2772385"/>
              <a:gd name="connsiteY49" fmla="*/ 3497020 h 3816780"/>
              <a:gd name="connsiteX50" fmla="*/ 1139027 w 2772385"/>
              <a:gd name="connsiteY50" fmla="*/ 3631656 h 3816780"/>
              <a:gd name="connsiteX51" fmla="*/ 1279272 w 2772385"/>
              <a:gd name="connsiteY51" fmla="*/ 3637266 h 3816780"/>
              <a:gd name="connsiteX52" fmla="*/ 1273662 w 2772385"/>
              <a:gd name="connsiteY52" fmla="*/ 3485801 h 3816780"/>
              <a:gd name="connsiteX53" fmla="*/ 1453176 w 2772385"/>
              <a:gd name="connsiteY53" fmla="*/ 3497020 h 3816780"/>
              <a:gd name="connsiteX54" fmla="*/ 1425127 w 2772385"/>
              <a:gd name="connsiteY54" fmla="*/ 3575558 h 3816780"/>
              <a:gd name="connsiteX55" fmla="*/ 1397078 w 2772385"/>
              <a:gd name="connsiteY55" fmla="*/ 3637266 h 3816780"/>
              <a:gd name="connsiteX56" fmla="*/ 1340980 w 2772385"/>
              <a:gd name="connsiteY56" fmla="*/ 3704584 h 3816780"/>
              <a:gd name="connsiteX57" fmla="*/ 1453177 w 2772385"/>
              <a:gd name="connsiteY57" fmla="*/ 3799951 h 3816780"/>
              <a:gd name="connsiteX58" fmla="*/ 1514884 w 2772385"/>
              <a:gd name="connsiteY58" fmla="*/ 3642876 h 3816780"/>
              <a:gd name="connsiteX59" fmla="*/ 1817814 w 2772385"/>
              <a:gd name="connsiteY59" fmla="*/ 3541899 h 3816780"/>
              <a:gd name="connsiteX60" fmla="*/ 2154403 w 2772385"/>
              <a:gd name="connsiteY60" fmla="*/ 3614826 h 3816780"/>
              <a:gd name="connsiteX61" fmla="*/ 2109525 w 2772385"/>
              <a:gd name="connsiteY61" fmla="*/ 3715803 h 3816780"/>
              <a:gd name="connsiteX62" fmla="*/ 2193672 w 2772385"/>
              <a:gd name="connsiteY62" fmla="*/ 3816780 h 3816780"/>
              <a:gd name="connsiteX63" fmla="*/ 2277819 w 2772385"/>
              <a:gd name="connsiteY63" fmla="*/ 3732633 h 3816780"/>
              <a:gd name="connsiteX64" fmla="*/ 2266600 w 2772385"/>
              <a:gd name="connsiteY64" fmla="*/ 3637266 h 3816780"/>
              <a:gd name="connsiteX65" fmla="*/ 2423675 w 2772385"/>
              <a:gd name="connsiteY65" fmla="*/ 3564338 h 3816780"/>
              <a:gd name="connsiteX66" fmla="*/ 2429284 w 2772385"/>
              <a:gd name="connsiteY66" fmla="*/ 3384824 h 3816780"/>
              <a:gd name="connsiteX67" fmla="*/ 1907572 w 2772385"/>
              <a:gd name="connsiteY67" fmla="*/ 3345556 h 3816780"/>
              <a:gd name="connsiteX68" fmla="*/ 1913181 w 2772385"/>
              <a:gd name="connsiteY68" fmla="*/ 3031406 h 3816780"/>
              <a:gd name="connsiteX69" fmla="*/ 1907571 w 2772385"/>
              <a:gd name="connsiteY69" fmla="*/ 3014576 h 3816780"/>
              <a:gd name="connsiteX70" fmla="*/ 1901962 w 2772385"/>
              <a:gd name="connsiteY70" fmla="*/ 2835062 h 3816780"/>
              <a:gd name="connsiteX71" fmla="*/ 1857083 w 2772385"/>
              <a:gd name="connsiteY71" fmla="*/ 2773354 h 3816780"/>
              <a:gd name="connsiteX72" fmla="*/ 2047817 w 2772385"/>
              <a:gd name="connsiteY72" fmla="*/ 2717256 h 3816780"/>
              <a:gd name="connsiteX73" fmla="*/ 2081476 w 2772385"/>
              <a:gd name="connsiteY73" fmla="*/ 2610669 h 3816780"/>
              <a:gd name="connsiteX74" fmla="*/ 2367576 w 2772385"/>
              <a:gd name="connsiteY74" fmla="*/ 2621889 h 3816780"/>
              <a:gd name="connsiteX75" fmla="*/ 2591969 w 2772385"/>
              <a:gd name="connsiteY75" fmla="*/ 2032858 h 3816780"/>
              <a:gd name="connsiteX76" fmla="*/ 2547090 w 2772385"/>
              <a:gd name="connsiteY76" fmla="*/ 1948711 h 3816780"/>
              <a:gd name="connsiteX77" fmla="*/ 2648067 w 2772385"/>
              <a:gd name="connsiteY77" fmla="*/ 1432608 h 3816780"/>
              <a:gd name="connsiteX78" fmla="*/ 2580750 w 2772385"/>
              <a:gd name="connsiteY78" fmla="*/ 1337242 h 3816780"/>
              <a:gd name="connsiteX79" fmla="*/ 2462943 w 2772385"/>
              <a:gd name="connsiteY79" fmla="*/ 809919 h 3816780"/>
              <a:gd name="connsiteX80" fmla="*/ 2737825 w 2772385"/>
              <a:gd name="connsiteY80" fmla="*/ 675283 h 3816780"/>
              <a:gd name="connsiteX81" fmla="*/ 2709775 w 2772385"/>
              <a:gd name="connsiteY81" fmla="*/ 434061 h 3816780"/>
              <a:gd name="connsiteX82" fmla="*/ 2625628 w 2772385"/>
              <a:gd name="connsiteY82" fmla="*/ 86253 h 38167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2772385" h="3816780">
                <a:moveTo>
                  <a:pt x="2625628" y="86253"/>
                </a:moveTo>
                <a:cubicBezTo>
                  <a:pt x="2591969" y="30155"/>
                  <a:pt x="2530261" y="-3505"/>
                  <a:pt x="2429284" y="2105"/>
                </a:cubicBezTo>
                <a:cubicBezTo>
                  <a:pt x="2322697" y="-16594"/>
                  <a:pt x="2255380" y="93732"/>
                  <a:pt x="2188062" y="159180"/>
                </a:cubicBezTo>
                <a:lnTo>
                  <a:pt x="2087086" y="198449"/>
                </a:lnTo>
                <a:lnTo>
                  <a:pt x="2137574" y="288206"/>
                </a:lnTo>
                <a:lnTo>
                  <a:pt x="2025378" y="450890"/>
                </a:lnTo>
                <a:cubicBezTo>
                  <a:pt x="2049688" y="501378"/>
                  <a:pt x="2107656" y="535038"/>
                  <a:pt x="2131966" y="585526"/>
                </a:cubicBezTo>
                <a:lnTo>
                  <a:pt x="2154403" y="708942"/>
                </a:lnTo>
                <a:lnTo>
                  <a:pt x="2025378" y="753820"/>
                </a:lnTo>
                <a:lnTo>
                  <a:pt x="1991719" y="821138"/>
                </a:lnTo>
                <a:lnTo>
                  <a:pt x="1991719" y="708942"/>
                </a:lnTo>
                <a:lnTo>
                  <a:pt x="1941230" y="669673"/>
                </a:lnTo>
                <a:lnTo>
                  <a:pt x="1778546" y="770649"/>
                </a:lnTo>
                <a:lnTo>
                  <a:pt x="1397078" y="579916"/>
                </a:lnTo>
                <a:lnTo>
                  <a:pt x="1660739" y="1129678"/>
                </a:lnTo>
                <a:lnTo>
                  <a:pt x="1795375" y="1225045"/>
                </a:lnTo>
                <a:cubicBezTo>
                  <a:pt x="1744887" y="1299842"/>
                  <a:pt x="1649520" y="1352201"/>
                  <a:pt x="1643910" y="1449437"/>
                </a:cubicBezTo>
                <a:cubicBezTo>
                  <a:pt x="1630820" y="1527975"/>
                  <a:pt x="1657001" y="1628951"/>
                  <a:pt x="1722448" y="1668220"/>
                </a:cubicBezTo>
                <a:lnTo>
                  <a:pt x="1812205" y="1662611"/>
                </a:lnTo>
                <a:lnTo>
                  <a:pt x="1621470" y="1858954"/>
                </a:lnTo>
                <a:cubicBezTo>
                  <a:pt x="1580332" y="1911312"/>
                  <a:pt x="1056749" y="1542934"/>
                  <a:pt x="909024" y="1578463"/>
                </a:cubicBezTo>
                <a:cubicBezTo>
                  <a:pt x="667802" y="1634562"/>
                  <a:pt x="656582" y="2341398"/>
                  <a:pt x="454629" y="2605060"/>
                </a:cubicBezTo>
                <a:lnTo>
                  <a:pt x="258286" y="2812623"/>
                </a:lnTo>
                <a:cubicBezTo>
                  <a:pt x="190968" y="2883680"/>
                  <a:pt x="101211" y="2808883"/>
                  <a:pt x="39503" y="2857501"/>
                </a:cubicBezTo>
                <a:cubicBezTo>
                  <a:pt x="-9116" y="2898640"/>
                  <a:pt x="-12856" y="2945388"/>
                  <a:pt x="28282" y="2975307"/>
                </a:cubicBezTo>
                <a:cubicBezTo>
                  <a:pt x="108690" y="3035145"/>
                  <a:pt x="177877" y="3050105"/>
                  <a:pt x="258285" y="3087504"/>
                </a:cubicBezTo>
                <a:cubicBezTo>
                  <a:pt x="396660" y="2995877"/>
                  <a:pt x="495770" y="2937909"/>
                  <a:pt x="527559" y="2986527"/>
                </a:cubicBezTo>
                <a:cubicBezTo>
                  <a:pt x="578047" y="3025795"/>
                  <a:pt x="505118" y="3104333"/>
                  <a:pt x="488288" y="3154821"/>
                </a:cubicBezTo>
                <a:lnTo>
                  <a:pt x="561215" y="3194090"/>
                </a:lnTo>
                <a:lnTo>
                  <a:pt x="381702" y="3592387"/>
                </a:lnTo>
                <a:cubicBezTo>
                  <a:pt x="329344" y="3622306"/>
                  <a:pt x="215277" y="3669054"/>
                  <a:pt x="213408" y="3698973"/>
                </a:cubicBezTo>
                <a:cubicBezTo>
                  <a:pt x="213408" y="3747592"/>
                  <a:pt x="241457" y="3796210"/>
                  <a:pt x="280726" y="3811169"/>
                </a:cubicBezTo>
                <a:lnTo>
                  <a:pt x="477068" y="3771902"/>
                </a:lnTo>
                <a:cubicBezTo>
                  <a:pt x="525686" y="3697104"/>
                  <a:pt x="557476" y="3532550"/>
                  <a:pt x="622923" y="3547509"/>
                </a:cubicBezTo>
                <a:cubicBezTo>
                  <a:pt x="682762" y="3530679"/>
                  <a:pt x="641623" y="3693364"/>
                  <a:pt x="662193" y="3743852"/>
                </a:cubicBezTo>
                <a:lnTo>
                  <a:pt x="735121" y="3732634"/>
                </a:lnTo>
                <a:cubicBezTo>
                  <a:pt x="753820" y="3642877"/>
                  <a:pt x="733251" y="3564338"/>
                  <a:pt x="774389" y="3474581"/>
                </a:cubicBezTo>
                <a:cubicBezTo>
                  <a:pt x="802438" y="3418483"/>
                  <a:pt x="707071" y="3328726"/>
                  <a:pt x="695851" y="3238969"/>
                </a:cubicBezTo>
                <a:cubicBezTo>
                  <a:pt x="677152" y="3160431"/>
                  <a:pt x="837966" y="2868721"/>
                  <a:pt x="897805" y="2627499"/>
                </a:cubicBezTo>
                <a:lnTo>
                  <a:pt x="1161466" y="2520912"/>
                </a:lnTo>
                <a:lnTo>
                  <a:pt x="1492445" y="2638718"/>
                </a:lnTo>
                <a:lnTo>
                  <a:pt x="1587812" y="2627499"/>
                </a:lnTo>
                <a:cubicBezTo>
                  <a:pt x="1606511" y="2661158"/>
                  <a:pt x="1602772" y="2694817"/>
                  <a:pt x="1643910" y="2728476"/>
                </a:cubicBezTo>
                <a:lnTo>
                  <a:pt x="1795375" y="2762134"/>
                </a:lnTo>
                <a:lnTo>
                  <a:pt x="1795375" y="2812623"/>
                </a:lnTo>
                <a:cubicBezTo>
                  <a:pt x="1718708" y="2823842"/>
                  <a:pt x="1759847" y="2947259"/>
                  <a:pt x="1750497" y="3008967"/>
                </a:cubicBezTo>
                <a:lnTo>
                  <a:pt x="1711228" y="3328726"/>
                </a:lnTo>
                <a:lnTo>
                  <a:pt x="1200735" y="3396044"/>
                </a:lnTo>
                <a:lnTo>
                  <a:pt x="1172686" y="3468971"/>
                </a:lnTo>
                <a:lnTo>
                  <a:pt x="1110978" y="3497020"/>
                </a:lnTo>
                <a:cubicBezTo>
                  <a:pt x="1120328" y="3541899"/>
                  <a:pt x="1090408" y="3569947"/>
                  <a:pt x="1139027" y="3631656"/>
                </a:cubicBezTo>
                <a:lnTo>
                  <a:pt x="1279272" y="3637266"/>
                </a:lnTo>
                <a:lnTo>
                  <a:pt x="1273662" y="3485801"/>
                </a:lnTo>
                <a:lnTo>
                  <a:pt x="1453176" y="3497020"/>
                </a:lnTo>
                <a:lnTo>
                  <a:pt x="1425127" y="3575558"/>
                </a:lnTo>
                <a:lnTo>
                  <a:pt x="1397078" y="3637266"/>
                </a:lnTo>
                <a:lnTo>
                  <a:pt x="1340980" y="3704584"/>
                </a:lnTo>
                <a:cubicBezTo>
                  <a:pt x="1355940" y="3770031"/>
                  <a:pt x="1393339" y="3790601"/>
                  <a:pt x="1453177" y="3799951"/>
                </a:cubicBezTo>
                <a:cubicBezTo>
                  <a:pt x="1514885" y="3788732"/>
                  <a:pt x="1548543" y="3760681"/>
                  <a:pt x="1514884" y="3642876"/>
                </a:cubicBezTo>
                <a:lnTo>
                  <a:pt x="1817814" y="3541899"/>
                </a:lnTo>
                <a:lnTo>
                  <a:pt x="2154403" y="3614826"/>
                </a:lnTo>
                <a:cubicBezTo>
                  <a:pt x="2139444" y="3648485"/>
                  <a:pt x="2096435" y="3682144"/>
                  <a:pt x="2109525" y="3715803"/>
                </a:cubicBezTo>
                <a:cubicBezTo>
                  <a:pt x="2107655" y="3771901"/>
                  <a:pt x="2161883" y="3794341"/>
                  <a:pt x="2193672" y="3816780"/>
                </a:cubicBezTo>
                <a:lnTo>
                  <a:pt x="2277819" y="3732633"/>
                </a:lnTo>
                <a:lnTo>
                  <a:pt x="2266600" y="3637266"/>
                </a:lnTo>
                <a:lnTo>
                  <a:pt x="2423675" y="3564338"/>
                </a:lnTo>
                <a:lnTo>
                  <a:pt x="2429284" y="3384824"/>
                </a:lnTo>
                <a:lnTo>
                  <a:pt x="1907572" y="3345556"/>
                </a:lnTo>
                <a:lnTo>
                  <a:pt x="1913181" y="3031406"/>
                </a:lnTo>
                <a:lnTo>
                  <a:pt x="1907571" y="3014576"/>
                </a:lnTo>
                <a:lnTo>
                  <a:pt x="1901962" y="2835062"/>
                </a:lnTo>
                <a:lnTo>
                  <a:pt x="1857083" y="2773354"/>
                </a:lnTo>
                <a:lnTo>
                  <a:pt x="2047817" y="2717256"/>
                </a:lnTo>
                <a:lnTo>
                  <a:pt x="2081476" y="2610669"/>
                </a:lnTo>
                <a:lnTo>
                  <a:pt x="2367576" y="2621889"/>
                </a:lnTo>
                <a:cubicBezTo>
                  <a:pt x="2515302" y="2577011"/>
                  <a:pt x="2640587" y="2049688"/>
                  <a:pt x="2591969" y="2032858"/>
                </a:cubicBezTo>
                <a:lnTo>
                  <a:pt x="2547090" y="1948711"/>
                </a:lnTo>
                <a:cubicBezTo>
                  <a:pt x="2618148" y="1808466"/>
                  <a:pt x="2661156" y="1628952"/>
                  <a:pt x="2648067" y="1432608"/>
                </a:cubicBezTo>
                <a:lnTo>
                  <a:pt x="2580750" y="1337242"/>
                </a:lnTo>
                <a:cubicBezTo>
                  <a:pt x="2597579" y="1168948"/>
                  <a:pt x="2569529" y="989433"/>
                  <a:pt x="2462943" y="809919"/>
                </a:cubicBezTo>
                <a:cubicBezTo>
                  <a:pt x="2584488" y="890327"/>
                  <a:pt x="2655548" y="740730"/>
                  <a:pt x="2737825" y="675283"/>
                </a:cubicBezTo>
                <a:cubicBezTo>
                  <a:pt x="2765874" y="636014"/>
                  <a:pt x="2810752" y="473330"/>
                  <a:pt x="2709775" y="434061"/>
                </a:cubicBezTo>
                <a:cubicBezTo>
                  <a:pt x="2797662" y="265766"/>
                  <a:pt x="2694817" y="131131"/>
                  <a:pt x="2625628" y="8625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701"/>
          </a:p>
        </p:txBody>
      </p:sp>
      <p:sp>
        <p:nvSpPr>
          <p:cNvPr id="51" name="Freeform 5">
            <a:extLst>
              <a:ext uri="{FF2B5EF4-FFF2-40B4-BE49-F238E27FC236}">
                <a16:creationId xmlns="" xmlns:a16="http://schemas.microsoft.com/office/drawing/2014/main" id="{F3BB551A-C5EC-49C4-933B-343C199F0412}"/>
              </a:ext>
            </a:extLst>
          </p:cNvPr>
          <p:cNvSpPr/>
          <p:nvPr/>
        </p:nvSpPr>
        <p:spPr>
          <a:xfrm flipH="1">
            <a:off x="7312223" y="3433428"/>
            <a:ext cx="701823" cy="1165708"/>
          </a:xfrm>
          <a:custGeom>
            <a:avLst/>
            <a:gdLst>
              <a:gd name="connsiteX0" fmla="*/ 920010 w 1997094"/>
              <a:gd name="connsiteY0" fmla="*/ 0 h 3410768"/>
              <a:gd name="connsiteX1" fmla="*/ 779764 w 1997094"/>
              <a:gd name="connsiteY1" fmla="*/ 117807 h 3410768"/>
              <a:gd name="connsiteX2" fmla="*/ 751715 w 1997094"/>
              <a:gd name="connsiteY2" fmla="*/ 224393 h 3410768"/>
              <a:gd name="connsiteX3" fmla="*/ 656348 w 1997094"/>
              <a:gd name="connsiteY3" fmla="*/ 403907 h 3410768"/>
              <a:gd name="connsiteX4" fmla="*/ 656348 w 1997094"/>
              <a:gd name="connsiteY4" fmla="*/ 460005 h 3410768"/>
              <a:gd name="connsiteX5" fmla="*/ 673178 w 1997094"/>
              <a:gd name="connsiteY5" fmla="*/ 544153 h 3410768"/>
              <a:gd name="connsiteX6" fmla="*/ 448785 w 1997094"/>
              <a:gd name="connsiteY6" fmla="*/ 656349 h 3410768"/>
              <a:gd name="connsiteX7" fmla="*/ 263661 w 1997094"/>
              <a:gd name="connsiteY7" fmla="*/ 673178 h 3410768"/>
              <a:gd name="connsiteX8" fmla="*/ 218783 w 1997094"/>
              <a:gd name="connsiteY8" fmla="*/ 948059 h 3410768"/>
              <a:gd name="connsiteX9" fmla="*/ 168294 w 1997094"/>
              <a:gd name="connsiteY9" fmla="*/ 1082695 h 3410768"/>
              <a:gd name="connsiteX10" fmla="*/ 72927 w 1997094"/>
              <a:gd name="connsiteY10" fmla="*/ 1211721 h 3410768"/>
              <a:gd name="connsiteX11" fmla="*/ 0 w 1997094"/>
              <a:gd name="connsiteY11" fmla="*/ 1346356 h 3410768"/>
              <a:gd name="connsiteX12" fmla="*/ 134635 w 1997094"/>
              <a:gd name="connsiteY12" fmla="*/ 1705384 h 3410768"/>
              <a:gd name="connsiteX13" fmla="*/ 241222 w 1997094"/>
              <a:gd name="connsiteY13" fmla="*/ 1778312 h 3410768"/>
              <a:gd name="connsiteX14" fmla="*/ 291710 w 1997094"/>
              <a:gd name="connsiteY14" fmla="*/ 1744653 h 3410768"/>
              <a:gd name="connsiteX15" fmla="*/ 336589 w 1997094"/>
              <a:gd name="connsiteY15" fmla="*/ 1800751 h 3410768"/>
              <a:gd name="connsiteX16" fmla="*/ 370248 w 1997094"/>
              <a:gd name="connsiteY16" fmla="*/ 3141497 h 3410768"/>
              <a:gd name="connsiteX17" fmla="*/ 426346 w 1997094"/>
              <a:gd name="connsiteY17" fmla="*/ 3141497 h 3410768"/>
              <a:gd name="connsiteX18" fmla="*/ 431956 w 1997094"/>
              <a:gd name="connsiteY18" fmla="*/ 2423441 h 3410768"/>
              <a:gd name="connsiteX19" fmla="*/ 510493 w 1997094"/>
              <a:gd name="connsiteY19" fmla="*/ 2440270 h 3410768"/>
              <a:gd name="connsiteX20" fmla="*/ 493664 w 1997094"/>
              <a:gd name="connsiteY20" fmla="*/ 2928324 h 3410768"/>
              <a:gd name="connsiteX21" fmla="*/ 549762 w 1997094"/>
              <a:gd name="connsiteY21" fmla="*/ 2928324 h 3410768"/>
              <a:gd name="connsiteX22" fmla="*/ 594640 w 1997094"/>
              <a:gd name="connsiteY22" fmla="*/ 2457100 h 3410768"/>
              <a:gd name="connsiteX23" fmla="*/ 964888 w 1997094"/>
              <a:gd name="connsiteY23" fmla="*/ 2462710 h 3410768"/>
              <a:gd name="connsiteX24" fmla="*/ 970498 w 1997094"/>
              <a:gd name="connsiteY24" fmla="*/ 2866616 h 3410768"/>
              <a:gd name="connsiteX25" fmla="*/ 1026596 w 1997094"/>
              <a:gd name="connsiteY25" fmla="*/ 2877836 h 3410768"/>
              <a:gd name="connsiteX26" fmla="*/ 1020986 w 1997094"/>
              <a:gd name="connsiteY26" fmla="*/ 3051740 h 3410768"/>
              <a:gd name="connsiteX27" fmla="*/ 1009767 w 1997094"/>
              <a:gd name="connsiteY27" fmla="*/ 3175156 h 3410768"/>
              <a:gd name="connsiteX28" fmla="*/ 1004157 w 1997094"/>
              <a:gd name="connsiteY28" fmla="*/ 3365890 h 3410768"/>
              <a:gd name="connsiteX29" fmla="*/ 1217330 w 1997094"/>
              <a:gd name="connsiteY29" fmla="*/ 3410768 h 3410768"/>
              <a:gd name="connsiteX30" fmla="*/ 1234159 w 1997094"/>
              <a:gd name="connsiteY30" fmla="*/ 3248084 h 3410768"/>
              <a:gd name="connsiteX31" fmla="*/ 1211720 w 1997094"/>
              <a:gd name="connsiteY31" fmla="*/ 3040521 h 3410768"/>
              <a:gd name="connsiteX32" fmla="*/ 1234159 w 1997094"/>
              <a:gd name="connsiteY32" fmla="*/ 2883446 h 3410768"/>
              <a:gd name="connsiteX33" fmla="*/ 1239769 w 1997094"/>
              <a:gd name="connsiteY33" fmla="*/ 2614175 h 3410768"/>
              <a:gd name="connsiteX34" fmla="*/ 1301477 w 1997094"/>
              <a:gd name="connsiteY34" fmla="*/ 2586126 h 3410768"/>
              <a:gd name="connsiteX35" fmla="*/ 1284648 w 1997094"/>
              <a:gd name="connsiteY35" fmla="*/ 2417831 h 3410768"/>
              <a:gd name="connsiteX36" fmla="*/ 1351965 w 1997094"/>
              <a:gd name="connsiteY36" fmla="*/ 2608565 h 3410768"/>
              <a:gd name="connsiteX37" fmla="*/ 1380014 w 1997094"/>
              <a:gd name="connsiteY37" fmla="*/ 3119058 h 3410768"/>
              <a:gd name="connsiteX38" fmla="*/ 1447332 w 1997094"/>
              <a:gd name="connsiteY38" fmla="*/ 3091009 h 3410768"/>
              <a:gd name="connsiteX39" fmla="*/ 1419283 w 1997094"/>
              <a:gd name="connsiteY39" fmla="*/ 2625394 h 3410768"/>
              <a:gd name="connsiteX40" fmla="*/ 1469772 w 1997094"/>
              <a:gd name="connsiteY40" fmla="*/ 2636614 h 3410768"/>
              <a:gd name="connsiteX41" fmla="*/ 1480991 w 1997094"/>
              <a:gd name="connsiteY41" fmla="*/ 3292962 h 3410768"/>
              <a:gd name="connsiteX42" fmla="*/ 1531479 w 1997094"/>
              <a:gd name="connsiteY42" fmla="*/ 3276133 h 3410768"/>
              <a:gd name="connsiteX43" fmla="*/ 1553919 w 1997094"/>
              <a:gd name="connsiteY43" fmla="*/ 2821738 h 3410768"/>
              <a:gd name="connsiteX44" fmla="*/ 1604407 w 1997094"/>
              <a:gd name="connsiteY44" fmla="*/ 2961983 h 3410768"/>
              <a:gd name="connsiteX45" fmla="*/ 1952216 w 1997094"/>
              <a:gd name="connsiteY45" fmla="*/ 2771249 h 3410768"/>
              <a:gd name="connsiteX46" fmla="*/ 1997094 w 1997094"/>
              <a:gd name="connsiteY46" fmla="*/ 2653443 h 3410768"/>
              <a:gd name="connsiteX47" fmla="*/ 1823190 w 1997094"/>
              <a:gd name="connsiteY47" fmla="*/ 2642224 h 3410768"/>
              <a:gd name="connsiteX48" fmla="*/ 1694164 w 1997094"/>
              <a:gd name="connsiteY48" fmla="*/ 2546857 h 3410768"/>
              <a:gd name="connsiteX49" fmla="*/ 1621237 w 1997094"/>
              <a:gd name="connsiteY49" fmla="*/ 2451490 h 3410768"/>
              <a:gd name="connsiteX50" fmla="*/ 1694164 w 1997094"/>
              <a:gd name="connsiteY50" fmla="*/ 2328074 h 3410768"/>
              <a:gd name="connsiteX51" fmla="*/ 1514650 w 1997094"/>
              <a:gd name="connsiteY51" fmla="*/ 2030754 h 3410768"/>
              <a:gd name="connsiteX52" fmla="*/ 1531479 w 1997094"/>
              <a:gd name="connsiteY52" fmla="*/ 1610018 h 3410768"/>
              <a:gd name="connsiteX53" fmla="*/ 1301477 w 1997094"/>
              <a:gd name="connsiteY53" fmla="*/ 1615627 h 3410768"/>
              <a:gd name="connsiteX54" fmla="*/ 1323916 w 1997094"/>
              <a:gd name="connsiteY54" fmla="*/ 1486602 h 3410768"/>
              <a:gd name="connsiteX55" fmla="*/ 1262208 w 1997094"/>
              <a:gd name="connsiteY55" fmla="*/ 1301478 h 3410768"/>
              <a:gd name="connsiteX56" fmla="*/ 1301477 w 1997094"/>
              <a:gd name="connsiteY56" fmla="*/ 1228550 h 3410768"/>
              <a:gd name="connsiteX57" fmla="*/ 1234159 w 1997094"/>
              <a:gd name="connsiteY57" fmla="*/ 1043426 h 3410768"/>
              <a:gd name="connsiteX58" fmla="*/ 1250989 w 1997094"/>
              <a:gd name="connsiteY58" fmla="*/ 847083 h 3410768"/>
              <a:gd name="connsiteX59" fmla="*/ 970498 w 1997094"/>
              <a:gd name="connsiteY59" fmla="*/ 712447 h 3410768"/>
              <a:gd name="connsiteX60" fmla="*/ 1015376 w 1997094"/>
              <a:gd name="connsiteY60" fmla="*/ 622690 h 3410768"/>
              <a:gd name="connsiteX61" fmla="*/ 1150012 w 1997094"/>
              <a:gd name="connsiteY61" fmla="*/ 482445 h 3410768"/>
              <a:gd name="connsiteX62" fmla="*/ 1166841 w 1997094"/>
              <a:gd name="connsiteY62" fmla="*/ 314150 h 3410768"/>
              <a:gd name="connsiteX63" fmla="*/ 1161232 w 1997094"/>
              <a:gd name="connsiteY63" fmla="*/ 196344 h 3410768"/>
              <a:gd name="connsiteX64" fmla="*/ 1065865 w 1997094"/>
              <a:gd name="connsiteY64" fmla="*/ 117807 h 3410768"/>
              <a:gd name="connsiteX65" fmla="*/ 998547 w 1997094"/>
              <a:gd name="connsiteY65" fmla="*/ 72928 h 3410768"/>
              <a:gd name="connsiteX66" fmla="*/ 920010 w 1997094"/>
              <a:gd name="connsiteY66" fmla="*/ 0 h 3410768"/>
              <a:gd name="connsiteX0" fmla="*/ 920010 w 1997094"/>
              <a:gd name="connsiteY0" fmla="*/ 0 h 3410768"/>
              <a:gd name="connsiteX1" fmla="*/ 779764 w 1997094"/>
              <a:gd name="connsiteY1" fmla="*/ 117807 h 3410768"/>
              <a:gd name="connsiteX2" fmla="*/ 751715 w 1997094"/>
              <a:gd name="connsiteY2" fmla="*/ 224393 h 3410768"/>
              <a:gd name="connsiteX3" fmla="*/ 656348 w 1997094"/>
              <a:gd name="connsiteY3" fmla="*/ 403907 h 3410768"/>
              <a:gd name="connsiteX4" fmla="*/ 656348 w 1997094"/>
              <a:gd name="connsiteY4" fmla="*/ 460005 h 3410768"/>
              <a:gd name="connsiteX5" fmla="*/ 673178 w 1997094"/>
              <a:gd name="connsiteY5" fmla="*/ 544153 h 3410768"/>
              <a:gd name="connsiteX6" fmla="*/ 448785 w 1997094"/>
              <a:gd name="connsiteY6" fmla="*/ 656349 h 3410768"/>
              <a:gd name="connsiteX7" fmla="*/ 263661 w 1997094"/>
              <a:gd name="connsiteY7" fmla="*/ 673178 h 3410768"/>
              <a:gd name="connsiteX8" fmla="*/ 218783 w 1997094"/>
              <a:gd name="connsiteY8" fmla="*/ 948059 h 3410768"/>
              <a:gd name="connsiteX9" fmla="*/ 168294 w 1997094"/>
              <a:gd name="connsiteY9" fmla="*/ 1082695 h 3410768"/>
              <a:gd name="connsiteX10" fmla="*/ 72927 w 1997094"/>
              <a:gd name="connsiteY10" fmla="*/ 1211721 h 3410768"/>
              <a:gd name="connsiteX11" fmla="*/ 0 w 1997094"/>
              <a:gd name="connsiteY11" fmla="*/ 1346356 h 3410768"/>
              <a:gd name="connsiteX12" fmla="*/ 134635 w 1997094"/>
              <a:gd name="connsiteY12" fmla="*/ 1705384 h 3410768"/>
              <a:gd name="connsiteX13" fmla="*/ 241222 w 1997094"/>
              <a:gd name="connsiteY13" fmla="*/ 1778312 h 3410768"/>
              <a:gd name="connsiteX14" fmla="*/ 291710 w 1997094"/>
              <a:gd name="connsiteY14" fmla="*/ 1744653 h 3410768"/>
              <a:gd name="connsiteX15" fmla="*/ 336589 w 1997094"/>
              <a:gd name="connsiteY15" fmla="*/ 1800751 h 3410768"/>
              <a:gd name="connsiteX16" fmla="*/ 370248 w 1997094"/>
              <a:gd name="connsiteY16" fmla="*/ 3141497 h 3410768"/>
              <a:gd name="connsiteX17" fmla="*/ 426346 w 1997094"/>
              <a:gd name="connsiteY17" fmla="*/ 3141497 h 3410768"/>
              <a:gd name="connsiteX18" fmla="*/ 431956 w 1997094"/>
              <a:gd name="connsiteY18" fmla="*/ 2423441 h 3410768"/>
              <a:gd name="connsiteX19" fmla="*/ 482444 w 1997094"/>
              <a:gd name="connsiteY19" fmla="*/ 2434660 h 3410768"/>
              <a:gd name="connsiteX20" fmla="*/ 493664 w 1997094"/>
              <a:gd name="connsiteY20" fmla="*/ 2928324 h 3410768"/>
              <a:gd name="connsiteX21" fmla="*/ 549762 w 1997094"/>
              <a:gd name="connsiteY21" fmla="*/ 2928324 h 3410768"/>
              <a:gd name="connsiteX22" fmla="*/ 594640 w 1997094"/>
              <a:gd name="connsiteY22" fmla="*/ 2457100 h 3410768"/>
              <a:gd name="connsiteX23" fmla="*/ 964888 w 1997094"/>
              <a:gd name="connsiteY23" fmla="*/ 2462710 h 3410768"/>
              <a:gd name="connsiteX24" fmla="*/ 970498 w 1997094"/>
              <a:gd name="connsiteY24" fmla="*/ 2866616 h 3410768"/>
              <a:gd name="connsiteX25" fmla="*/ 1026596 w 1997094"/>
              <a:gd name="connsiteY25" fmla="*/ 2877836 h 3410768"/>
              <a:gd name="connsiteX26" fmla="*/ 1020986 w 1997094"/>
              <a:gd name="connsiteY26" fmla="*/ 3051740 h 3410768"/>
              <a:gd name="connsiteX27" fmla="*/ 1009767 w 1997094"/>
              <a:gd name="connsiteY27" fmla="*/ 3175156 h 3410768"/>
              <a:gd name="connsiteX28" fmla="*/ 1004157 w 1997094"/>
              <a:gd name="connsiteY28" fmla="*/ 3365890 h 3410768"/>
              <a:gd name="connsiteX29" fmla="*/ 1217330 w 1997094"/>
              <a:gd name="connsiteY29" fmla="*/ 3410768 h 3410768"/>
              <a:gd name="connsiteX30" fmla="*/ 1234159 w 1997094"/>
              <a:gd name="connsiteY30" fmla="*/ 3248084 h 3410768"/>
              <a:gd name="connsiteX31" fmla="*/ 1211720 w 1997094"/>
              <a:gd name="connsiteY31" fmla="*/ 3040521 h 3410768"/>
              <a:gd name="connsiteX32" fmla="*/ 1234159 w 1997094"/>
              <a:gd name="connsiteY32" fmla="*/ 2883446 h 3410768"/>
              <a:gd name="connsiteX33" fmla="*/ 1239769 w 1997094"/>
              <a:gd name="connsiteY33" fmla="*/ 2614175 h 3410768"/>
              <a:gd name="connsiteX34" fmla="*/ 1301477 w 1997094"/>
              <a:gd name="connsiteY34" fmla="*/ 2586126 h 3410768"/>
              <a:gd name="connsiteX35" fmla="*/ 1284648 w 1997094"/>
              <a:gd name="connsiteY35" fmla="*/ 2417831 h 3410768"/>
              <a:gd name="connsiteX36" fmla="*/ 1351965 w 1997094"/>
              <a:gd name="connsiteY36" fmla="*/ 2608565 h 3410768"/>
              <a:gd name="connsiteX37" fmla="*/ 1380014 w 1997094"/>
              <a:gd name="connsiteY37" fmla="*/ 3119058 h 3410768"/>
              <a:gd name="connsiteX38" fmla="*/ 1447332 w 1997094"/>
              <a:gd name="connsiteY38" fmla="*/ 3091009 h 3410768"/>
              <a:gd name="connsiteX39" fmla="*/ 1419283 w 1997094"/>
              <a:gd name="connsiteY39" fmla="*/ 2625394 h 3410768"/>
              <a:gd name="connsiteX40" fmla="*/ 1469772 w 1997094"/>
              <a:gd name="connsiteY40" fmla="*/ 2636614 h 3410768"/>
              <a:gd name="connsiteX41" fmla="*/ 1480991 w 1997094"/>
              <a:gd name="connsiteY41" fmla="*/ 3292962 h 3410768"/>
              <a:gd name="connsiteX42" fmla="*/ 1531479 w 1997094"/>
              <a:gd name="connsiteY42" fmla="*/ 3276133 h 3410768"/>
              <a:gd name="connsiteX43" fmla="*/ 1553919 w 1997094"/>
              <a:gd name="connsiteY43" fmla="*/ 2821738 h 3410768"/>
              <a:gd name="connsiteX44" fmla="*/ 1604407 w 1997094"/>
              <a:gd name="connsiteY44" fmla="*/ 2961983 h 3410768"/>
              <a:gd name="connsiteX45" fmla="*/ 1952216 w 1997094"/>
              <a:gd name="connsiteY45" fmla="*/ 2771249 h 3410768"/>
              <a:gd name="connsiteX46" fmla="*/ 1997094 w 1997094"/>
              <a:gd name="connsiteY46" fmla="*/ 2653443 h 3410768"/>
              <a:gd name="connsiteX47" fmla="*/ 1823190 w 1997094"/>
              <a:gd name="connsiteY47" fmla="*/ 2642224 h 3410768"/>
              <a:gd name="connsiteX48" fmla="*/ 1694164 w 1997094"/>
              <a:gd name="connsiteY48" fmla="*/ 2546857 h 3410768"/>
              <a:gd name="connsiteX49" fmla="*/ 1621237 w 1997094"/>
              <a:gd name="connsiteY49" fmla="*/ 2451490 h 3410768"/>
              <a:gd name="connsiteX50" fmla="*/ 1694164 w 1997094"/>
              <a:gd name="connsiteY50" fmla="*/ 2328074 h 3410768"/>
              <a:gd name="connsiteX51" fmla="*/ 1514650 w 1997094"/>
              <a:gd name="connsiteY51" fmla="*/ 2030754 h 3410768"/>
              <a:gd name="connsiteX52" fmla="*/ 1531479 w 1997094"/>
              <a:gd name="connsiteY52" fmla="*/ 1610018 h 3410768"/>
              <a:gd name="connsiteX53" fmla="*/ 1301477 w 1997094"/>
              <a:gd name="connsiteY53" fmla="*/ 1615627 h 3410768"/>
              <a:gd name="connsiteX54" fmla="*/ 1323916 w 1997094"/>
              <a:gd name="connsiteY54" fmla="*/ 1486602 h 3410768"/>
              <a:gd name="connsiteX55" fmla="*/ 1262208 w 1997094"/>
              <a:gd name="connsiteY55" fmla="*/ 1301478 h 3410768"/>
              <a:gd name="connsiteX56" fmla="*/ 1301477 w 1997094"/>
              <a:gd name="connsiteY56" fmla="*/ 1228550 h 3410768"/>
              <a:gd name="connsiteX57" fmla="*/ 1234159 w 1997094"/>
              <a:gd name="connsiteY57" fmla="*/ 1043426 h 3410768"/>
              <a:gd name="connsiteX58" fmla="*/ 1250989 w 1997094"/>
              <a:gd name="connsiteY58" fmla="*/ 847083 h 3410768"/>
              <a:gd name="connsiteX59" fmla="*/ 970498 w 1997094"/>
              <a:gd name="connsiteY59" fmla="*/ 712447 h 3410768"/>
              <a:gd name="connsiteX60" fmla="*/ 1015376 w 1997094"/>
              <a:gd name="connsiteY60" fmla="*/ 622690 h 3410768"/>
              <a:gd name="connsiteX61" fmla="*/ 1150012 w 1997094"/>
              <a:gd name="connsiteY61" fmla="*/ 482445 h 3410768"/>
              <a:gd name="connsiteX62" fmla="*/ 1166841 w 1997094"/>
              <a:gd name="connsiteY62" fmla="*/ 314150 h 3410768"/>
              <a:gd name="connsiteX63" fmla="*/ 1161232 w 1997094"/>
              <a:gd name="connsiteY63" fmla="*/ 196344 h 3410768"/>
              <a:gd name="connsiteX64" fmla="*/ 1065865 w 1997094"/>
              <a:gd name="connsiteY64" fmla="*/ 117807 h 3410768"/>
              <a:gd name="connsiteX65" fmla="*/ 998547 w 1997094"/>
              <a:gd name="connsiteY65" fmla="*/ 72928 h 3410768"/>
              <a:gd name="connsiteX66" fmla="*/ 920010 w 1997094"/>
              <a:gd name="connsiteY66" fmla="*/ 0 h 3410768"/>
              <a:gd name="connsiteX0" fmla="*/ 920010 w 1997094"/>
              <a:gd name="connsiteY0" fmla="*/ 0 h 3410768"/>
              <a:gd name="connsiteX1" fmla="*/ 779764 w 1997094"/>
              <a:gd name="connsiteY1" fmla="*/ 117807 h 3410768"/>
              <a:gd name="connsiteX2" fmla="*/ 751715 w 1997094"/>
              <a:gd name="connsiteY2" fmla="*/ 224393 h 3410768"/>
              <a:gd name="connsiteX3" fmla="*/ 656348 w 1997094"/>
              <a:gd name="connsiteY3" fmla="*/ 403907 h 3410768"/>
              <a:gd name="connsiteX4" fmla="*/ 656348 w 1997094"/>
              <a:gd name="connsiteY4" fmla="*/ 460005 h 3410768"/>
              <a:gd name="connsiteX5" fmla="*/ 673178 w 1997094"/>
              <a:gd name="connsiteY5" fmla="*/ 544153 h 3410768"/>
              <a:gd name="connsiteX6" fmla="*/ 448785 w 1997094"/>
              <a:gd name="connsiteY6" fmla="*/ 656349 h 3410768"/>
              <a:gd name="connsiteX7" fmla="*/ 263661 w 1997094"/>
              <a:gd name="connsiteY7" fmla="*/ 673178 h 3410768"/>
              <a:gd name="connsiteX8" fmla="*/ 218783 w 1997094"/>
              <a:gd name="connsiteY8" fmla="*/ 948059 h 3410768"/>
              <a:gd name="connsiteX9" fmla="*/ 168294 w 1997094"/>
              <a:gd name="connsiteY9" fmla="*/ 1082695 h 3410768"/>
              <a:gd name="connsiteX10" fmla="*/ 72927 w 1997094"/>
              <a:gd name="connsiteY10" fmla="*/ 1211721 h 3410768"/>
              <a:gd name="connsiteX11" fmla="*/ 0 w 1997094"/>
              <a:gd name="connsiteY11" fmla="*/ 1346356 h 3410768"/>
              <a:gd name="connsiteX12" fmla="*/ 134635 w 1997094"/>
              <a:gd name="connsiteY12" fmla="*/ 1705384 h 3410768"/>
              <a:gd name="connsiteX13" fmla="*/ 241222 w 1997094"/>
              <a:gd name="connsiteY13" fmla="*/ 1778312 h 3410768"/>
              <a:gd name="connsiteX14" fmla="*/ 291710 w 1997094"/>
              <a:gd name="connsiteY14" fmla="*/ 1744653 h 3410768"/>
              <a:gd name="connsiteX15" fmla="*/ 336589 w 1997094"/>
              <a:gd name="connsiteY15" fmla="*/ 1800751 h 3410768"/>
              <a:gd name="connsiteX16" fmla="*/ 370248 w 1997094"/>
              <a:gd name="connsiteY16" fmla="*/ 3141497 h 3410768"/>
              <a:gd name="connsiteX17" fmla="*/ 426346 w 1997094"/>
              <a:gd name="connsiteY17" fmla="*/ 3141497 h 3410768"/>
              <a:gd name="connsiteX18" fmla="*/ 431956 w 1997094"/>
              <a:gd name="connsiteY18" fmla="*/ 2423441 h 3410768"/>
              <a:gd name="connsiteX19" fmla="*/ 482444 w 1997094"/>
              <a:gd name="connsiteY19" fmla="*/ 2434660 h 3410768"/>
              <a:gd name="connsiteX20" fmla="*/ 493664 w 1997094"/>
              <a:gd name="connsiteY20" fmla="*/ 2928324 h 3410768"/>
              <a:gd name="connsiteX21" fmla="*/ 549762 w 1997094"/>
              <a:gd name="connsiteY21" fmla="*/ 2928324 h 3410768"/>
              <a:gd name="connsiteX22" fmla="*/ 572201 w 1997094"/>
              <a:gd name="connsiteY22" fmla="*/ 2457100 h 3410768"/>
              <a:gd name="connsiteX23" fmla="*/ 964888 w 1997094"/>
              <a:gd name="connsiteY23" fmla="*/ 2462710 h 3410768"/>
              <a:gd name="connsiteX24" fmla="*/ 970498 w 1997094"/>
              <a:gd name="connsiteY24" fmla="*/ 2866616 h 3410768"/>
              <a:gd name="connsiteX25" fmla="*/ 1026596 w 1997094"/>
              <a:gd name="connsiteY25" fmla="*/ 2877836 h 3410768"/>
              <a:gd name="connsiteX26" fmla="*/ 1020986 w 1997094"/>
              <a:gd name="connsiteY26" fmla="*/ 3051740 h 3410768"/>
              <a:gd name="connsiteX27" fmla="*/ 1009767 w 1997094"/>
              <a:gd name="connsiteY27" fmla="*/ 3175156 h 3410768"/>
              <a:gd name="connsiteX28" fmla="*/ 1004157 w 1997094"/>
              <a:gd name="connsiteY28" fmla="*/ 3365890 h 3410768"/>
              <a:gd name="connsiteX29" fmla="*/ 1217330 w 1997094"/>
              <a:gd name="connsiteY29" fmla="*/ 3410768 h 3410768"/>
              <a:gd name="connsiteX30" fmla="*/ 1234159 w 1997094"/>
              <a:gd name="connsiteY30" fmla="*/ 3248084 h 3410768"/>
              <a:gd name="connsiteX31" fmla="*/ 1211720 w 1997094"/>
              <a:gd name="connsiteY31" fmla="*/ 3040521 h 3410768"/>
              <a:gd name="connsiteX32" fmla="*/ 1234159 w 1997094"/>
              <a:gd name="connsiteY32" fmla="*/ 2883446 h 3410768"/>
              <a:gd name="connsiteX33" fmla="*/ 1239769 w 1997094"/>
              <a:gd name="connsiteY33" fmla="*/ 2614175 h 3410768"/>
              <a:gd name="connsiteX34" fmla="*/ 1301477 w 1997094"/>
              <a:gd name="connsiteY34" fmla="*/ 2586126 h 3410768"/>
              <a:gd name="connsiteX35" fmla="*/ 1284648 w 1997094"/>
              <a:gd name="connsiteY35" fmla="*/ 2417831 h 3410768"/>
              <a:gd name="connsiteX36" fmla="*/ 1351965 w 1997094"/>
              <a:gd name="connsiteY36" fmla="*/ 2608565 h 3410768"/>
              <a:gd name="connsiteX37" fmla="*/ 1380014 w 1997094"/>
              <a:gd name="connsiteY37" fmla="*/ 3119058 h 3410768"/>
              <a:gd name="connsiteX38" fmla="*/ 1447332 w 1997094"/>
              <a:gd name="connsiteY38" fmla="*/ 3091009 h 3410768"/>
              <a:gd name="connsiteX39" fmla="*/ 1419283 w 1997094"/>
              <a:gd name="connsiteY39" fmla="*/ 2625394 h 3410768"/>
              <a:gd name="connsiteX40" fmla="*/ 1469772 w 1997094"/>
              <a:gd name="connsiteY40" fmla="*/ 2636614 h 3410768"/>
              <a:gd name="connsiteX41" fmla="*/ 1480991 w 1997094"/>
              <a:gd name="connsiteY41" fmla="*/ 3292962 h 3410768"/>
              <a:gd name="connsiteX42" fmla="*/ 1531479 w 1997094"/>
              <a:gd name="connsiteY42" fmla="*/ 3276133 h 3410768"/>
              <a:gd name="connsiteX43" fmla="*/ 1553919 w 1997094"/>
              <a:gd name="connsiteY43" fmla="*/ 2821738 h 3410768"/>
              <a:gd name="connsiteX44" fmla="*/ 1604407 w 1997094"/>
              <a:gd name="connsiteY44" fmla="*/ 2961983 h 3410768"/>
              <a:gd name="connsiteX45" fmla="*/ 1952216 w 1997094"/>
              <a:gd name="connsiteY45" fmla="*/ 2771249 h 3410768"/>
              <a:gd name="connsiteX46" fmla="*/ 1997094 w 1997094"/>
              <a:gd name="connsiteY46" fmla="*/ 2653443 h 3410768"/>
              <a:gd name="connsiteX47" fmla="*/ 1823190 w 1997094"/>
              <a:gd name="connsiteY47" fmla="*/ 2642224 h 3410768"/>
              <a:gd name="connsiteX48" fmla="*/ 1694164 w 1997094"/>
              <a:gd name="connsiteY48" fmla="*/ 2546857 h 3410768"/>
              <a:gd name="connsiteX49" fmla="*/ 1621237 w 1997094"/>
              <a:gd name="connsiteY49" fmla="*/ 2451490 h 3410768"/>
              <a:gd name="connsiteX50" fmla="*/ 1694164 w 1997094"/>
              <a:gd name="connsiteY50" fmla="*/ 2328074 h 3410768"/>
              <a:gd name="connsiteX51" fmla="*/ 1514650 w 1997094"/>
              <a:gd name="connsiteY51" fmla="*/ 2030754 h 3410768"/>
              <a:gd name="connsiteX52" fmla="*/ 1531479 w 1997094"/>
              <a:gd name="connsiteY52" fmla="*/ 1610018 h 3410768"/>
              <a:gd name="connsiteX53" fmla="*/ 1301477 w 1997094"/>
              <a:gd name="connsiteY53" fmla="*/ 1615627 h 3410768"/>
              <a:gd name="connsiteX54" fmla="*/ 1323916 w 1997094"/>
              <a:gd name="connsiteY54" fmla="*/ 1486602 h 3410768"/>
              <a:gd name="connsiteX55" fmla="*/ 1262208 w 1997094"/>
              <a:gd name="connsiteY55" fmla="*/ 1301478 h 3410768"/>
              <a:gd name="connsiteX56" fmla="*/ 1301477 w 1997094"/>
              <a:gd name="connsiteY56" fmla="*/ 1228550 h 3410768"/>
              <a:gd name="connsiteX57" fmla="*/ 1234159 w 1997094"/>
              <a:gd name="connsiteY57" fmla="*/ 1043426 h 3410768"/>
              <a:gd name="connsiteX58" fmla="*/ 1250989 w 1997094"/>
              <a:gd name="connsiteY58" fmla="*/ 847083 h 3410768"/>
              <a:gd name="connsiteX59" fmla="*/ 970498 w 1997094"/>
              <a:gd name="connsiteY59" fmla="*/ 712447 h 3410768"/>
              <a:gd name="connsiteX60" fmla="*/ 1015376 w 1997094"/>
              <a:gd name="connsiteY60" fmla="*/ 622690 h 3410768"/>
              <a:gd name="connsiteX61" fmla="*/ 1150012 w 1997094"/>
              <a:gd name="connsiteY61" fmla="*/ 482445 h 3410768"/>
              <a:gd name="connsiteX62" fmla="*/ 1166841 w 1997094"/>
              <a:gd name="connsiteY62" fmla="*/ 314150 h 3410768"/>
              <a:gd name="connsiteX63" fmla="*/ 1161232 w 1997094"/>
              <a:gd name="connsiteY63" fmla="*/ 196344 h 3410768"/>
              <a:gd name="connsiteX64" fmla="*/ 1065865 w 1997094"/>
              <a:gd name="connsiteY64" fmla="*/ 117807 h 3410768"/>
              <a:gd name="connsiteX65" fmla="*/ 998547 w 1997094"/>
              <a:gd name="connsiteY65" fmla="*/ 72928 h 3410768"/>
              <a:gd name="connsiteX66" fmla="*/ 920010 w 1997094"/>
              <a:gd name="connsiteY66" fmla="*/ 0 h 3410768"/>
              <a:gd name="connsiteX0" fmla="*/ 920010 w 1997094"/>
              <a:gd name="connsiteY0" fmla="*/ 0 h 3410768"/>
              <a:gd name="connsiteX1" fmla="*/ 779764 w 1997094"/>
              <a:gd name="connsiteY1" fmla="*/ 117807 h 3410768"/>
              <a:gd name="connsiteX2" fmla="*/ 751715 w 1997094"/>
              <a:gd name="connsiteY2" fmla="*/ 224393 h 3410768"/>
              <a:gd name="connsiteX3" fmla="*/ 656348 w 1997094"/>
              <a:gd name="connsiteY3" fmla="*/ 403907 h 3410768"/>
              <a:gd name="connsiteX4" fmla="*/ 656348 w 1997094"/>
              <a:gd name="connsiteY4" fmla="*/ 460005 h 3410768"/>
              <a:gd name="connsiteX5" fmla="*/ 673178 w 1997094"/>
              <a:gd name="connsiteY5" fmla="*/ 544153 h 3410768"/>
              <a:gd name="connsiteX6" fmla="*/ 448785 w 1997094"/>
              <a:gd name="connsiteY6" fmla="*/ 656349 h 3410768"/>
              <a:gd name="connsiteX7" fmla="*/ 263661 w 1997094"/>
              <a:gd name="connsiteY7" fmla="*/ 673178 h 3410768"/>
              <a:gd name="connsiteX8" fmla="*/ 218783 w 1997094"/>
              <a:gd name="connsiteY8" fmla="*/ 948059 h 3410768"/>
              <a:gd name="connsiteX9" fmla="*/ 168294 w 1997094"/>
              <a:gd name="connsiteY9" fmla="*/ 1082695 h 3410768"/>
              <a:gd name="connsiteX10" fmla="*/ 72927 w 1997094"/>
              <a:gd name="connsiteY10" fmla="*/ 1211721 h 3410768"/>
              <a:gd name="connsiteX11" fmla="*/ 0 w 1997094"/>
              <a:gd name="connsiteY11" fmla="*/ 1346356 h 3410768"/>
              <a:gd name="connsiteX12" fmla="*/ 134635 w 1997094"/>
              <a:gd name="connsiteY12" fmla="*/ 1705384 h 3410768"/>
              <a:gd name="connsiteX13" fmla="*/ 241222 w 1997094"/>
              <a:gd name="connsiteY13" fmla="*/ 1778312 h 3410768"/>
              <a:gd name="connsiteX14" fmla="*/ 291710 w 1997094"/>
              <a:gd name="connsiteY14" fmla="*/ 1744653 h 3410768"/>
              <a:gd name="connsiteX15" fmla="*/ 336589 w 1997094"/>
              <a:gd name="connsiteY15" fmla="*/ 1800751 h 3410768"/>
              <a:gd name="connsiteX16" fmla="*/ 370248 w 1997094"/>
              <a:gd name="connsiteY16" fmla="*/ 3141497 h 3410768"/>
              <a:gd name="connsiteX17" fmla="*/ 426346 w 1997094"/>
              <a:gd name="connsiteY17" fmla="*/ 3141497 h 3410768"/>
              <a:gd name="connsiteX18" fmla="*/ 431956 w 1997094"/>
              <a:gd name="connsiteY18" fmla="*/ 2423441 h 3410768"/>
              <a:gd name="connsiteX19" fmla="*/ 482444 w 1997094"/>
              <a:gd name="connsiteY19" fmla="*/ 2434660 h 3410768"/>
              <a:gd name="connsiteX20" fmla="*/ 493664 w 1997094"/>
              <a:gd name="connsiteY20" fmla="*/ 2928324 h 3410768"/>
              <a:gd name="connsiteX21" fmla="*/ 583421 w 1997094"/>
              <a:gd name="connsiteY21" fmla="*/ 2922714 h 3410768"/>
              <a:gd name="connsiteX22" fmla="*/ 572201 w 1997094"/>
              <a:gd name="connsiteY22" fmla="*/ 2457100 h 3410768"/>
              <a:gd name="connsiteX23" fmla="*/ 964888 w 1997094"/>
              <a:gd name="connsiteY23" fmla="*/ 2462710 h 3410768"/>
              <a:gd name="connsiteX24" fmla="*/ 970498 w 1997094"/>
              <a:gd name="connsiteY24" fmla="*/ 2866616 h 3410768"/>
              <a:gd name="connsiteX25" fmla="*/ 1026596 w 1997094"/>
              <a:gd name="connsiteY25" fmla="*/ 2877836 h 3410768"/>
              <a:gd name="connsiteX26" fmla="*/ 1020986 w 1997094"/>
              <a:gd name="connsiteY26" fmla="*/ 3051740 h 3410768"/>
              <a:gd name="connsiteX27" fmla="*/ 1009767 w 1997094"/>
              <a:gd name="connsiteY27" fmla="*/ 3175156 h 3410768"/>
              <a:gd name="connsiteX28" fmla="*/ 1004157 w 1997094"/>
              <a:gd name="connsiteY28" fmla="*/ 3365890 h 3410768"/>
              <a:gd name="connsiteX29" fmla="*/ 1217330 w 1997094"/>
              <a:gd name="connsiteY29" fmla="*/ 3410768 h 3410768"/>
              <a:gd name="connsiteX30" fmla="*/ 1234159 w 1997094"/>
              <a:gd name="connsiteY30" fmla="*/ 3248084 h 3410768"/>
              <a:gd name="connsiteX31" fmla="*/ 1211720 w 1997094"/>
              <a:gd name="connsiteY31" fmla="*/ 3040521 h 3410768"/>
              <a:gd name="connsiteX32" fmla="*/ 1234159 w 1997094"/>
              <a:gd name="connsiteY32" fmla="*/ 2883446 h 3410768"/>
              <a:gd name="connsiteX33" fmla="*/ 1239769 w 1997094"/>
              <a:gd name="connsiteY33" fmla="*/ 2614175 h 3410768"/>
              <a:gd name="connsiteX34" fmla="*/ 1301477 w 1997094"/>
              <a:gd name="connsiteY34" fmla="*/ 2586126 h 3410768"/>
              <a:gd name="connsiteX35" fmla="*/ 1284648 w 1997094"/>
              <a:gd name="connsiteY35" fmla="*/ 2417831 h 3410768"/>
              <a:gd name="connsiteX36" fmla="*/ 1351965 w 1997094"/>
              <a:gd name="connsiteY36" fmla="*/ 2608565 h 3410768"/>
              <a:gd name="connsiteX37" fmla="*/ 1380014 w 1997094"/>
              <a:gd name="connsiteY37" fmla="*/ 3119058 h 3410768"/>
              <a:gd name="connsiteX38" fmla="*/ 1447332 w 1997094"/>
              <a:gd name="connsiteY38" fmla="*/ 3091009 h 3410768"/>
              <a:gd name="connsiteX39" fmla="*/ 1419283 w 1997094"/>
              <a:gd name="connsiteY39" fmla="*/ 2625394 h 3410768"/>
              <a:gd name="connsiteX40" fmla="*/ 1469772 w 1997094"/>
              <a:gd name="connsiteY40" fmla="*/ 2636614 h 3410768"/>
              <a:gd name="connsiteX41" fmla="*/ 1480991 w 1997094"/>
              <a:gd name="connsiteY41" fmla="*/ 3292962 h 3410768"/>
              <a:gd name="connsiteX42" fmla="*/ 1531479 w 1997094"/>
              <a:gd name="connsiteY42" fmla="*/ 3276133 h 3410768"/>
              <a:gd name="connsiteX43" fmla="*/ 1553919 w 1997094"/>
              <a:gd name="connsiteY43" fmla="*/ 2821738 h 3410768"/>
              <a:gd name="connsiteX44" fmla="*/ 1604407 w 1997094"/>
              <a:gd name="connsiteY44" fmla="*/ 2961983 h 3410768"/>
              <a:gd name="connsiteX45" fmla="*/ 1952216 w 1997094"/>
              <a:gd name="connsiteY45" fmla="*/ 2771249 h 3410768"/>
              <a:gd name="connsiteX46" fmla="*/ 1997094 w 1997094"/>
              <a:gd name="connsiteY46" fmla="*/ 2653443 h 3410768"/>
              <a:gd name="connsiteX47" fmla="*/ 1823190 w 1997094"/>
              <a:gd name="connsiteY47" fmla="*/ 2642224 h 3410768"/>
              <a:gd name="connsiteX48" fmla="*/ 1694164 w 1997094"/>
              <a:gd name="connsiteY48" fmla="*/ 2546857 h 3410768"/>
              <a:gd name="connsiteX49" fmla="*/ 1621237 w 1997094"/>
              <a:gd name="connsiteY49" fmla="*/ 2451490 h 3410768"/>
              <a:gd name="connsiteX50" fmla="*/ 1694164 w 1997094"/>
              <a:gd name="connsiteY50" fmla="*/ 2328074 h 3410768"/>
              <a:gd name="connsiteX51" fmla="*/ 1514650 w 1997094"/>
              <a:gd name="connsiteY51" fmla="*/ 2030754 h 3410768"/>
              <a:gd name="connsiteX52" fmla="*/ 1531479 w 1997094"/>
              <a:gd name="connsiteY52" fmla="*/ 1610018 h 3410768"/>
              <a:gd name="connsiteX53" fmla="*/ 1301477 w 1997094"/>
              <a:gd name="connsiteY53" fmla="*/ 1615627 h 3410768"/>
              <a:gd name="connsiteX54" fmla="*/ 1323916 w 1997094"/>
              <a:gd name="connsiteY54" fmla="*/ 1486602 h 3410768"/>
              <a:gd name="connsiteX55" fmla="*/ 1262208 w 1997094"/>
              <a:gd name="connsiteY55" fmla="*/ 1301478 h 3410768"/>
              <a:gd name="connsiteX56" fmla="*/ 1301477 w 1997094"/>
              <a:gd name="connsiteY56" fmla="*/ 1228550 h 3410768"/>
              <a:gd name="connsiteX57" fmla="*/ 1234159 w 1997094"/>
              <a:gd name="connsiteY57" fmla="*/ 1043426 h 3410768"/>
              <a:gd name="connsiteX58" fmla="*/ 1250989 w 1997094"/>
              <a:gd name="connsiteY58" fmla="*/ 847083 h 3410768"/>
              <a:gd name="connsiteX59" fmla="*/ 970498 w 1997094"/>
              <a:gd name="connsiteY59" fmla="*/ 712447 h 3410768"/>
              <a:gd name="connsiteX60" fmla="*/ 1015376 w 1997094"/>
              <a:gd name="connsiteY60" fmla="*/ 622690 h 3410768"/>
              <a:gd name="connsiteX61" fmla="*/ 1150012 w 1997094"/>
              <a:gd name="connsiteY61" fmla="*/ 482445 h 3410768"/>
              <a:gd name="connsiteX62" fmla="*/ 1166841 w 1997094"/>
              <a:gd name="connsiteY62" fmla="*/ 314150 h 3410768"/>
              <a:gd name="connsiteX63" fmla="*/ 1161232 w 1997094"/>
              <a:gd name="connsiteY63" fmla="*/ 196344 h 3410768"/>
              <a:gd name="connsiteX64" fmla="*/ 1065865 w 1997094"/>
              <a:gd name="connsiteY64" fmla="*/ 117807 h 3410768"/>
              <a:gd name="connsiteX65" fmla="*/ 998547 w 1997094"/>
              <a:gd name="connsiteY65" fmla="*/ 72928 h 3410768"/>
              <a:gd name="connsiteX66" fmla="*/ 920010 w 1997094"/>
              <a:gd name="connsiteY66" fmla="*/ 0 h 3410768"/>
              <a:gd name="connsiteX0" fmla="*/ 920010 w 1997094"/>
              <a:gd name="connsiteY0" fmla="*/ 0 h 3410768"/>
              <a:gd name="connsiteX1" fmla="*/ 779764 w 1997094"/>
              <a:gd name="connsiteY1" fmla="*/ 117807 h 3410768"/>
              <a:gd name="connsiteX2" fmla="*/ 751715 w 1997094"/>
              <a:gd name="connsiteY2" fmla="*/ 224393 h 3410768"/>
              <a:gd name="connsiteX3" fmla="*/ 656348 w 1997094"/>
              <a:gd name="connsiteY3" fmla="*/ 403907 h 3410768"/>
              <a:gd name="connsiteX4" fmla="*/ 656348 w 1997094"/>
              <a:gd name="connsiteY4" fmla="*/ 460005 h 3410768"/>
              <a:gd name="connsiteX5" fmla="*/ 673178 w 1997094"/>
              <a:gd name="connsiteY5" fmla="*/ 544153 h 3410768"/>
              <a:gd name="connsiteX6" fmla="*/ 448785 w 1997094"/>
              <a:gd name="connsiteY6" fmla="*/ 656349 h 3410768"/>
              <a:gd name="connsiteX7" fmla="*/ 263661 w 1997094"/>
              <a:gd name="connsiteY7" fmla="*/ 673178 h 3410768"/>
              <a:gd name="connsiteX8" fmla="*/ 218783 w 1997094"/>
              <a:gd name="connsiteY8" fmla="*/ 948059 h 3410768"/>
              <a:gd name="connsiteX9" fmla="*/ 168294 w 1997094"/>
              <a:gd name="connsiteY9" fmla="*/ 1082695 h 3410768"/>
              <a:gd name="connsiteX10" fmla="*/ 72927 w 1997094"/>
              <a:gd name="connsiteY10" fmla="*/ 1211721 h 3410768"/>
              <a:gd name="connsiteX11" fmla="*/ 0 w 1997094"/>
              <a:gd name="connsiteY11" fmla="*/ 1346356 h 3410768"/>
              <a:gd name="connsiteX12" fmla="*/ 134635 w 1997094"/>
              <a:gd name="connsiteY12" fmla="*/ 1705384 h 3410768"/>
              <a:gd name="connsiteX13" fmla="*/ 241222 w 1997094"/>
              <a:gd name="connsiteY13" fmla="*/ 1778312 h 3410768"/>
              <a:gd name="connsiteX14" fmla="*/ 291710 w 1997094"/>
              <a:gd name="connsiteY14" fmla="*/ 1744653 h 3410768"/>
              <a:gd name="connsiteX15" fmla="*/ 336589 w 1997094"/>
              <a:gd name="connsiteY15" fmla="*/ 1800751 h 3410768"/>
              <a:gd name="connsiteX16" fmla="*/ 370248 w 1997094"/>
              <a:gd name="connsiteY16" fmla="*/ 3141497 h 3410768"/>
              <a:gd name="connsiteX17" fmla="*/ 426346 w 1997094"/>
              <a:gd name="connsiteY17" fmla="*/ 3141497 h 3410768"/>
              <a:gd name="connsiteX18" fmla="*/ 431956 w 1997094"/>
              <a:gd name="connsiteY18" fmla="*/ 2423441 h 3410768"/>
              <a:gd name="connsiteX19" fmla="*/ 482444 w 1997094"/>
              <a:gd name="connsiteY19" fmla="*/ 2434660 h 3410768"/>
              <a:gd name="connsiteX20" fmla="*/ 493664 w 1997094"/>
              <a:gd name="connsiteY20" fmla="*/ 2928324 h 3410768"/>
              <a:gd name="connsiteX21" fmla="*/ 566591 w 1997094"/>
              <a:gd name="connsiteY21" fmla="*/ 2933934 h 3410768"/>
              <a:gd name="connsiteX22" fmla="*/ 572201 w 1997094"/>
              <a:gd name="connsiteY22" fmla="*/ 2457100 h 3410768"/>
              <a:gd name="connsiteX23" fmla="*/ 964888 w 1997094"/>
              <a:gd name="connsiteY23" fmla="*/ 2462710 h 3410768"/>
              <a:gd name="connsiteX24" fmla="*/ 970498 w 1997094"/>
              <a:gd name="connsiteY24" fmla="*/ 2866616 h 3410768"/>
              <a:gd name="connsiteX25" fmla="*/ 1026596 w 1997094"/>
              <a:gd name="connsiteY25" fmla="*/ 2877836 h 3410768"/>
              <a:gd name="connsiteX26" fmla="*/ 1020986 w 1997094"/>
              <a:gd name="connsiteY26" fmla="*/ 3051740 h 3410768"/>
              <a:gd name="connsiteX27" fmla="*/ 1009767 w 1997094"/>
              <a:gd name="connsiteY27" fmla="*/ 3175156 h 3410768"/>
              <a:gd name="connsiteX28" fmla="*/ 1004157 w 1997094"/>
              <a:gd name="connsiteY28" fmla="*/ 3365890 h 3410768"/>
              <a:gd name="connsiteX29" fmla="*/ 1217330 w 1997094"/>
              <a:gd name="connsiteY29" fmla="*/ 3410768 h 3410768"/>
              <a:gd name="connsiteX30" fmla="*/ 1234159 w 1997094"/>
              <a:gd name="connsiteY30" fmla="*/ 3248084 h 3410768"/>
              <a:gd name="connsiteX31" fmla="*/ 1211720 w 1997094"/>
              <a:gd name="connsiteY31" fmla="*/ 3040521 h 3410768"/>
              <a:gd name="connsiteX32" fmla="*/ 1234159 w 1997094"/>
              <a:gd name="connsiteY32" fmla="*/ 2883446 h 3410768"/>
              <a:gd name="connsiteX33" fmla="*/ 1239769 w 1997094"/>
              <a:gd name="connsiteY33" fmla="*/ 2614175 h 3410768"/>
              <a:gd name="connsiteX34" fmla="*/ 1301477 w 1997094"/>
              <a:gd name="connsiteY34" fmla="*/ 2586126 h 3410768"/>
              <a:gd name="connsiteX35" fmla="*/ 1284648 w 1997094"/>
              <a:gd name="connsiteY35" fmla="*/ 2417831 h 3410768"/>
              <a:gd name="connsiteX36" fmla="*/ 1351965 w 1997094"/>
              <a:gd name="connsiteY36" fmla="*/ 2608565 h 3410768"/>
              <a:gd name="connsiteX37" fmla="*/ 1380014 w 1997094"/>
              <a:gd name="connsiteY37" fmla="*/ 3119058 h 3410768"/>
              <a:gd name="connsiteX38" fmla="*/ 1447332 w 1997094"/>
              <a:gd name="connsiteY38" fmla="*/ 3091009 h 3410768"/>
              <a:gd name="connsiteX39" fmla="*/ 1419283 w 1997094"/>
              <a:gd name="connsiteY39" fmla="*/ 2625394 h 3410768"/>
              <a:gd name="connsiteX40" fmla="*/ 1469772 w 1997094"/>
              <a:gd name="connsiteY40" fmla="*/ 2636614 h 3410768"/>
              <a:gd name="connsiteX41" fmla="*/ 1480991 w 1997094"/>
              <a:gd name="connsiteY41" fmla="*/ 3292962 h 3410768"/>
              <a:gd name="connsiteX42" fmla="*/ 1531479 w 1997094"/>
              <a:gd name="connsiteY42" fmla="*/ 3276133 h 3410768"/>
              <a:gd name="connsiteX43" fmla="*/ 1553919 w 1997094"/>
              <a:gd name="connsiteY43" fmla="*/ 2821738 h 3410768"/>
              <a:gd name="connsiteX44" fmla="*/ 1604407 w 1997094"/>
              <a:gd name="connsiteY44" fmla="*/ 2961983 h 3410768"/>
              <a:gd name="connsiteX45" fmla="*/ 1952216 w 1997094"/>
              <a:gd name="connsiteY45" fmla="*/ 2771249 h 3410768"/>
              <a:gd name="connsiteX46" fmla="*/ 1997094 w 1997094"/>
              <a:gd name="connsiteY46" fmla="*/ 2653443 h 3410768"/>
              <a:gd name="connsiteX47" fmla="*/ 1823190 w 1997094"/>
              <a:gd name="connsiteY47" fmla="*/ 2642224 h 3410768"/>
              <a:gd name="connsiteX48" fmla="*/ 1694164 w 1997094"/>
              <a:gd name="connsiteY48" fmla="*/ 2546857 h 3410768"/>
              <a:gd name="connsiteX49" fmla="*/ 1621237 w 1997094"/>
              <a:gd name="connsiteY49" fmla="*/ 2451490 h 3410768"/>
              <a:gd name="connsiteX50" fmla="*/ 1694164 w 1997094"/>
              <a:gd name="connsiteY50" fmla="*/ 2328074 h 3410768"/>
              <a:gd name="connsiteX51" fmla="*/ 1514650 w 1997094"/>
              <a:gd name="connsiteY51" fmla="*/ 2030754 h 3410768"/>
              <a:gd name="connsiteX52" fmla="*/ 1531479 w 1997094"/>
              <a:gd name="connsiteY52" fmla="*/ 1610018 h 3410768"/>
              <a:gd name="connsiteX53" fmla="*/ 1301477 w 1997094"/>
              <a:gd name="connsiteY53" fmla="*/ 1615627 h 3410768"/>
              <a:gd name="connsiteX54" fmla="*/ 1323916 w 1997094"/>
              <a:gd name="connsiteY54" fmla="*/ 1486602 h 3410768"/>
              <a:gd name="connsiteX55" fmla="*/ 1262208 w 1997094"/>
              <a:gd name="connsiteY55" fmla="*/ 1301478 h 3410768"/>
              <a:gd name="connsiteX56" fmla="*/ 1301477 w 1997094"/>
              <a:gd name="connsiteY56" fmla="*/ 1228550 h 3410768"/>
              <a:gd name="connsiteX57" fmla="*/ 1234159 w 1997094"/>
              <a:gd name="connsiteY57" fmla="*/ 1043426 h 3410768"/>
              <a:gd name="connsiteX58" fmla="*/ 1250989 w 1997094"/>
              <a:gd name="connsiteY58" fmla="*/ 847083 h 3410768"/>
              <a:gd name="connsiteX59" fmla="*/ 970498 w 1997094"/>
              <a:gd name="connsiteY59" fmla="*/ 712447 h 3410768"/>
              <a:gd name="connsiteX60" fmla="*/ 1015376 w 1997094"/>
              <a:gd name="connsiteY60" fmla="*/ 622690 h 3410768"/>
              <a:gd name="connsiteX61" fmla="*/ 1150012 w 1997094"/>
              <a:gd name="connsiteY61" fmla="*/ 482445 h 3410768"/>
              <a:gd name="connsiteX62" fmla="*/ 1166841 w 1997094"/>
              <a:gd name="connsiteY62" fmla="*/ 314150 h 3410768"/>
              <a:gd name="connsiteX63" fmla="*/ 1161232 w 1997094"/>
              <a:gd name="connsiteY63" fmla="*/ 196344 h 3410768"/>
              <a:gd name="connsiteX64" fmla="*/ 1065865 w 1997094"/>
              <a:gd name="connsiteY64" fmla="*/ 117807 h 3410768"/>
              <a:gd name="connsiteX65" fmla="*/ 998547 w 1997094"/>
              <a:gd name="connsiteY65" fmla="*/ 72928 h 3410768"/>
              <a:gd name="connsiteX66" fmla="*/ 920010 w 1997094"/>
              <a:gd name="connsiteY66" fmla="*/ 0 h 3410768"/>
              <a:gd name="connsiteX0" fmla="*/ 920010 w 1997094"/>
              <a:gd name="connsiteY0" fmla="*/ 0 h 3410768"/>
              <a:gd name="connsiteX1" fmla="*/ 779764 w 1997094"/>
              <a:gd name="connsiteY1" fmla="*/ 117807 h 3410768"/>
              <a:gd name="connsiteX2" fmla="*/ 751715 w 1997094"/>
              <a:gd name="connsiteY2" fmla="*/ 224393 h 3410768"/>
              <a:gd name="connsiteX3" fmla="*/ 656348 w 1997094"/>
              <a:gd name="connsiteY3" fmla="*/ 403907 h 3410768"/>
              <a:gd name="connsiteX4" fmla="*/ 656348 w 1997094"/>
              <a:gd name="connsiteY4" fmla="*/ 460005 h 3410768"/>
              <a:gd name="connsiteX5" fmla="*/ 673178 w 1997094"/>
              <a:gd name="connsiteY5" fmla="*/ 544153 h 3410768"/>
              <a:gd name="connsiteX6" fmla="*/ 448785 w 1997094"/>
              <a:gd name="connsiteY6" fmla="*/ 656349 h 3410768"/>
              <a:gd name="connsiteX7" fmla="*/ 263661 w 1997094"/>
              <a:gd name="connsiteY7" fmla="*/ 673178 h 3410768"/>
              <a:gd name="connsiteX8" fmla="*/ 218783 w 1997094"/>
              <a:gd name="connsiteY8" fmla="*/ 948059 h 3410768"/>
              <a:gd name="connsiteX9" fmla="*/ 168294 w 1997094"/>
              <a:gd name="connsiteY9" fmla="*/ 1082695 h 3410768"/>
              <a:gd name="connsiteX10" fmla="*/ 72927 w 1997094"/>
              <a:gd name="connsiteY10" fmla="*/ 1211721 h 3410768"/>
              <a:gd name="connsiteX11" fmla="*/ 0 w 1997094"/>
              <a:gd name="connsiteY11" fmla="*/ 1346356 h 3410768"/>
              <a:gd name="connsiteX12" fmla="*/ 134635 w 1997094"/>
              <a:gd name="connsiteY12" fmla="*/ 1705384 h 3410768"/>
              <a:gd name="connsiteX13" fmla="*/ 241222 w 1997094"/>
              <a:gd name="connsiteY13" fmla="*/ 1778312 h 3410768"/>
              <a:gd name="connsiteX14" fmla="*/ 291710 w 1997094"/>
              <a:gd name="connsiteY14" fmla="*/ 1744653 h 3410768"/>
              <a:gd name="connsiteX15" fmla="*/ 336589 w 1997094"/>
              <a:gd name="connsiteY15" fmla="*/ 1800751 h 3410768"/>
              <a:gd name="connsiteX16" fmla="*/ 370248 w 1997094"/>
              <a:gd name="connsiteY16" fmla="*/ 3141497 h 3410768"/>
              <a:gd name="connsiteX17" fmla="*/ 426346 w 1997094"/>
              <a:gd name="connsiteY17" fmla="*/ 3141497 h 3410768"/>
              <a:gd name="connsiteX18" fmla="*/ 431956 w 1997094"/>
              <a:gd name="connsiteY18" fmla="*/ 2423441 h 3410768"/>
              <a:gd name="connsiteX19" fmla="*/ 482444 w 1997094"/>
              <a:gd name="connsiteY19" fmla="*/ 2434660 h 3410768"/>
              <a:gd name="connsiteX20" fmla="*/ 493664 w 1997094"/>
              <a:gd name="connsiteY20" fmla="*/ 2928324 h 3410768"/>
              <a:gd name="connsiteX21" fmla="*/ 566591 w 1997094"/>
              <a:gd name="connsiteY21" fmla="*/ 2933934 h 3410768"/>
              <a:gd name="connsiteX22" fmla="*/ 572201 w 1997094"/>
              <a:gd name="connsiteY22" fmla="*/ 2457100 h 3410768"/>
              <a:gd name="connsiteX23" fmla="*/ 964888 w 1997094"/>
              <a:gd name="connsiteY23" fmla="*/ 2462710 h 3410768"/>
              <a:gd name="connsiteX24" fmla="*/ 970498 w 1997094"/>
              <a:gd name="connsiteY24" fmla="*/ 2866616 h 3410768"/>
              <a:gd name="connsiteX25" fmla="*/ 1026596 w 1997094"/>
              <a:gd name="connsiteY25" fmla="*/ 2877836 h 3410768"/>
              <a:gd name="connsiteX26" fmla="*/ 1020986 w 1997094"/>
              <a:gd name="connsiteY26" fmla="*/ 3051740 h 3410768"/>
              <a:gd name="connsiteX27" fmla="*/ 1009767 w 1997094"/>
              <a:gd name="connsiteY27" fmla="*/ 3175156 h 3410768"/>
              <a:gd name="connsiteX28" fmla="*/ 1004157 w 1997094"/>
              <a:gd name="connsiteY28" fmla="*/ 3365890 h 3410768"/>
              <a:gd name="connsiteX29" fmla="*/ 1217330 w 1997094"/>
              <a:gd name="connsiteY29" fmla="*/ 3410768 h 3410768"/>
              <a:gd name="connsiteX30" fmla="*/ 1234159 w 1997094"/>
              <a:gd name="connsiteY30" fmla="*/ 3248084 h 3410768"/>
              <a:gd name="connsiteX31" fmla="*/ 1211720 w 1997094"/>
              <a:gd name="connsiteY31" fmla="*/ 3040521 h 3410768"/>
              <a:gd name="connsiteX32" fmla="*/ 1234159 w 1997094"/>
              <a:gd name="connsiteY32" fmla="*/ 2883446 h 3410768"/>
              <a:gd name="connsiteX33" fmla="*/ 1239769 w 1997094"/>
              <a:gd name="connsiteY33" fmla="*/ 2614175 h 3410768"/>
              <a:gd name="connsiteX34" fmla="*/ 1301477 w 1997094"/>
              <a:gd name="connsiteY34" fmla="*/ 2586126 h 3410768"/>
              <a:gd name="connsiteX35" fmla="*/ 1284648 w 1997094"/>
              <a:gd name="connsiteY35" fmla="*/ 2417831 h 3410768"/>
              <a:gd name="connsiteX36" fmla="*/ 1351965 w 1997094"/>
              <a:gd name="connsiteY36" fmla="*/ 2608565 h 3410768"/>
              <a:gd name="connsiteX37" fmla="*/ 1380014 w 1997094"/>
              <a:gd name="connsiteY37" fmla="*/ 3119058 h 3410768"/>
              <a:gd name="connsiteX38" fmla="*/ 1447332 w 1997094"/>
              <a:gd name="connsiteY38" fmla="*/ 3091009 h 3410768"/>
              <a:gd name="connsiteX39" fmla="*/ 1419283 w 1997094"/>
              <a:gd name="connsiteY39" fmla="*/ 2625394 h 3410768"/>
              <a:gd name="connsiteX40" fmla="*/ 1469772 w 1997094"/>
              <a:gd name="connsiteY40" fmla="*/ 2636614 h 3410768"/>
              <a:gd name="connsiteX41" fmla="*/ 1480991 w 1997094"/>
              <a:gd name="connsiteY41" fmla="*/ 3292962 h 3410768"/>
              <a:gd name="connsiteX42" fmla="*/ 1531479 w 1997094"/>
              <a:gd name="connsiteY42" fmla="*/ 3276133 h 3410768"/>
              <a:gd name="connsiteX43" fmla="*/ 1553919 w 1997094"/>
              <a:gd name="connsiteY43" fmla="*/ 2821738 h 3410768"/>
              <a:gd name="connsiteX44" fmla="*/ 1604407 w 1997094"/>
              <a:gd name="connsiteY44" fmla="*/ 2961983 h 3410768"/>
              <a:gd name="connsiteX45" fmla="*/ 1952216 w 1997094"/>
              <a:gd name="connsiteY45" fmla="*/ 2771249 h 3410768"/>
              <a:gd name="connsiteX46" fmla="*/ 1997094 w 1997094"/>
              <a:gd name="connsiteY46" fmla="*/ 2653443 h 3410768"/>
              <a:gd name="connsiteX47" fmla="*/ 1823190 w 1997094"/>
              <a:gd name="connsiteY47" fmla="*/ 2642224 h 3410768"/>
              <a:gd name="connsiteX48" fmla="*/ 1694164 w 1997094"/>
              <a:gd name="connsiteY48" fmla="*/ 2546857 h 3410768"/>
              <a:gd name="connsiteX49" fmla="*/ 1621237 w 1997094"/>
              <a:gd name="connsiteY49" fmla="*/ 2451490 h 3410768"/>
              <a:gd name="connsiteX50" fmla="*/ 1694164 w 1997094"/>
              <a:gd name="connsiteY50" fmla="*/ 2328074 h 3410768"/>
              <a:gd name="connsiteX51" fmla="*/ 1514650 w 1997094"/>
              <a:gd name="connsiteY51" fmla="*/ 2030754 h 3410768"/>
              <a:gd name="connsiteX52" fmla="*/ 1531479 w 1997094"/>
              <a:gd name="connsiteY52" fmla="*/ 1610018 h 3410768"/>
              <a:gd name="connsiteX53" fmla="*/ 1301477 w 1997094"/>
              <a:gd name="connsiteY53" fmla="*/ 1615627 h 3410768"/>
              <a:gd name="connsiteX54" fmla="*/ 1323916 w 1997094"/>
              <a:gd name="connsiteY54" fmla="*/ 1486602 h 3410768"/>
              <a:gd name="connsiteX55" fmla="*/ 1262208 w 1997094"/>
              <a:gd name="connsiteY55" fmla="*/ 1301478 h 3410768"/>
              <a:gd name="connsiteX56" fmla="*/ 1301477 w 1997094"/>
              <a:gd name="connsiteY56" fmla="*/ 1228550 h 3410768"/>
              <a:gd name="connsiteX57" fmla="*/ 1234159 w 1997094"/>
              <a:gd name="connsiteY57" fmla="*/ 1043426 h 3410768"/>
              <a:gd name="connsiteX58" fmla="*/ 1250989 w 1997094"/>
              <a:gd name="connsiteY58" fmla="*/ 847083 h 3410768"/>
              <a:gd name="connsiteX59" fmla="*/ 970498 w 1997094"/>
              <a:gd name="connsiteY59" fmla="*/ 712447 h 3410768"/>
              <a:gd name="connsiteX60" fmla="*/ 1015376 w 1997094"/>
              <a:gd name="connsiteY60" fmla="*/ 622690 h 3410768"/>
              <a:gd name="connsiteX61" fmla="*/ 1150012 w 1997094"/>
              <a:gd name="connsiteY61" fmla="*/ 482445 h 3410768"/>
              <a:gd name="connsiteX62" fmla="*/ 1166841 w 1997094"/>
              <a:gd name="connsiteY62" fmla="*/ 314150 h 3410768"/>
              <a:gd name="connsiteX63" fmla="*/ 1161232 w 1997094"/>
              <a:gd name="connsiteY63" fmla="*/ 196344 h 3410768"/>
              <a:gd name="connsiteX64" fmla="*/ 1065865 w 1997094"/>
              <a:gd name="connsiteY64" fmla="*/ 117807 h 3410768"/>
              <a:gd name="connsiteX65" fmla="*/ 998547 w 1997094"/>
              <a:gd name="connsiteY65" fmla="*/ 72928 h 3410768"/>
              <a:gd name="connsiteX66" fmla="*/ 920010 w 1997094"/>
              <a:gd name="connsiteY66" fmla="*/ 0 h 3410768"/>
              <a:gd name="connsiteX0" fmla="*/ 920010 w 1997094"/>
              <a:gd name="connsiteY0" fmla="*/ 0 h 3410768"/>
              <a:gd name="connsiteX1" fmla="*/ 779764 w 1997094"/>
              <a:gd name="connsiteY1" fmla="*/ 117807 h 3410768"/>
              <a:gd name="connsiteX2" fmla="*/ 751715 w 1997094"/>
              <a:gd name="connsiteY2" fmla="*/ 224393 h 3410768"/>
              <a:gd name="connsiteX3" fmla="*/ 656348 w 1997094"/>
              <a:gd name="connsiteY3" fmla="*/ 403907 h 3410768"/>
              <a:gd name="connsiteX4" fmla="*/ 656348 w 1997094"/>
              <a:gd name="connsiteY4" fmla="*/ 460005 h 3410768"/>
              <a:gd name="connsiteX5" fmla="*/ 673178 w 1997094"/>
              <a:gd name="connsiteY5" fmla="*/ 544153 h 3410768"/>
              <a:gd name="connsiteX6" fmla="*/ 448785 w 1997094"/>
              <a:gd name="connsiteY6" fmla="*/ 656349 h 3410768"/>
              <a:gd name="connsiteX7" fmla="*/ 263661 w 1997094"/>
              <a:gd name="connsiteY7" fmla="*/ 673178 h 3410768"/>
              <a:gd name="connsiteX8" fmla="*/ 218783 w 1997094"/>
              <a:gd name="connsiteY8" fmla="*/ 948059 h 3410768"/>
              <a:gd name="connsiteX9" fmla="*/ 168294 w 1997094"/>
              <a:gd name="connsiteY9" fmla="*/ 1082695 h 3410768"/>
              <a:gd name="connsiteX10" fmla="*/ 72927 w 1997094"/>
              <a:gd name="connsiteY10" fmla="*/ 1211721 h 3410768"/>
              <a:gd name="connsiteX11" fmla="*/ 0 w 1997094"/>
              <a:gd name="connsiteY11" fmla="*/ 1346356 h 3410768"/>
              <a:gd name="connsiteX12" fmla="*/ 134635 w 1997094"/>
              <a:gd name="connsiteY12" fmla="*/ 1705384 h 3410768"/>
              <a:gd name="connsiteX13" fmla="*/ 241222 w 1997094"/>
              <a:gd name="connsiteY13" fmla="*/ 1778312 h 3410768"/>
              <a:gd name="connsiteX14" fmla="*/ 291710 w 1997094"/>
              <a:gd name="connsiteY14" fmla="*/ 1744653 h 3410768"/>
              <a:gd name="connsiteX15" fmla="*/ 336589 w 1997094"/>
              <a:gd name="connsiteY15" fmla="*/ 1800751 h 3410768"/>
              <a:gd name="connsiteX16" fmla="*/ 370248 w 1997094"/>
              <a:gd name="connsiteY16" fmla="*/ 3141497 h 3410768"/>
              <a:gd name="connsiteX17" fmla="*/ 426346 w 1997094"/>
              <a:gd name="connsiteY17" fmla="*/ 3141497 h 3410768"/>
              <a:gd name="connsiteX18" fmla="*/ 431956 w 1997094"/>
              <a:gd name="connsiteY18" fmla="*/ 2423441 h 3410768"/>
              <a:gd name="connsiteX19" fmla="*/ 482444 w 1997094"/>
              <a:gd name="connsiteY19" fmla="*/ 2434660 h 3410768"/>
              <a:gd name="connsiteX20" fmla="*/ 493664 w 1997094"/>
              <a:gd name="connsiteY20" fmla="*/ 2928324 h 3410768"/>
              <a:gd name="connsiteX21" fmla="*/ 566591 w 1997094"/>
              <a:gd name="connsiteY21" fmla="*/ 2933934 h 3410768"/>
              <a:gd name="connsiteX22" fmla="*/ 572201 w 1997094"/>
              <a:gd name="connsiteY22" fmla="*/ 2457100 h 3410768"/>
              <a:gd name="connsiteX23" fmla="*/ 964888 w 1997094"/>
              <a:gd name="connsiteY23" fmla="*/ 2462710 h 3410768"/>
              <a:gd name="connsiteX24" fmla="*/ 970498 w 1997094"/>
              <a:gd name="connsiteY24" fmla="*/ 2866616 h 3410768"/>
              <a:gd name="connsiteX25" fmla="*/ 1026596 w 1997094"/>
              <a:gd name="connsiteY25" fmla="*/ 2877836 h 3410768"/>
              <a:gd name="connsiteX26" fmla="*/ 1020986 w 1997094"/>
              <a:gd name="connsiteY26" fmla="*/ 3051740 h 3410768"/>
              <a:gd name="connsiteX27" fmla="*/ 1009767 w 1997094"/>
              <a:gd name="connsiteY27" fmla="*/ 3175156 h 3410768"/>
              <a:gd name="connsiteX28" fmla="*/ 1004157 w 1997094"/>
              <a:gd name="connsiteY28" fmla="*/ 3365890 h 3410768"/>
              <a:gd name="connsiteX29" fmla="*/ 1217330 w 1997094"/>
              <a:gd name="connsiteY29" fmla="*/ 3410768 h 3410768"/>
              <a:gd name="connsiteX30" fmla="*/ 1234159 w 1997094"/>
              <a:gd name="connsiteY30" fmla="*/ 3248084 h 3410768"/>
              <a:gd name="connsiteX31" fmla="*/ 1211720 w 1997094"/>
              <a:gd name="connsiteY31" fmla="*/ 3040521 h 3410768"/>
              <a:gd name="connsiteX32" fmla="*/ 1234159 w 1997094"/>
              <a:gd name="connsiteY32" fmla="*/ 2883446 h 3410768"/>
              <a:gd name="connsiteX33" fmla="*/ 1239769 w 1997094"/>
              <a:gd name="connsiteY33" fmla="*/ 2614175 h 3410768"/>
              <a:gd name="connsiteX34" fmla="*/ 1301477 w 1997094"/>
              <a:gd name="connsiteY34" fmla="*/ 2586126 h 3410768"/>
              <a:gd name="connsiteX35" fmla="*/ 1284648 w 1997094"/>
              <a:gd name="connsiteY35" fmla="*/ 2417831 h 3410768"/>
              <a:gd name="connsiteX36" fmla="*/ 1351965 w 1997094"/>
              <a:gd name="connsiteY36" fmla="*/ 2608565 h 3410768"/>
              <a:gd name="connsiteX37" fmla="*/ 1380014 w 1997094"/>
              <a:gd name="connsiteY37" fmla="*/ 3119058 h 3410768"/>
              <a:gd name="connsiteX38" fmla="*/ 1447332 w 1997094"/>
              <a:gd name="connsiteY38" fmla="*/ 3091009 h 3410768"/>
              <a:gd name="connsiteX39" fmla="*/ 1419283 w 1997094"/>
              <a:gd name="connsiteY39" fmla="*/ 2625394 h 3410768"/>
              <a:gd name="connsiteX40" fmla="*/ 1469772 w 1997094"/>
              <a:gd name="connsiteY40" fmla="*/ 2636614 h 3410768"/>
              <a:gd name="connsiteX41" fmla="*/ 1480991 w 1997094"/>
              <a:gd name="connsiteY41" fmla="*/ 3292962 h 3410768"/>
              <a:gd name="connsiteX42" fmla="*/ 1531479 w 1997094"/>
              <a:gd name="connsiteY42" fmla="*/ 3276133 h 3410768"/>
              <a:gd name="connsiteX43" fmla="*/ 1553919 w 1997094"/>
              <a:gd name="connsiteY43" fmla="*/ 2821738 h 3410768"/>
              <a:gd name="connsiteX44" fmla="*/ 1604407 w 1997094"/>
              <a:gd name="connsiteY44" fmla="*/ 2961983 h 3410768"/>
              <a:gd name="connsiteX45" fmla="*/ 1952216 w 1997094"/>
              <a:gd name="connsiteY45" fmla="*/ 2771249 h 3410768"/>
              <a:gd name="connsiteX46" fmla="*/ 1997094 w 1997094"/>
              <a:gd name="connsiteY46" fmla="*/ 2653443 h 3410768"/>
              <a:gd name="connsiteX47" fmla="*/ 1823190 w 1997094"/>
              <a:gd name="connsiteY47" fmla="*/ 2642224 h 3410768"/>
              <a:gd name="connsiteX48" fmla="*/ 1694164 w 1997094"/>
              <a:gd name="connsiteY48" fmla="*/ 2546857 h 3410768"/>
              <a:gd name="connsiteX49" fmla="*/ 1621237 w 1997094"/>
              <a:gd name="connsiteY49" fmla="*/ 2451490 h 3410768"/>
              <a:gd name="connsiteX50" fmla="*/ 1694164 w 1997094"/>
              <a:gd name="connsiteY50" fmla="*/ 2328074 h 3410768"/>
              <a:gd name="connsiteX51" fmla="*/ 1514650 w 1997094"/>
              <a:gd name="connsiteY51" fmla="*/ 2030754 h 3410768"/>
              <a:gd name="connsiteX52" fmla="*/ 1531479 w 1997094"/>
              <a:gd name="connsiteY52" fmla="*/ 1610018 h 3410768"/>
              <a:gd name="connsiteX53" fmla="*/ 1301477 w 1997094"/>
              <a:gd name="connsiteY53" fmla="*/ 1615627 h 3410768"/>
              <a:gd name="connsiteX54" fmla="*/ 1323916 w 1997094"/>
              <a:gd name="connsiteY54" fmla="*/ 1486602 h 3410768"/>
              <a:gd name="connsiteX55" fmla="*/ 1262208 w 1997094"/>
              <a:gd name="connsiteY55" fmla="*/ 1301478 h 3410768"/>
              <a:gd name="connsiteX56" fmla="*/ 1301477 w 1997094"/>
              <a:gd name="connsiteY56" fmla="*/ 1228550 h 3410768"/>
              <a:gd name="connsiteX57" fmla="*/ 1234159 w 1997094"/>
              <a:gd name="connsiteY57" fmla="*/ 1043426 h 3410768"/>
              <a:gd name="connsiteX58" fmla="*/ 1250989 w 1997094"/>
              <a:gd name="connsiteY58" fmla="*/ 847083 h 3410768"/>
              <a:gd name="connsiteX59" fmla="*/ 970498 w 1997094"/>
              <a:gd name="connsiteY59" fmla="*/ 712447 h 3410768"/>
              <a:gd name="connsiteX60" fmla="*/ 1015376 w 1997094"/>
              <a:gd name="connsiteY60" fmla="*/ 622690 h 3410768"/>
              <a:gd name="connsiteX61" fmla="*/ 1150012 w 1997094"/>
              <a:gd name="connsiteY61" fmla="*/ 482445 h 3410768"/>
              <a:gd name="connsiteX62" fmla="*/ 1166841 w 1997094"/>
              <a:gd name="connsiteY62" fmla="*/ 314150 h 3410768"/>
              <a:gd name="connsiteX63" fmla="*/ 1161232 w 1997094"/>
              <a:gd name="connsiteY63" fmla="*/ 196344 h 3410768"/>
              <a:gd name="connsiteX64" fmla="*/ 1065865 w 1997094"/>
              <a:gd name="connsiteY64" fmla="*/ 117807 h 3410768"/>
              <a:gd name="connsiteX65" fmla="*/ 998547 w 1997094"/>
              <a:gd name="connsiteY65" fmla="*/ 72928 h 3410768"/>
              <a:gd name="connsiteX66" fmla="*/ 920010 w 1997094"/>
              <a:gd name="connsiteY66" fmla="*/ 0 h 3410768"/>
              <a:gd name="connsiteX0" fmla="*/ 920010 w 1997094"/>
              <a:gd name="connsiteY0" fmla="*/ 0 h 3411474"/>
              <a:gd name="connsiteX1" fmla="*/ 779764 w 1997094"/>
              <a:gd name="connsiteY1" fmla="*/ 117807 h 3411474"/>
              <a:gd name="connsiteX2" fmla="*/ 751715 w 1997094"/>
              <a:gd name="connsiteY2" fmla="*/ 224393 h 3411474"/>
              <a:gd name="connsiteX3" fmla="*/ 656348 w 1997094"/>
              <a:gd name="connsiteY3" fmla="*/ 403907 h 3411474"/>
              <a:gd name="connsiteX4" fmla="*/ 656348 w 1997094"/>
              <a:gd name="connsiteY4" fmla="*/ 460005 h 3411474"/>
              <a:gd name="connsiteX5" fmla="*/ 673178 w 1997094"/>
              <a:gd name="connsiteY5" fmla="*/ 544153 h 3411474"/>
              <a:gd name="connsiteX6" fmla="*/ 448785 w 1997094"/>
              <a:gd name="connsiteY6" fmla="*/ 656349 h 3411474"/>
              <a:gd name="connsiteX7" fmla="*/ 263661 w 1997094"/>
              <a:gd name="connsiteY7" fmla="*/ 673178 h 3411474"/>
              <a:gd name="connsiteX8" fmla="*/ 218783 w 1997094"/>
              <a:gd name="connsiteY8" fmla="*/ 948059 h 3411474"/>
              <a:gd name="connsiteX9" fmla="*/ 168294 w 1997094"/>
              <a:gd name="connsiteY9" fmla="*/ 1082695 h 3411474"/>
              <a:gd name="connsiteX10" fmla="*/ 72927 w 1997094"/>
              <a:gd name="connsiteY10" fmla="*/ 1211721 h 3411474"/>
              <a:gd name="connsiteX11" fmla="*/ 0 w 1997094"/>
              <a:gd name="connsiteY11" fmla="*/ 1346356 h 3411474"/>
              <a:gd name="connsiteX12" fmla="*/ 134635 w 1997094"/>
              <a:gd name="connsiteY12" fmla="*/ 1705384 h 3411474"/>
              <a:gd name="connsiteX13" fmla="*/ 241222 w 1997094"/>
              <a:gd name="connsiteY13" fmla="*/ 1778312 h 3411474"/>
              <a:gd name="connsiteX14" fmla="*/ 291710 w 1997094"/>
              <a:gd name="connsiteY14" fmla="*/ 1744653 h 3411474"/>
              <a:gd name="connsiteX15" fmla="*/ 336589 w 1997094"/>
              <a:gd name="connsiteY15" fmla="*/ 1800751 h 3411474"/>
              <a:gd name="connsiteX16" fmla="*/ 370248 w 1997094"/>
              <a:gd name="connsiteY16" fmla="*/ 3141497 h 3411474"/>
              <a:gd name="connsiteX17" fmla="*/ 426346 w 1997094"/>
              <a:gd name="connsiteY17" fmla="*/ 3141497 h 3411474"/>
              <a:gd name="connsiteX18" fmla="*/ 431956 w 1997094"/>
              <a:gd name="connsiteY18" fmla="*/ 2423441 h 3411474"/>
              <a:gd name="connsiteX19" fmla="*/ 482444 w 1997094"/>
              <a:gd name="connsiteY19" fmla="*/ 2434660 h 3411474"/>
              <a:gd name="connsiteX20" fmla="*/ 493664 w 1997094"/>
              <a:gd name="connsiteY20" fmla="*/ 2928324 h 3411474"/>
              <a:gd name="connsiteX21" fmla="*/ 566591 w 1997094"/>
              <a:gd name="connsiteY21" fmla="*/ 2933934 h 3411474"/>
              <a:gd name="connsiteX22" fmla="*/ 572201 w 1997094"/>
              <a:gd name="connsiteY22" fmla="*/ 2457100 h 3411474"/>
              <a:gd name="connsiteX23" fmla="*/ 964888 w 1997094"/>
              <a:gd name="connsiteY23" fmla="*/ 2462710 h 3411474"/>
              <a:gd name="connsiteX24" fmla="*/ 970498 w 1997094"/>
              <a:gd name="connsiteY24" fmla="*/ 2866616 h 3411474"/>
              <a:gd name="connsiteX25" fmla="*/ 1026596 w 1997094"/>
              <a:gd name="connsiteY25" fmla="*/ 2877836 h 3411474"/>
              <a:gd name="connsiteX26" fmla="*/ 1020986 w 1997094"/>
              <a:gd name="connsiteY26" fmla="*/ 3051740 h 3411474"/>
              <a:gd name="connsiteX27" fmla="*/ 1009767 w 1997094"/>
              <a:gd name="connsiteY27" fmla="*/ 3175156 h 3411474"/>
              <a:gd name="connsiteX28" fmla="*/ 1004157 w 1997094"/>
              <a:gd name="connsiteY28" fmla="*/ 3365890 h 3411474"/>
              <a:gd name="connsiteX29" fmla="*/ 1217330 w 1997094"/>
              <a:gd name="connsiteY29" fmla="*/ 3410768 h 3411474"/>
              <a:gd name="connsiteX30" fmla="*/ 1234159 w 1997094"/>
              <a:gd name="connsiteY30" fmla="*/ 3248084 h 3411474"/>
              <a:gd name="connsiteX31" fmla="*/ 1211720 w 1997094"/>
              <a:gd name="connsiteY31" fmla="*/ 3040521 h 3411474"/>
              <a:gd name="connsiteX32" fmla="*/ 1234159 w 1997094"/>
              <a:gd name="connsiteY32" fmla="*/ 2883446 h 3411474"/>
              <a:gd name="connsiteX33" fmla="*/ 1239769 w 1997094"/>
              <a:gd name="connsiteY33" fmla="*/ 2614175 h 3411474"/>
              <a:gd name="connsiteX34" fmla="*/ 1301477 w 1997094"/>
              <a:gd name="connsiteY34" fmla="*/ 2586126 h 3411474"/>
              <a:gd name="connsiteX35" fmla="*/ 1284648 w 1997094"/>
              <a:gd name="connsiteY35" fmla="*/ 2417831 h 3411474"/>
              <a:gd name="connsiteX36" fmla="*/ 1351965 w 1997094"/>
              <a:gd name="connsiteY36" fmla="*/ 2608565 h 3411474"/>
              <a:gd name="connsiteX37" fmla="*/ 1380014 w 1997094"/>
              <a:gd name="connsiteY37" fmla="*/ 3119058 h 3411474"/>
              <a:gd name="connsiteX38" fmla="*/ 1447332 w 1997094"/>
              <a:gd name="connsiteY38" fmla="*/ 3091009 h 3411474"/>
              <a:gd name="connsiteX39" fmla="*/ 1419283 w 1997094"/>
              <a:gd name="connsiteY39" fmla="*/ 2625394 h 3411474"/>
              <a:gd name="connsiteX40" fmla="*/ 1469772 w 1997094"/>
              <a:gd name="connsiteY40" fmla="*/ 2636614 h 3411474"/>
              <a:gd name="connsiteX41" fmla="*/ 1480991 w 1997094"/>
              <a:gd name="connsiteY41" fmla="*/ 3292962 h 3411474"/>
              <a:gd name="connsiteX42" fmla="*/ 1531479 w 1997094"/>
              <a:gd name="connsiteY42" fmla="*/ 3276133 h 3411474"/>
              <a:gd name="connsiteX43" fmla="*/ 1553919 w 1997094"/>
              <a:gd name="connsiteY43" fmla="*/ 2821738 h 3411474"/>
              <a:gd name="connsiteX44" fmla="*/ 1604407 w 1997094"/>
              <a:gd name="connsiteY44" fmla="*/ 2961983 h 3411474"/>
              <a:gd name="connsiteX45" fmla="*/ 1952216 w 1997094"/>
              <a:gd name="connsiteY45" fmla="*/ 2771249 h 3411474"/>
              <a:gd name="connsiteX46" fmla="*/ 1997094 w 1997094"/>
              <a:gd name="connsiteY46" fmla="*/ 2653443 h 3411474"/>
              <a:gd name="connsiteX47" fmla="*/ 1823190 w 1997094"/>
              <a:gd name="connsiteY47" fmla="*/ 2642224 h 3411474"/>
              <a:gd name="connsiteX48" fmla="*/ 1694164 w 1997094"/>
              <a:gd name="connsiteY48" fmla="*/ 2546857 h 3411474"/>
              <a:gd name="connsiteX49" fmla="*/ 1621237 w 1997094"/>
              <a:gd name="connsiteY49" fmla="*/ 2451490 h 3411474"/>
              <a:gd name="connsiteX50" fmla="*/ 1694164 w 1997094"/>
              <a:gd name="connsiteY50" fmla="*/ 2328074 h 3411474"/>
              <a:gd name="connsiteX51" fmla="*/ 1514650 w 1997094"/>
              <a:gd name="connsiteY51" fmla="*/ 2030754 h 3411474"/>
              <a:gd name="connsiteX52" fmla="*/ 1531479 w 1997094"/>
              <a:gd name="connsiteY52" fmla="*/ 1610018 h 3411474"/>
              <a:gd name="connsiteX53" fmla="*/ 1301477 w 1997094"/>
              <a:gd name="connsiteY53" fmla="*/ 1615627 h 3411474"/>
              <a:gd name="connsiteX54" fmla="*/ 1323916 w 1997094"/>
              <a:gd name="connsiteY54" fmla="*/ 1486602 h 3411474"/>
              <a:gd name="connsiteX55" fmla="*/ 1262208 w 1997094"/>
              <a:gd name="connsiteY55" fmla="*/ 1301478 h 3411474"/>
              <a:gd name="connsiteX56" fmla="*/ 1301477 w 1997094"/>
              <a:gd name="connsiteY56" fmla="*/ 1228550 h 3411474"/>
              <a:gd name="connsiteX57" fmla="*/ 1234159 w 1997094"/>
              <a:gd name="connsiteY57" fmla="*/ 1043426 h 3411474"/>
              <a:gd name="connsiteX58" fmla="*/ 1250989 w 1997094"/>
              <a:gd name="connsiteY58" fmla="*/ 847083 h 3411474"/>
              <a:gd name="connsiteX59" fmla="*/ 970498 w 1997094"/>
              <a:gd name="connsiteY59" fmla="*/ 712447 h 3411474"/>
              <a:gd name="connsiteX60" fmla="*/ 1015376 w 1997094"/>
              <a:gd name="connsiteY60" fmla="*/ 622690 h 3411474"/>
              <a:gd name="connsiteX61" fmla="*/ 1150012 w 1997094"/>
              <a:gd name="connsiteY61" fmla="*/ 482445 h 3411474"/>
              <a:gd name="connsiteX62" fmla="*/ 1166841 w 1997094"/>
              <a:gd name="connsiteY62" fmla="*/ 314150 h 3411474"/>
              <a:gd name="connsiteX63" fmla="*/ 1161232 w 1997094"/>
              <a:gd name="connsiteY63" fmla="*/ 196344 h 3411474"/>
              <a:gd name="connsiteX64" fmla="*/ 1065865 w 1997094"/>
              <a:gd name="connsiteY64" fmla="*/ 117807 h 3411474"/>
              <a:gd name="connsiteX65" fmla="*/ 998547 w 1997094"/>
              <a:gd name="connsiteY65" fmla="*/ 72928 h 3411474"/>
              <a:gd name="connsiteX66" fmla="*/ 920010 w 1997094"/>
              <a:gd name="connsiteY66" fmla="*/ 0 h 3411474"/>
              <a:gd name="connsiteX0" fmla="*/ 920010 w 1997094"/>
              <a:gd name="connsiteY0" fmla="*/ 0 h 3429119"/>
              <a:gd name="connsiteX1" fmla="*/ 779764 w 1997094"/>
              <a:gd name="connsiteY1" fmla="*/ 117807 h 3429119"/>
              <a:gd name="connsiteX2" fmla="*/ 751715 w 1997094"/>
              <a:gd name="connsiteY2" fmla="*/ 224393 h 3429119"/>
              <a:gd name="connsiteX3" fmla="*/ 656348 w 1997094"/>
              <a:gd name="connsiteY3" fmla="*/ 403907 h 3429119"/>
              <a:gd name="connsiteX4" fmla="*/ 656348 w 1997094"/>
              <a:gd name="connsiteY4" fmla="*/ 460005 h 3429119"/>
              <a:gd name="connsiteX5" fmla="*/ 673178 w 1997094"/>
              <a:gd name="connsiteY5" fmla="*/ 544153 h 3429119"/>
              <a:gd name="connsiteX6" fmla="*/ 448785 w 1997094"/>
              <a:gd name="connsiteY6" fmla="*/ 656349 h 3429119"/>
              <a:gd name="connsiteX7" fmla="*/ 263661 w 1997094"/>
              <a:gd name="connsiteY7" fmla="*/ 673178 h 3429119"/>
              <a:gd name="connsiteX8" fmla="*/ 218783 w 1997094"/>
              <a:gd name="connsiteY8" fmla="*/ 948059 h 3429119"/>
              <a:gd name="connsiteX9" fmla="*/ 168294 w 1997094"/>
              <a:gd name="connsiteY9" fmla="*/ 1082695 h 3429119"/>
              <a:gd name="connsiteX10" fmla="*/ 72927 w 1997094"/>
              <a:gd name="connsiteY10" fmla="*/ 1211721 h 3429119"/>
              <a:gd name="connsiteX11" fmla="*/ 0 w 1997094"/>
              <a:gd name="connsiteY11" fmla="*/ 1346356 h 3429119"/>
              <a:gd name="connsiteX12" fmla="*/ 134635 w 1997094"/>
              <a:gd name="connsiteY12" fmla="*/ 1705384 h 3429119"/>
              <a:gd name="connsiteX13" fmla="*/ 241222 w 1997094"/>
              <a:gd name="connsiteY13" fmla="*/ 1778312 h 3429119"/>
              <a:gd name="connsiteX14" fmla="*/ 291710 w 1997094"/>
              <a:gd name="connsiteY14" fmla="*/ 1744653 h 3429119"/>
              <a:gd name="connsiteX15" fmla="*/ 336589 w 1997094"/>
              <a:gd name="connsiteY15" fmla="*/ 1800751 h 3429119"/>
              <a:gd name="connsiteX16" fmla="*/ 370248 w 1997094"/>
              <a:gd name="connsiteY16" fmla="*/ 3141497 h 3429119"/>
              <a:gd name="connsiteX17" fmla="*/ 426346 w 1997094"/>
              <a:gd name="connsiteY17" fmla="*/ 3141497 h 3429119"/>
              <a:gd name="connsiteX18" fmla="*/ 431956 w 1997094"/>
              <a:gd name="connsiteY18" fmla="*/ 2423441 h 3429119"/>
              <a:gd name="connsiteX19" fmla="*/ 482444 w 1997094"/>
              <a:gd name="connsiteY19" fmla="*/ 2434660 h 3429119"/>
              <a:gd name="connsiteX20" fmla="*/ 493664 w 1997094"/>
              <a:gd name="connsiteY20" fmla="*/ 2928324 h 3429119"/>
              <a:gd name="connsiteX21" fmla="*/ 566591 w 1997094"/>
              <a:gd name="connsiteY21" fmla="*/ 2933934 h 3429119"/>
              <a:gd name="connsiteX22" fmla="*/ 572201 w 1997094"/>
              <a:gd name="connsiteY22" fmla="*/ 2457100 h 3429119"/>
              <a:gd name="connsiteX23" fmla="*/ 964888 w 1997094"/>
              <a:gd name="connsiteY23" fmla="*/ 2462710 h 3429119"/>
              <a:gd name="connsiteX24" fmla="*/ 970498 w 1997094"/>
              <a:gd name="connsiteY24" fmla="*/ 2866616 h 3429119"/>
              <a:gd name="connsiteX25" fmla="*/ 1026596 w 1997094"/>
              <a:gd name="connsiteY25" fmla="*/ 2877836 h 3429119"/>
              <a:gd name="connsiteX26" fmla="*/ 1020986 w 1997094"/>
              <a:gd name="connsiteY26" fmla="*/ 3051740 h 3429119"/>
              <a:gd name="connsiteX27" fmla="*/ 1009767 w 1997094"/>
              <a:gd name="connsiteY27" fmla="*/ 3175156 h 3429119"/>
              <a:gd name="connsiteX28" fmla="*/ 1020986 w 1997094"/>
              <a:gd name="connsiteY28" fmla="*/ 3393939 h 3429119"/>
              <a:gd name="connsiteX29" fmla="*/ 1217330 w 1997094"/>
              <a:gd name="connsiteY29" fmla="*/ 3410768 h 3429119"/>
              <a:gd name="connsiteX30" fmla="*/ 1234159 w 1997094"/>
              <a:gd name="connsiteY30" fmla="*/ 3248084 h 3429119"/>
              <a:gd name="connsiteX31" fmla="*/ 1211720 w 1997094"/>
              <a:gd name="connsiteY31" fmla="*/ 3040521 h 3429119"/>
              <a:gd name="connsiteX32" fmla="*/ 1234159 w 1997094"/>
              <a:gd name="connsiteY32" fmla="*/ 2883446 h 3429119"/>
              <a:gd name="connsiteX33" fmla="*/ 1239769 w 1997094"/>
              <a:gd name="connsiteY33" fmla="*/ 2614175 h 3429119"/>
              <a:gd name="connsiteX34" fmla="*/ 1301477 w 1997094"/>
              <a:gd name="connsiteY34" fmla="*/ 2586126 h 3429119"/>
              <a:gd name="connsiteX35" fmla="*/ 1284648 w 1997094"/>
              <a:gd name="connsiteY35" fmla="*/ 2417831 h 3429119"/>
              <a:gd name="connsiteX36" fmla="*/ 1351965 w 1997094"/>
              <a:gd name="connsiteY36" fmla="*/ 2608565 h 3429119"/>
              <a:gd name="connsiteX37" fmla="*/ 1380014 w 1997094"/>
              <a:gd name="connsiteY37" fmla="*/ 3119058 h 3429119"/>
              <a:gd name="connsiteX38" fmla="*/ 1447332 w 1997094"/>
              <a:gd name="connsiteY38" fmla="*/ 3091009 h 3429119"/>
              <a:gd name="connsiteX39" fmla="*/ 1419283 w 1997094"/>
              <a:gd name="connsiteY39" fmla="*/ 2625394 h 3429119"/>
              <a:gd name="connsiteX40" fmla="*/ 1469772 w 1997094"/>
              <a:gd name="connsiteY40" fmla="*/ 2636614 h 3429119"/>
              <a:gd name="connsiteX41" fmla="*/ 1480991 w 1997094"/>
              <a:gd name="connsiteY41" fmla="*/ 3292962 h 3429119"/>
              <a:gd name="connsiteX42" fmla="*/ 1531479 w 1997094"/>
              <a:gd name="connsiteY42" fmla="*/ 3276133 h 3429119"/>
              <a:gd name="connsiteX43" fmla="*/ 1553919 w 1997094"/>
              <a:gd name="connsiteY43" fmla="*/ 2821738 h 3429119"/>
              <a:gd name="connsiteX44" fmla="*/ 1604407 w 1997094"/>
              <a:gd name="connsiteY44" fmla="*/ 2961983 h 3429119"/>
              <a:gd name="connsiteX45" fmla="*/ 1952216 w 1997094"/>
              <a:gd name="connsiteY45" fmla="*/ 2771249 h 3429119"/>
              <a:gd name="connsiteX46" fmla="*/ 1997094 w 1997094"/>
              <a:gd name="connsiteY46" fmla="*/ 2653443 h 3429119"/>
              <a:gd name="connsiteX47" fmla="*/ 1823190 w 1997094"/>
              <a:gd name="connsiteY47" fmla="*/ 2642224 h 3429119"/>
              <a:gd name="connsiteX48" fmla="*/ 1694164 w 1997094"/>
              <a:gd name="connsiteY48" fmla="*/ 2546857 h 3429119"/>
              <a:gd name="connsiteX49" fmla="*/ 1621237 w 1997094"/>
              <a:gd name="connsiteY49" fmla="*/ 2451490 h 3429119"/>
              <a:gd name="connsiteX50" fmla="*/ 1694164 w 1997094"/>
              <a:gd name="connsiteY50" fmla="*/ 2328074 h 3429119"/>
              <a:gd name="connsiteX51" fmla="*/ 1514650 w 1997094"/>
              <a:gd name="connsiteY51" fmla="*/ 2030754 h 3429119"/>
              <a:gd name="connsiteX52" fmla="*/ 1531479 w 1997094"/>
              <a:gd name="connsiteY52" fmla="*/ 1610018 h 3429119"/>
              <a:gd name="connsiteX53" fmla="*/ 1301477 w 1997094"/>
              <a:gd name="connsiteY53" fmla="*/ 1615627 h 3429119"/>
              <a:gd name="connsiteX54" fmla="*/ 1323916 w 1997094"/>
              <a:gd name="connsiteY54" fmla="*/ 1486602 h 3429119"/>
              <a:gd name="connsiteX55" fmla="*/ 1262208 w 1997094"/>
              <a:gd name="connsiteY55" fmla="*/ 1301478 h 3429119"/>
              <a:gd name="connsiteX56" fmla="*/ 1301477 w 1997094"/>
              <a:gd name="connsiteY56" fmla="*/ 1228550 h 3429119"/>
              <a:gd name="connsiteX57" fmla="*/ 1234159 w 1997094"/>
              <a:gd name="connsiteY57" fmla="*/ 1043426 h 3429119"/>
              <a:gd name="connsiteX58" fmla="*/ 1250989 w 1997094"/>
              <a:gd name="connsiteY58" fmla="*/ 847083 h 3429119"/>
              <a:gd name="connsiteX59" fmla="*/ 970498 w 1997094"/>
              <a:gd name="connsiteY59" fmla="*/ 712447 h 3429119"/>
              <a:gd name="connsiteX60" fmla="*/ 1015376 w 1997094"/>
              <a:gd name="connsiteY60" fmla="*/ 622690 h 3429119"/>
              <a:gd name="connsiteX61" fmla="*/ 1150012 w 1997094"/>
              <a:gd name="connsiteY61" fmla="*/ 482445 h 3429119"/>
              <a:gd name="connsiteX62" fmla="*/ 1166841 w 1997094"/>
              <a:gd name="connsiteY62" fmla="*/ 314150 h 3429119"/>
              <a:gd name="connsiteX63" fmla="*/ 1161232 w 1997094"/>
              <a:gd name="connsiteY63" fmla="*/ 196344 h 3429119"/>
              <a:gd name="connsiteX64" fmla="*/ 1065865 w 1997094"/>
              <a:gd name="connsiteY64" fmla="*/ 117807 h 3429119"/>
              <a:gd name="connsiteX65" fmla="*/ 998547 w 1997094"/>
              <a:gd name="connsiteY65" fmla="*/ 72928 h 3429119"/>
              <a:gd name="connsiteX66" fmla="*/ 920010 w 1997094"/>
              <a:gd name="connsiteY66" fmla="*/ 0 h 3429119"/>
              <a:gd name="connsiteX0" fmla="*/ 920010 w 1997094"/>
              <a:gd name="connsiteY0" fmla="*/ 0 h 3429119"/>
              <a:gd name="connsiteX1" fmla="*/ 779764 w 1997094"/>
              <a:gd name="connsiteY1" fmla="*/ 117807 h 3429119"/>
              <a:gd name="connsiteX2" fmla="*/ 751715 w 1997094"/>
              <a:gd name="connsiteY2" fmla="*/ 224393 h 3429119"/>
              <a:gd name="connsiteX3" fmla="*/ 656348 w 1997094"/>
              <a:gd name="connsiteY3" fmla="*/ 403907 h 3429119"/>
              <a:gd name="connsiteX4" fmla="*/ 656348 w 1997094"/>
              <a:gd name="connsiteY4" fmla="*/ 460005 h 3429119"/>
              <a:gd name="connsiteX5" fmla="*/ 673178 w 1997094"/>
              <a:gd name="connsiteY5" fmla="*/ 544153 h 3429119"/>
              <a:gd name="connsiteX6" fmla="*/ 448785 w 1997094"/>
              <a:gd name="connsiteY6" fmla="*/ 656349 h 3429119"/>
              <a:gd name="connsiteX7" fmla="*/ 263661 w 1997094"/>
              <a:gd name="connsiteY7" fmla="*/ 673178 h 3429119"/>
              <a:gd name="connsiteX8" fmla="*/ 218783 w 1997094"/>
              <a:gd name="connsiteY8" fmla="*/ 948059 h 3429119"/>
              <a:gd name="connsiteX9" fmla="*/ 168294 w 1997094"/>
              <a:gd name="connsiteY9" fmla="*/ 1082695 h 3429119"/>
              <a:gd name="connsiteX10" fmla="*/ 72927 w 1997094"/>
              <a:gd name="connsiteY10" fmla="*/ 1211721 h 3429119"/>
              <a:gd name="connsiteX11" fmla="*/ 0 w 1997094"/>
              <a:gd name="connsiteY11" fmla="*/ 1346356 h 3429119"/>
              <a:gd name="connsiteX12" fmla="*/ 134635 w 1997094"/>
              <a:gd name="connsiteY12" fmla="*/ 1705384 h 3429119"/>
              <a:gd name="connsiteX13" fmla="*/ 241222 w 1997094"/>
              <a:gd name="connsiteY13" fmla="*/ 1778312 h 3429119"/>
              <a:gd name="connsiteX14" fmla="*/ 291710 w 1997094"/>
              <a:gd name="connsiteY14" fmla="*/ 1744653 h 3429119"/>
              <a:gd name="connsiteX15" fmla="*/ 336589 w 1997094"/>
              <a:gd name="connsiteY15" fmla="*/ 1800751 h 3429119"/>
              <a:gd name="connsiteX16" fmla="*/ 370248 w 1997094"/>
              <a:gd name="connsiteY16" fmla="*/ 3141497 h 3429119"/>
              <a:gd name="connsiteX17" fmla="*/ 426346 w 1997094"/>
              <a:gd name="connsiteY17" fmla="*/ 3141497 h 3429119"/>
              <a:gd name="connsiteX18" fmla="*/ 431956 w 1997094"/>
              <a:gd name="connsiteY18" fmla="*/ 2423441 h 3429119"/>
              <a:gd name="connsiteX19" fmla="*/ 482444 w 1997094"/>
              <a:gd name="connsiteY19" fmla="*/ 2434660 h 3429119"/>
              <a:gd name="connsiteX20" fmla="*/ 493664 w 1997094"/>
              <a:gd name="connsiteY20" fmla="*/ 2928324 h 3429119"/>
              <a:gd name="connsiteX21" fmla="*/ 566591 w 1997094"/>
              <a:gd name="connsiteY21" fmla="*/ 2933934 h 3429119"/>
              <a:gd name="connsiteX22" fmla="*/ 572201 w 1997094"/>
              <a:gd name="connsiteY22" fmla="*/ 2457100 h 3429119"/>
              <a:gd name="connsiteX23" fmla="*/ 964888 w 1997094"/>
              <a:gd name="connsiteY23" fmla="*/ 2462710 h 3429119"/>
              <a:gd name="connsiteX24" fmla="*/ 970498 w 1997094"/>
              <a:gd name="connsiteY24" fmla="*/ 2866616 h 3429119"/>
              <a:gd name="connsiteX25" fmla="*/ 1026596 w 1997094"/>
              <a:gd name="connsiteY25" fmla="*/ 2877836 h 3429119"/>
              <a:gd name="connsiteX26" fmla="*/ 1020986 w 1997094"/>
              <a:gd name="connsiteY26" fmla="*/ 3051740 h 3429119"/>
              <a:gd name="connsiteX27" fmla="*/ 1009767 w 1997094"/>
              <a:gd name="connsiteY27" fmla="*/ 3175156 h 3429119"/>
              <a:gd name="connsiteX28" fmla="*/ 1020986 w 1997094"/>
              <a:gd name="connsiteY28" fmla="*/ 3393939 h 3429119"/>
              <a:gd name="connsiteX29" fmla="*/ 1217330 w 1997094"/>
              <a:gd name="connsiteY29" fmla="*/ 3410768 h 3429119"/>
              <a:gd name="connsiteX30" fmla="*/ 1234159 w 1997094"/>
              <a:gd name="connsiteY30" fmla="*/ 3248084 h 3429119"/>
              <a:gd name="connsiteX31" fmla="*/ 1211720 w 1997094"/>
              <a:gd name="connsiteY31" fmla="*/ 3040521 h 3429119"/>
              <a:gd name="connsiteX32" fmla="*/ 1234159 w 1997094"/>
              <a:gd name="connsiteY32" fmla="*/ 2883446 h 3429119"/>
              <a:gd name="connsiteX33" fmla="*/ 1239769 w 1997094"/>
              <a:gd name="connsiteY33" fmla="*/ 2614175 h 3429119"/>
              <a:gd name="connsiteX34" fmla="*/ 1301477 w 1997094"/>
              <a:gd name="connsiteY34" fmla="*/ 2586126 h 3429119"/>
              <a:gd name="connsiteX35" fmla="*/ 1284648 w 1997094"/>
              <a:gd name="connsiteY35" fmla="*/ 2417831 h 3429119"/>
              <a:gd name="connsiteX36" fmla="*/ 1351965 w 1997094"/>
              <a:gd name="connsiteY36" fmla="*/ 2608565 h 3429119"/>
              <a:gd name="connsiteX37" fmla="*/ 1380014 w 1997094"/>
              <a:gd name="connsiteY37" fmla="*/ 3119058 h 3429119"/>
              <a:gd name="connsiteX38" fmla="*/ 1447332 w 1997094"/>
              <a:gd name="connsiteY38" fmla="*/ 3091009 h 3429119"/>
              <a:gd name="connsiteX39" fmla="*/ 1419283 w 1997094"/>
              <a:gd name="connsiteY39" fmla="*/ 2625394 h 3429119"/>
              <a:gd name="connsiteX40" fmla="*/ 1469772 w 1997094"/>
              <a:gd name="connsiteY40" fmla="*/ 2636614 h 3429119"/>
              <a:gd name="connsiteX41" fmla="*/ 1480991 w 1997094"/>
              <a:gd name="connsiteY41" fmla="*/ 3292962 h 3429119"/>
              <a:gd name="connsiteX42" fmla="*/ 1531479 w 1997094"/>
              <a:gd name="connsiteY42" fmla="*/ 3276133 h 3429119"/>
              <a:gd name="connsiteX43" fmla="*/ 1553919 w 1997094"/>
              <a:gd name="connsiteY43" fmla="*/ 2821738 h 3429119"/>
              <a:gd name="connsiteX44" fmla="*/ 1604407 w 1997094"/>
              <a:gd name="connsiteY44" fmla="*/ 2961983 h 3429119"/>
              <a:gd name="connsiteX45" fmla="*/ 1952216 w 1997094"/>
              <a:gd name="connsiteY45" fmla="*/ 2771249 h 3429119"/>
              <a:gd name="connsiteX46" fmla="*/ 1997094 w 1997094"/>
              <a:gd name="connsiteY46" fmla="*/ 2653443 h 3429119"/>
              <a:gd name="connsiteX47" fmla="*/ 1823190 w 1997094"/>
              <a:gd name="connsiteY47" fmla="*/ 2642224 h 3429119"/>
              <a:gd name="connsiteX48" fmla="*/ 1694164 w 1997094"/>
              <a:gd name="connsiteY48" fmla="*/ 2546857 h 3429119"/>
              <a:gd name="connsiteX49" fmla="*/ 1621237 w 1997094"/>
              <a:gd name="connsiteY49" fmla="*/ 2451490 h 3429119"/>
              <a:gd name="connsiteX50" fmla="*/ 1694164 w 1997094"/>
              <a:gd name="connsiteY50" fmla="*/ 2328074 h 3429119"/>
              <a:gd name="connsiteX51" fmla="*/ 1514650 w 1997094"/>
              <a:gd name="connsiteY51" fmla="*/ 2030754 h 3429119"/>
              <a:gd name="connsiteX52" fmla="*/ 1531479 w 1997094"/>
              <a:gd name="connsiteY52" fmla="*/ 1610018 h 3429119"/>
              <a:gd name="connsiteX53" fmla="*/ 1301477 w 1997094"/>
              <a:gd name="connsiteY53" fmla="*/ 1615627 h 3429119"/>
              <a:gd name="connsiteX54" fmla="*/ 1323916 w 1997094"/>
              <a:gd name="connsiteY54" fmla="*/ 1486602 h 3429119"/>
              <a:gd name="connsiteX55" fmla="*/ 1262208 w 1997094"/>
              <a:gd name="connsiteY55" fmla="*/ 1301478 h 3429119"/>
              <a:gd name="connsiteX56" fmla="*/ 1301477 w 1997094"/>
              <a:gd name="connsiteY56" fmla="*/ 1228550 h 3429119"/>
              <a:gd name="connsiteX57" fmla="*/ 1234159 w 1997094"/>
              <a:gd name="connsiteY57" fmla="*/ 1043426 h 3429119"/>
              <a:gd name="connsiteX58" fmla="*/ 1250989 w 1997094"/>
              <a:gd name="connsiteY58" fmla="*/ 847083 h 3429119"/>
              <a:gd name="connsiteX59" fmla="*/ 970498 w 1997094"/>
              <a:gd name="connsiteY59" fmla="*/ 712447 h 3429119"/>
              <a:gd name="connsiteX60" fmla="*/ 1015376 w 1997094"/>
              <a:gd name="connsiteY60" fmla="*/ 622690 h 3429119"/>
              <a:gd name="connsiteX61" fmla="*/ 1150012 w 1997094"/>
              <a:gd name="connsiteY61" fmla="*/ 482445 h 3429119"/>
              <a:gd name="connsiteX62" fmla="*/ 1166841 w 1997094"/>
              <a:gd name="connsiteY62" fmla="*/ 314150 h 3429119"/>
              <a:gd name="connsiteX63" fmla="*/ 1161232 w 1997094"/>
              <a:gd name="connsiteY63" fmla="*/ 196344 h 3429119"/>
              <a:gd name="connsiteX64" fmla="*/ 1065865 w 1997094"/>
              <a:gd name="connsiteY64" fmla="*/ 117807 h 3429119"/>
              <a:gd name="connsiteX65" fmla="*/ 998547 w 1997094"/>
              <a:gd name="connsiteY65" fmla="*/ 72928 h 3429119"/>
              <a:gd name="connsiteX66" fmla="*/ 920010 w 1997094"/>
              <a:gd name="connsiteY66" fmla="*/ 0 h 3429119"/>
              <a:gd name="connsiteX0" fmla="*/ 920010 w 1997094"/>
              <a:gd name="connsiteY0" fmla="*/ 0 h 3436871"/>
              <a:gd name="connsiteX1" fmla="*/ 779764 w 1997094"/>
              <a:gd name="connsiteY1" fmla="*/ 117807 h 3436871"/>
              <a:gd name="connsiteX2" fmla="*/ 751715 w 1997094"/>
              <a:gd name="connsiteY2" fmla="*/ 224393 h 3436871"/>
              <a:gd name="connsiteX3" fmla="*/ 656348 w 1997094"/>
              <a:gd name="connsiteY3" fmla="*/ 403907 h 3436871"/>
              <a:gd name="connsiteX4" fmla="*/ 656348 w 1997094"/>
              <a:gd name="connsiteY4" fmla="*/ 460005 h 3436871"/>
              <a:gd name="connsiteX5" fmla="*/ 673178 w 1997094"/>
              <a:gd name="connsiteY5" fmla="*/ 544153 h 3436871"/>
              <a:gd name="connsiteX6" fmla="*/ 448785 w 1997094"/>
              <a:gd name="connsiteY6" fmla="*/ 656349 h 3436871"/>
              <a:gd name="connsiteX7" fmla="*/ 263661 w 1997094"/>
              <a:gd name="connsiteY7" fmla="*/ 673178 h 3436871"/>
              <a:gd name="connsiteX8" fmla="*/ 218783 w 1997094"/>
              <a:gd name="connsiteY8" fmla="*/ 948059 h 3436871"/>
              <a:gd name="connsiteX9" fmla="*/ 168294 w 1997094"/>
              <a:gd name="connsiteY9" fmla="*/ 1082695 h 3436871"/>
              <a:gd name="connsiteX10" fmla="*/ 72927 w 1997094"/>
              <a:gd name="connsiteY10" fmla="*/ 1211721 h 3436871"/>
              <a:gd name="connsiteX11" fmla="*/ 0 w 1997094"/>
              <a:gd name="connsiteY11" fmla="*/ 1346356 h 3436871"/>
              <a:gd name="connsiteX12" fmla="*/ 134635 w 1997094"/>
              <a:gd name="connsiteY12" fmla="*/ 1705384 h 3436871"/>
              <a:gd name="connsiteX13" fmla="*/ 241222 w 1997094"/>
              <a:gd name="connsiteY13" fmla="*/ 1778312 h 3436871"/>
              <a:gd name="connsiteX14" fmla="*/ 291710 w 1997094"/>
              <a:gd name="connsiteY14" fmla="*/ 1744653 h 3436871"/>
              <a:gd name="connsiteX15" fmla="*/ 336589 w 1997094"/>
              <a:gd name="connsiteY15" fmla="*/ 1800751 h 3436871"/>
              <a:gd name="connsiteX16" fmla="*/ 370248 w 1997094"/>
              <a:gd name="connsiteY16" fmla="*/ 3141497 h 3436871"/>
              <a:gd name="connsiteX17" fmla="*/ 426346 w 1997094"/>
              <a:gd name="connsiteY17" fmla="*/ 3141497 h 3436871"/>
              <a:gd name="connsiteX18" fmla="*/ 431956 w 1997094"/>
              <a:gd name="connsiteY18" fmla="*/ 2423441 h 3436871"/>
              <a:gd name="connsiteX19" fmla="*/ 482444 w 1997094"/>
              <a:gd name="connsiteY19" fmla="*/ 2434660 h 3436871"/>
              <a:gd name="connsiteX20" fmla="*/ 493664 w 1997094"/>
              <a:gd name="connsiteY20" fmla="*/ 2928324 h 3436871"/>
              <a:gd name="connsiteX21" fmla="*/ 566591 w 1997094"/>
              <a:gd name="connsiteY21" fmla="*/ 2933934 h 3436871"/>
              <a:gd name="connsiteX22" fmla="*/ 572201 w 1997094"/>
              <a:gd name="connsiteY22" fmla="*/ 2457100 h 3436871"/>
              <a:gd name="connsiteX23" fmla="*/ 964888 w 1997094"/>
              <a:gd name="connsiteY23" fmla="*/ 2462710 h 3436871"/>
              <a:gd name="connsiteX24" fmla="*/ 970498 w 1997094"/>
              <a:gd name="connsiteY24" fmla="*/ 2866616 h 3436871"/>
              <a:gd name="connsiteX25" fmla="*/ 1026596 w 1997094"/>
              <a:gd name="connsiteY25" fmla="*/ 2877836 h 3436871"/>
              <a:gd name="connsiteX26" fmla="*/ 1020986 w 1997094"/>
              <a:gd name="connsiteY26" fmla="*/ 3051740 h 3436871"/>
              <a:gd name="connsiteX27" fmla="*/ 1009767 w 1997094"/>
              <a:gd name="connsiteY27" fmla="*/ 3175156 h 3436871"/>
              <a:gd name="connsiteX28" fmla="*/ 1020986 w 1997094"/>
              <a:gd name="connsiteY28" fmla="*/ 3393939 h 3436871"/>
              <a:gd name="connsiteX29" fmla="*/ 1217330 w 1997094"/>
              <a:gd name="connsiteY29" fmla="*/ 3410768 h 3436871"/>
              <a:gd name="connsiteX30" fmla="*/ 1234159 w 1997094"/>
              <a:gd name="connsiteY30" fmla="*/ 3248084 h 3436871"/>
              <a:gd name="connsiteX31" fmla="*/ 1211720 w 1997094"/>
              <a:gd name="connsiteY31" fmla="*/ 3040521 h 3436871"/>
              <a:gd name="connsiteX32" fmla="*/ 1234159 w 1997094"/>
              <a:gd name="connsiteY32" fmla="*/ 2883446 h 3436871"/>
              <a:gd name="connsiteX33" fmla="*/ 1239769 w 1997094"/>
              <a:gd name="connsiteY33" fmla="*/ 2614175 h 3436871"/>
              <a:gd name="connsiteX34" fmla="*/ 1301477 w 1997094"/>
              <a:gd name="connsiteY34" fmla="*/ 2586126 h 3436871"/>
              <a:gd name="connsiteX35" fmla="*/ 1284648 w 1997094"/>
              <a:gd name="connsiteY35" fmla="*/ 2417831 h 3436871"/>
              <a:gd name="connsiteX36" fmla="*/ 1351965 w 1997094"/>
              <a:gd name="connsiteY36" fmla="*/ 2608565 h 3436871"/>
              <a:gd name="connsiteX37" fmla="*/ 1380014 w 1997094"/>
              <a:gd name="connsiteY37" fmla="*/ 3119058 h 3436871"/>
              <a:gd name="connsiteX38" fmla="*/ 1447332 w 1997094"/>
              <a:gd name="connsiteY38" fmla="*/ 3091009 h 3436871"/>
              <a:gd name="connsiteX39" fmla="*/ 1419283 w 1997094"/>
              <a:gd name="connsiteY39" fmla="*/ 2625394 h 3436871"/>
              <a:gd name="connsiteX40" fmla="*/ 1469772 w 1997094"/>
              <a:gd name="connsiteY40" fmla="*/ 2636614 h 3436871"/>
              <a:gd name="connsiteX41" fmla="*/ 1480991 w 1997094"/>
              <a:gd name="connsiteY41" fmla="*/ 3292962 h 3436871"/>
              <a:gd name="connsiteX42" fmla="*/ 1531479 w 1997094"/>
              <a:gd name="connsiteY42" fmla="*/ 3276133 h 3436871"/>
              <a:gd name="connsiteX43" fmla="*/ 1553919 w 1997094"/>
              <a:gd name="connsiteY43" fmla="*/ 2821738 h 3436871"/>
              <a:gd name="connsiteX44" fmla="*/ 1604407 w 1997094"/>
              <a:gd name="connsiteY44" fmla="*/ 2961983 h 3436871"/>
              <a:gd name="connsiteX45" fmla="*/ 1952216 w 1997094"/>
              <a:gd name="connsiteY45" fmla="*/ 2771249 h 3436871"/>
              <a:gd name="connsiteX46" fmla="*/ 1997094 w 1997094"/>
              <a:gd name="connsiteY46" fmla="*/ 2653443 h 3436871"/>
              <a:gd name="connsiteX47" fmla="*/ 1823190 w 1997094"/>
              <a:gd name="connsiteY47" fmla="*/ 2642224 h 3436871"/>
              <a:gd name="connsiteX48" fmla="*/ 1694164 w 1997094"/>
              <a:gd name="connsiteY48" fmla="*/ 2546857 h 3436871"/>
              <a:gd name="connsiteX49" fmla="*/ 1621237 w 1997094"/>
              <a:gd name="connsiteY49" fmla="*/ 2451490 h 3436871"/>
              <a:gd name="connsiteX50" fmla="*/ 1694164 w 1997094"/>
              <a:gd name="connsiteY50" fmla="*/ 2328074 h 3436871"/>
              <a:gd name="connsiteX51" fmla="*/ 1514650 w 1997094"/>
              <a:gd name="connsiteY51" fmla="*/ 2030754 h 3436871"/>
              <a:gd name="connsiteX52" fmla="*/ 1531479 w 1997094"/>
              <a:gd name="connsiteY52" fmla="*/ 1610018 h 3436871"/>
              <a:gd name="connsiteX53" fmla="*/ 1301477 w 1997094"/>
              <a:gd name="connsiteY53" fmla="*/ 1615627 h 3436871"/>
              <a:gd name="connsiteX54" fmla="*/ 1323916 w 1997094"/>
              <a:gd name="connsiteY54" fmla="*/ 1486602 h 3436871"/>
              <a:gd name="connsiteX55" fmla="*/ 1262208 w 1997094"/>
              <a:gd name="connsiteY55" fmla="*/ 1301478 h 3436871"/>
              <a:gd name="connsiteX56" fmla="*/ 1301477 w 1997094"/>
              <a:gd name="connsiteY56" fmla="*/ 1228550 h 3436871"/>
              <a:gd name="connsiteX57" fmla="*/ 1234159 w 1997094"/>
              <a:gd name="connsiteY57" fmla="*/ 1043426 h 3436871"/>
              <a:gd name="connsiteX58" fmla="*/ 1250989 w 1997094"/>
              <a:gd name="connsiteY58" fmla="*/ 847083 h 3436871"/>
              <a:gd name="connsiteX59" fmla="*/ 970498 w 1997094"/>
              <a:gd name="connsiteY59" fmla="*/ 712447 h 3436871"/>
              <a:gd name="connsiteX60" fmla="*/ 1015376 w 1997094"/>
              <a:gd name="connsiteY60" fmla="*/ 622690 h 3436871"/>
              <a:gd name="connsiteX61" fmla="*/ 1150012 w 1997094"/>
              <a:gd name="connsiteY61" fmla="*/ 482445 h 3436871"/>
              <a:gd name="connsiteX62" fmla="*/ 1166841 w 1997094"/>
              <a:gd name="connsiteY62" fmla="*/ 314150 h 3436871"/>
              <a:gd name="connsiteX63" fmla="*/ 1161232 w 1997094"/>
              <a:gd name="connsiteY63" fmla="*/ 196344 h 3436871"/>
              <a:gd name="connsiteX64" fmla="*/ 1065865 w 1997094"/>
              <a:gd name="connsiteY64" fmla="*/ 117807 h 3436871"/>
              <a:gd name="connsiteX65" fmla="*/ 998547 w 1997094"/>
              <a:gd name="connsiteY65" fmla="*/ 72928 h 3436871"/>
              <a:gd name="connsiteX66" fmla="*/ 920010 w 1997094"/>
              <a:gd name="connsiteY66" fmla="*/ 0 h 3436871"/>
              <a:gd name="connsiteX0" fmla="*/ 920010 w 1997094"/>
              <a:gd name="connsiteY0" fmla="*/ 0 h 3436871"/>
              <a:gd name="connsiteX1" fmla="*/ 779764 w 1997094"/>
              <a:gd name="connsiteY1" fmla="*/ 117807 h 3436871"/>
              <a:gd name="connsiteX2" fmla="*/ 751715 w 1997094"/>
              <a:gd name="connsiteY2" fmla="*/ 224393 h 3436871"/>
              <a:gd name="connsiteX3" fmla="*/ 656348 w 1997094"/>
              <a:gd name="connsiteY3" fmla="*/ 403907 h 3436871"/>
              <a:gd name="connsiteX4" fmla="*/ 656348 w 1997094"/>
              <a:gd name="connsiteY4" fmla="*/ 460005 h 3436871"/>
              <a:gd name="connsiteX5" fmla="*/ 673178 w 1997094"/>
              <a:gd name="connsiteY5" fmla="*/ 544153 h 3436871"/>
              <a:gd name="connsiteX6" fmla="*/ 448785 w 1997094"/>
              <a:gd name="connsiteY6" fmla="*/ 656349 h 3436871"/>
              <a:gd name="connsiteX7" fmla="*/ 263661 w 1997094"/>
              <a:gd name="connsiteY7" fmla="*/ 673178 h 3436871"/>
              <a:gd name="connsiteX8" fmla="*/ 218783 w 1997094"/>
              <a:gd name="connsiteY8" fmla="*/ 948059 h 3436871"/>
              <a:gd name="connsiteX9" fmla="*/ 168294 w 1997094"/>
              <a:gd name="connsiteY9" fmla="*/ 1082695 h 3436871"/>
              <a:gd name="connsiteX10" fmla="*/ 72927 w 1997094"/>
              <a:gd name="connsiteY10" fmla="*/ 1211721 h 3436871"/>
              <a:gd name="connsiteX11" fmla="*/ 0 w 1997094"/>
              <a:gd name="connsiteY11" fmla="*/ 1346356 h 3436871"/>
              <a:gd name="connsiteX12" fmla="*/ 134635 w 1997094"/>
              <a:gd name="connsiteY12" fmla="*/ 1705384 h 3436871"/>
              <a:gd name="connsiteX13" fmla="*/ 241222 w 1997094"/>
              <a:gd name="connsiteY13" fmla="*/ 1778312 h 3436871"/>
              <a:gd name="connsiteX14" fmla="*/ 291710 w 1997094"/>
              <a:gd name="connsiteY14" fmla="*/ 1744653 h 3436871"/>
              <a:gd name="connsiteX15" fmla="*/ 336589 w 1997094"/>
              <a:gd name="connsiteY15" fmla="*/ 1800751 h 3436871"/>
              <a:gd name="connsiteX16" fmla="*/ 370248 w 1997094"/>
              <a:gd name="connsiteY16" fmla="*/ 3141497 h 3436871"/>
              <a:gd name="connsiteX17" fmla="*/ 426346 w 1997094"/>
              <a:gd name="connsiteY17" fmla="*/ 3141497 h 3436871"/>
              <a:gd name="connsiteX18" fmla="*/ 431956 w 1997094"/>
              <a:gd name="connsiteY18" fmla="*/ 2423441 h 3436871"/>
              <a:gd name="connsiteX19" fmla="*/ 482444 w 1997094"/>
              <a:gd name="connsiteY19" fmla="*/ 2434660 h 3436871"/>
              <a:gd name="connsiteX20" fmla="*/ 493664 w 1997094"/>
              <a:gd name="connsiteY20" fmla="*/ 2928324 h 3436871"/>
              <a:gd name="connsiteX21" fmla="*/ 566591 w 1997094"/>
              <a:gd name="connsiteY21" fmla="*/ 2933934 h 3436871"/>
              <a:gd name="connsiteX22" fmla="*/ 572201 w 1997094"/>
              <a:gd name="connsiteY22" fmla="*/ 2457100 h 3436871"/>
              <a:gd name="connsiteX23" fmla="*/ 964888 w 1997094"/>
              <a:gd name="connsiteY23" fmla="*/ 2462710 h 3436871"/>
              <a:gd name="connsiteX24" fmla="*/ 970498 w 1997094"/>
              <a:gd name="connsiteY24" fmla="*/ 2866616 h 3436871"/>
              <a:gd name="connsiteX25" fmla="*/ 1026596 w 1997094"/>
              <a:gd name="connsiteY25" fmla="*/ 2877836 h 3436871"/>
              <a:gd name="connsiteX26" fmla="*/ 1020986 w 1997094"/>
              <a:gd name="connsiteY26" fmla="*/ 3051740 h 3436871"/>
              <a:gd name="connsiteX27" fmla="*/ 1009767 w 1997094"/>
              <a:gd name="connsiteY27" fmla="*/ 3175156 h 3436871"/>
              <a:gd name="connsiteX28" fmla="*/ 1020986 w 1997094"/>
              <a:gd name="connsiteY28" fmla="*/ 3393939 h 3436871"/>
              <a:gd name="connsiteX29" fmla="*/ 1217330 w 1997094"/>
              <a:gd name="connsiteY29" fmla="*/ 3410768 h 3436871"/>
              <a:gd name="connsiteX30" fmla="*/ 1211720 w 1997094"/>
              <a:gd name="connsiteY30" fmla="*/ 3225645 h 3436871"/>
              <a:gd name="connsiteX31" fmla="*/ 1211720 w 1997094"/>
              <a:gd name="connsiteY31" fmla="*/ 3040521 h 3436871"/>
              <a:gd name="connsiteX32" fmla="*/ 1234159 w 1997094"/>
              <a:gd name="connsiteY32" fmla="*/ 2883446 h 3436871"/>
              <a:gd name="connsiteX33" fmla="*/ 1239769 w 1997094"/>
              <a:gd name="connsiteY33" fmla="*/ 2614175 h 3436871"/>
              <a:gd name="connsiteX34" fmla="*/ 1301477 w 1997094"/>
              <a:gd name="connsiteY34" fmla="*/ 2586126 h 3436871"/>
              <a:gd name="connsiteX35" fmla="*/ 1284648 w 1997094"/>
              <a:gd name="connsiteY35" fmla="*/ 2417831 h 3436871"/>
              <a:gd name="connsiteX36" fmla="*/ 1351965 w 1997094"/>
              <a:gd name="connsiteY36" fmla="*/ 2608565 h 3436871"/>
              <a:gd name="connsiteX37" fmla="*/ 1380014 w 1997094"/>
              <a:gd name="connsiteY37" fmla="*/ 3119058 h 3436871"/>
              <a:gd name="connsiteX38" fmla="*/ 1447332 w 1997094"/>
              <a:gd name="connsiteY38" fmla="*/ 3091009 h 3436871"/>
              <a:gd name="connsiteX39" fmla="*/ 1419283 w 1997094"/>
              <a:gd name="connsiteY39" fmla="*/ 2625394 h 3436871"/>
              <a:gd name="connsiteX40" fmla="*/ 1469772 w 1997094"/>
              <a:gd name="connsiteY40" fmla="*/ 2636614 h 3436871"/>
              <a:gd name="connsiteX41" fmla="*/ 1480991 w 1997094"/>
              <a:gd name="connsiteY41" fmla="*/ 3292962 h 3436871"/>
              <a:gd name="connsiteX42" fmla="*/ 1531479 w 1997094"/>
              <a:gd name="connsiteY42" fmla="*/ 3276133 h 3436871"/>
              <a:gd name="connsiteX43" fmla="*/ 1553919 w 1997094"/>
              <a:gd name="connsiteY43" fmla="*/ 2821738 h 3436871"/>
              <a:gd name="connsiteX44" fmla="*/ 1604407 w 1997094"/>
              <a:gd name="connsiteY44" fmla="*/ 2961983 h 3436871"/>
              <a:gd name="connsiteX45" fmla="*/ 1952216 w 1997094"/>
              <a:gd name="connsiteY45" fmla="*/ 2771249 h 3436871"/>
              <a:gd name="connsiteX46" fmla="*/ 1997094 w 1997094"/>
              <a:gd name="connsiteY46" fmla="*/ 2653443 h 3436871"/>
              <a:gd name="connsiteX47" fmla="*/ 1823190 w 1997094"/>
              <a:gd name="connsiteY47" fmla="*/ 2642224 h 3436871"/>
              <a:gd name="connsiteX48" fmla="*/ 1694164 w 1997094"/>
              <a:gd name="connsiteY48" fmla="*/ 2546857 h 3436871"/>
              <a:gd name="connsiteX49" fmla="*/ 1621237 w 1997094"/>
              <a:gd name="connsiteY49" fmla="*/ 2451490 h 3436871"/>
              <a:gd name="connsiteX50" fmla="*/ 1694164 w 1997094"/>
              <a:gd name="connsiteY50" fmla="*/ 2328074 h 3436871"/>
              <a:gd name="connsiteX51" fmla="*/ 1514650 w 1997094"/>
              <a:gd name="connsiteY51" fmla="*/ 2030754 h 3436871"/>
              <a:gd name="connsiteX52" fmla="*/ 1531479 w 1997094"/>
              <a:gd name="connsiteY52" fmla="*/ 1610018 h 3436871"/>
              <a:gd name="connsiteX53" fmla="*/ 1301477 w 1997094"/>
              <a:gd name="connsiteY53" fmla="*/ 1615627 h 3436871"/>
              <a:gd name="connsiteX54" fmla="*/ 1323916 w 1997094"/>
              <a:gd name="connsiteY54" fmla="*/ 1486602 h 3436871"/>
              <a:gd name="connsiteX55" fmla="*/ 1262208 w 1997094"/>
              <a:gd name="connsiteY55" fmla="*/ 1301478 h 3436871"/>
              <a:gd name="connsiteX56" fmla="*/ 1301477 w 1997094"/>
              <a:gd name="connsiteY56" fmla="*/ 1228550 h 3436871"/>
              <a:gd name="connsiteX57" fmla="*/ 1234159 w 1997094"/>
              <a:gd name="connsiteY57" fmla="*/ 1043426 h 3436871"/>
              <a:gd name="connsiteX58" fmla="*/ 1250989 w 1997094"/>
              <a:gd name="connsiteY58" fmla="*/ 847083 h 3436871"/>
              <a:gd name="connsiteX59" fmla="*/ 970498 w 1997094"/>
              <a:gd name="connsiteY59" fmla="*/ 712447 h 3436871"/>
              <a:gd name="connsiteX60" fmla="*/ 1015376 w 1997094"/>
              <a:gd name="connsiteY60" fmla="*/ 622690 h 3436871"/>
              <a:gd name="connsiteX61" fmla="*/ 1150012 w 1997094"/>
              <a:gd name="connsiteY61" fmla="*/ 482445 h 3436871"/>
              <a:gd name="connsiteX62" fmla="*/ 1166841 w 1997094"/>
              <a:gd name="connsiteY62" fmla="*/ 314150 h 3436871"/>
              <a:gd name="connsiteX63" fmla="*/ 1161232 w 1997094"/>
              <a:gd name="connsiteY63" fmla="*/ 196344 h 3436871"/>
              <a:gd name="connsiteX64" fmla="*/ 1065865 w 1997094"/>
              <a:gd name="connsiteY64" fmla="*/ 117807 h 3436871"/>
              <a:gd name="connsiteX65" fmla="*/ 998547 w 1997094"/>
              <a:gd name="connsiteY65" fmla="*/ 72928 h 3436871"/>
              <a:gd name="connsiteX66" fmla="*/ 920010 w 1997094"/>
              <a:gd name="connsiteY66" fmla="*/ 0 h 3436871"/>
              <a:gd name="connsiteX0" fmla="*/ 920010 w 1997094"/>
              <a:gd name="connsiteY0" fmla="*/ 0 h 3436871"/>
              <a:gd name="connsiteX1" fmla="*/ 779764 w 1997094"/>
              <a:gd name="connsiteY1" fmla="*/ 117807 h 3436871"/>
              <a:gd name="connsiteX2" fmla="*/ 751715 w 1997094"/>
              <a:gd name="connsiteY2" fmla="*/ 224393 h 3436871"/>
              <a:gd name="connsiteX3" fmla="*/ 656348 w 1997094"/>
              <a:gd name="connsiteY3" fmla="*/ 403907 h 3436871"/>
              <a:gd name="connsiteX4" fmla="*/ 656348 w 1997094"/>
              <a:gd name="connsiteY4" fmla="*/ 460005 h 3436871"/>
              <a:gd name="connsiteX5" fmla="*/ 673178 w 1997094"/>
              <a:gd name="connsiteY5" fmla="*/ 544153 h 3436871"/>
              <a:gd name="connsiteX6" fmla="*/ 448785 w 1997094"/>
              <a:gd name="connsiteY6" fmla="*/ 656349 h 3436871"/>
              <a:gd name="connsiteX7" fmla="*/ 263661 w 1997094"/>
              <a:gd name="connsiteY7" fmla="*/ 673178 h 3436871"/>
              <a:gd name="connsiteX8" fmla="*/ 218783 w 1997094"/>
              <a:gd name="connsiteY8" fmla="*/ 948059 h 3436871"/>
              <a:gd name="connsiteX9" fmla="*/ 168294 w 1997094"/>
              <a:gd name="connsiteY9" fmla="*/ 1082695 h 3436871"/>
              <a:gd name="connsiteX10" fmla="*/ 72927 w 1997094"/>
              <a:gd name="connsiteY10" fmla="*/ 1211721 h 3436871"/>
              <a:gd name="connsiteX11" fmla="*/ 0 w 1997094"/>
              <a:gd name="connsiteY11" fmla="*/ 1346356 h 3436871"/>
              <a:gd name="connsiteX12" fmla="*/ 134635 w 1997094"/>
              <a:gd name="connsiteY12" fmla="*/ 1705384 h 3436871"/>
              <a:gd name="connsiteX13" fmla="*/ 241222 w 1997094"/>
              <a:gd name="connsiteY13" fmla="*/ 1778312 h 3436871"/>
              <a:gd name="connsiteX14" fmla="*/ 291710 w 1997094"/>
              <a:gd name="connsiteY14" fmla="*/ 1744653 h 3436871"/>
              <a:gd name="connsiteX15" fmla="*/ 336589 w 1997094"/>
              <a:gd name="connsiteY15" fmla="*/ 1800751 h 3436871"/>
              <a:gd name="connsiteX16" fmla="*/ 370248 w 1997094"/>
              <a:gd name="connsiteY16" fmla="*/ 3141497 h 3436871"/>
              <a:gd name="connsiteX17" fmla="*/ 426346 w 1997094"/>
              <a:gd name="connsiteY17" fmla="*/ 3141497 h 3436871"/>
              <a:gd name="connsiteX18" fmla="*/ 431956 w 1997094"/>
              <a:gd name="connsiteY18" fmla="*/ 2423441 h 3436871"/>
              <a:gd name="connsiteX19" fmla="*/ 482444 w 1997094"/>
              <a:gd name="connsiteY19" fmla="*/ 2434660 h 3436871"/>
              <a:gd name="connsiteX20" fmla="*/ 493664 w 1997094"/>
              <a:gd name="connsiteY20" fmla="*/ 2928324 h 3436871"/>
              <a:gd name="connsiteX21" fmla="*/ 566591 w 1997094"/>
              <a:gd name="connsiteY21" fmla="*/ 2933934 h 3436871"/>
              <a:gd name="connsiteX22" fmla="*/ 572201 w 1997094"/>
              <a:gd name="connsiteY22" fmla="*/ 2457100 h 3436871"/>
              <a:gd name="connsiteX23" fmla="*/ 964888 w 1997094"/>
              <a:gd name="connsiteY23" fmla="*/ 2462710 h 3436871"/>
              <a:gd name="connsiteX24" fmla="*/ 970498 w 1997094"/>
              <a:gd name="connsiteY24" fmla="*/ 2866616 h 3436871"/>
              <a:gd name="connsiteX25" fmla="*/ 1026596 w 1997094"/>
              <a:gd name="connsiteY25" fmla="*/ 2877836 h 3436871"/>
              <a:gd name="connsiteX26" fmla="*/ 1020986 w 1997094"/>
              <a:gd name="connsiteY26" fmla="*/ 3051740 h 3436871"/>
              <a:gd name="connsiteX27" fmla="*/ 1009767 w 1997094"/>
              <a:gd name="connsiteY27" fmla="*/ 3175156 h 3436871"/>
              <a:gd name="connsiteX28" fmla="*/ 1020986 w 1997094"/>
              <a:gd name="connsiteY28" fmla="*/ 3393939 h 3436871"/>
              <a:gd name="connsiteX29" fmla="*/ 1217330 w 1997094"/>
              <a:gd name="connsiteY29" fmla="*/ 3410768 h 3436871"/>
              <a:gd name="connsiteX30" fmla="*/ 1211720 w 1997094"/>
              <a:gd name="connsiteY30" fmla="*/ 3225645 h 3436871"/>
              <a:gd name="connsiteX31" fmla="*/ 1228549 w 1997094"/>
              <a:gd name="connsiteY31" fmla="*/ 3051741 h 3436871"/>
              <a:gd name="connsiteX32" fmla="*/ 1234159 w 1997094"/>
              <a:gd name="connsiteY32" fmla="*/ 2883446 h 3436871"/>
              <a:gd name="connsiteX33" fmla="*/ 1239769 w 1997094"/>
              <a:gd name="connsiteY33" fmla="*/ 2614175 h 3436871"/>
              <a:gd name="connsiteX34" fmla="*/ 1301477 w 1997094"/>
              <a:gd name="connsiteY34" fmla="*/ 2586126 h 3436871"/>
              <a:gd name="connsiteX35" fmla="*/ 1284648 w 1997094"/>
              <a:gd name="connsiteY35" fmla="*/ 2417831 h 3436871"/>
              <a:gd name="connsiteX36" fmla="*/ 1351965 w 1997094"/>
              <a:gd name="connsiteY36" fmla="*/ 2608565 h 3436871"/>
              <a:gd name="connsiteX37" fmla="*/ 1380014 w 1997094"/>
              <a:gd name="connsiteY37" fmla="*/ 3119058 h 3436871"/>
              <a:gd name="connsiteX38" fmla="*/ 1447332 w 1997094"/>
              <a:gd name="connsiteY38" fmla="*/ 3091009 h 3436871"/>
              <a:gd name="connsiteX39" fmla="*/ 1419283 w 1997094"/>
              <a:gd name="connsiteY39" fmla="*/ 2625394 h 3436871"/>
              <a:gd name="connsiteX40" fmla="*/ 1469772 w 1997094"/>
              <a:gd name="connsiteY40" fmla="*/ 2636614 h 3436871"/>
              <a:gd name="connsiteX41" fmla="*/ 1480991 w 1997094"/>
              <a:gd name="connsiteY41" fmla="*/ 3292962 h 3436871"/>
              <a:gd name="connsiteX42" fmla="*/ 1531479 w 1997094"/>
              <a:gd name="connsiteY42" fmla="*/ 3276133 h 3436871"/>
              <a:gd name="connsiteX43" fmla="*/ 1553919 w 1997094"/>
              <a:gd name="connsiteY43" fmla="*/ 2821738 h 3436871"/>
              <a:gd name="connsiteX44" fmla="*/ 1604407 w 1997094"/>
              <a:gd name="connsiteY44" fmla="*/ 2961983 h 3436871"/>
              <a:gd name="connsiteX45" fmla="*/ 1952216 w 1997094"/>
              <a:gd name="connsiteY45" fmla="*/ 2771249 h 3436871"/>
              <a:gd name="connsiteX46" fmla="*/ 1997094 w 1997094"/>
              <a:gd name="connsiteY46" fmla="*/ 2653443 h 3436871"/>
              <a:gd name="connsiteX47" fmla="*/ 1823190 w 1997094"/>
              <a:gd name="connsiteY47" fmla="*/ 2642224 h 3436871"/>
              <a:gd name="connsiteX48" fmla="*/ 1694164 w 1997094"/>
              <a:gd name="connsiteY48" fmla="*/ 2546857 h 3436871"/>
              <a:gd name="connsiteX49" fmla="*/ 1621237 w 1997094"/>
              <a:gd name="connsiteY49" fmla="*/ 2451490 h 3436871"/>
              <a:gd name="connsiteX50" fmla="*/ 1694164 w 1997094"/>
              <a:gd name="connsiteY50" fmla="*/ 2328074 h 3436871"/>
              <a:gd name="connsiteX51" fmla="*/ 1514650 w 1997094"/>
              <a:gd name="connsiteY51" fmla="*/ 2030754 h 3436871"/>
              <a:gd name="connsiteX52" fmla="*/ 1531479 w 1997094"/>
              <a:gd name="connsiteY52" fmla="*/ 1610018 h 3436871"/>
              <a:gd name="connsiteX53" fmla="*/ 1301477 w 1997094"/>
              <a:gd name="connsiteY53" fmla="*/ 1615627 h 3436871"/>
              <a:gd name="connsiteX54" fmla="*/ 1323916 w 1997094"/>
              <a:gd name="connsiteY54" fmla="*/ 1486602 h 3436871"/>
              <a:gd name="connsiteX55" fmla="*/ 1262208 w 1997094"/>
              <a:gd name="connsiteY55" fmla="*/ 1301478 h 3436871"/>
              <a:gd name="connsiteX56" fmla="*/ 1301477 w 1997094"/>
              <a:gd name="connsiteY56" fmla="*/ 1228550 h 3436871"/>
              <a:gd name="connsiteX57" fmla="*/ 1234159 w 1997094"/>
              <a:gd name="connsiteY57" fmla="*/ 1043426 h 3436871"/>
              <a:gd name="connsiteX58" fmla="*/ 1250989 w 1997094"/>
              <a:gd name="connsiteY58" fmla="*/ 847083 h 3436871"/>
              <a:gd name="connsiteX59" fmla="*/ 970498 w 1997094"/>
              <a:gd name="connsiteY59" fmla="*/ 712447 h 3436871"/>
              <a:gd name="connsiteX60" fmla="*/ 1015376 w 1997094"/>
              <a:gd name="connsiteY60" fmla="*/ 622690 h 3436871"/>
              <a:gd name="connsiteX61" fmla="*/ 1150012 w 1997094"/>
              <a:gd name="connsiteY61" fmla="*/ 482445 h 3436871"/>
              <a:gd name="connsiteX62" fmla="*/ 1166841 w 1997094"/>
              <a:gd name="connsiteY62" fmla="*/ 314150 h 3436871"/>
              <a:gd name="connsiteX63" fmla="*/ 1161232 w 1997094"/>
              <a:gd name="connsiteY63" fmla="*/ 196344 h 3436871"/>
              <a:gd name="connsiteX64" fmla="*/ 1065865 w 1997094"/>
              <a:gd name="connsiteY64" fmla="*/ 117807 h 3436871"/>
              <a:gd name="connsiteX65" fmla="*/ 998547 w 1997094"/>
              <a:gd name="connsiteY65" fmla="*/ 72928 h 3436871"/>
              <a:gd name="connsiteX66" fmla="*/ 920010 w 1997094"/>
              <a:gd name="connsiteY66" fmla="*/ 0 h 3436871"/>
              <a:gd name="connsiteX0" fmla="*/ 920010 w 1997094"/>
              <a:gd name="connsiteY0" fmla="*/ 0 h 3436871"/>
              <a:gd name="connsiteX1" fmla="*/ 779764 w 1997094"/>
              <a:gd name="connsiteY1" fmla="*/ 117807 h 3436871"/>
              <a:gd name="connsiteX2" fmla="*/ 751715 w 1997094"/>
              <a:gd name="connsiteY2" fmla="*/ 224393 h 3436871"/>
              <a:gd name="connsiteX3" fmla="*/ 656348 w 1997094"/>
              <a:gd name="connsiteY3" fmla="*/ 403907 h 3436871"/>
              <a:gd name="connsiteX4" fmla="*/ 656348 w 1997094"/>
              <a:gd name="connsiteY4" fmla="*/ 460005 h 3436871"/>
              <a:gd name="connsiteX5" fmla="*/ 673178 w 1997094"/>
              <a:gd name="connsiteY5" fmla="*/ 544153 h 3436871"/>
              <a:gd name="connsiteX6" fmla="*/ 448785 w 1997094"/>
              <a:gd name="connsiteY6" fmla="*/ 656349 h 3436871"/>
              <a:gd name="connsiteX7" fmla="*/ 263661 w 1997094"/>
              <a:gd name="connsiteY7" fmla="*/ 673178 h 3436871"/>
              <a:gd name="connsiteX8" fmla="*/ 218783 w 1997094"/>
              <a:gd name="connsiteY8" fmla="*/ 948059 h 3436871"/>
              <a:gd name="connsiteX9" fmla="*/ 168294 w 1997094"/>
              <a:gd name="connsiteY9" fmla="*/ 1082695 h 3436871"/>
              <a:gd name="connsiteX10" fmla="*/ 72927 w 1997094"/>
              <a:gd name="connsiteY10" fmla="*/ 1211721 h 3436871"/>
              <a:gd name="connsiteX11" fmla="*/ 0 w 1997094"/>
              <a:gd name="connsiteY11" fmla="*/ 1346356 h 3436871"/>
              <a:gd name="connsiteX12" fmla="*/ 134635 w 1997094"/>
              <a:gd name="connsiteY12" fmla="*/ 1705384 h 3436871"/>
              <a:gd name="connsiteX13" fmla="*/ 241222 w 1997094"/>
              <a:gd name="connsiteY13" fmla="*/ 1778312 h 3436871"/>
              <a:gd name="connsiteX14" fmla="*/ 291710 w 1997094"/>
              <a:gd name="connsiteY14" fmla="*/ 1744653 h 3436871"/>
              <a:gd name="connsiteX15" fmla="*/ 336589 w 1997094"/>
              <a:gd name="connsiteY15" fmla="*/ 1800751 h 3436871"/>
              <a:gd name="connsiteX16" fmla="*/ 370248 w 1997094"/>
              <a:gd name="connsiteY16" fmla="*/ 3141497 h 3436871"/>
              <a:gd name="connsiteX17" fmla="*/ 426346 w 1997094"/>
              <a:gd name="connsiteY17" fmla="*/ 3141497 h 3436871"/>
              <a:gd name="connsiteX18" fmla="*/ 431956 w 1997094"/>
              <a:gd name="connsiteY18" fmla="*/ 2423441 h 3436871"/>
              <a:gd name="connsiteX19" fmla="*/ 482444 w 1997094"/>
              <a:gd name="connsiteY19" fmla="*/ 2434660 h 3436871"/>
              <a:gd name="connsiteX20" fmla="*/ 493664 w 1997094"/>
              <a:gd name="connsiteY20" fmla="*/ 2928324 h 3436871"/>
              <a:gd name="connsiteX21" fmla="*/ 566591 w 1997094"/>
              <a:gd name="connsiteY21" fmla="*/ 2933934 h 3436871"/>
              <a:gd name="connsiteX22" fmla="*/ 572201 w 1997094"/>
              <a:gd name="connsiteY22" fmla="*/ 2457100 h 3436871"/>
              <a:gd name="connsiteX23" fmla="*/ 964888 w 1997094"/>
              <a:gd name="connsiteY23" fmla="*/ 2462710 h 3436871"/>
              <a:gd name="connsiteX24" fmla="*/ 970498 w 1997094"/>
              <a:gd name="connsiteY24" fmla="*/ 2866616 h 3436871"/>
              <a:gd name="connsiteX25" fmla="*/ 1026596 w 1997094"/>
              <a:gd name="connsiteY25" fmla="*/ 2877836 h 3436871"/>
              <a:gd name="connsiteX26" fmla="*/ 1020986 w 1997094"/>
              <a:gd name="connsiteY26" fmla="*/ 3051740 h 3436871"/>
              <a:gd name="connsiteX27" fmla="*/ 1009767 w 1997094"/>
              <a:gd name="connsiteY27" fmla="*/ 3175156 h 3436871"/>
              <a:gd name="connsiteX28" fmla="*/ 1020986 w 1997094"/>
              <a:gd name="connsiteY28" fmla="*/ 3393939 h 3436871"/>
              <a:gd name="connsiteX29" fmla="*/ 1217330 w 1997094"/>
              <a:gd name="connsiteY29" fmla="*/ 3410768 h 3436871"/>
              <a:gd name="connsiteX30" fmla="*/ 1211720 w 1997094"/>
              <a:gd name="connsiteY30" fmla="*/ 3225645 h 3436871"/>
              <a:gd name="connsiteX31" fmla="*/ 1228549 w 1997094"/>
              <a:gd name="connsiteY31" fmla="*/ 3051741 h 3436871"/>
              <a:gd name="connsiteX32" fmla="*/ 1211720 w 1997094"/>
              <a:gd name="connsiteY32" fmla="*/ 2922714 h 3436871"/>
              <a:gd name="connsiteX33" fmla="*/ 1234159 w 1997094"/>
              <a:gd name="connsiteY33" fmla="*/ 2883446 h 3436871"/>
              <a:gd name="connsiteX34" fmla="*/ 1239769 w 1997094"/>
              <a:gd name="connsiteY34" fmla="*/ 2614175 h 3436871"/>
              <a:gd name="connsiteX35" fmla="*/ 1301477 w 1997094"/>
              <a:gd name="connsiteY35" fmla="*/ 2586126 h 3436871"/>
              <a:gd name="connsiteX36" fmla="*/ 1284648 w 1997094"/>
              <a:gd name="connsiteY36" fmla="*/ 2417831 h 3436871"/>
              <a:gd name="connsiteX37" fmla="*/ 1351965 w 1997094"/>
              <a:gd name="connsiteY37" fmla="*/ 2608565 h 3436871"/>
              <a:gd name="connsiteX38" fmla="*/ 1380014 w 1997094"/>
              <a:gd name="connsiteY38" fmla="*/ 3119058 h 3436871"/>
              <a:gd name="connsiteX39" fmla="*/ 1447332 w 1997094"/>
              <a:gd name="connsiteY39" fmla="*/ 3091009 h 3436871"/>
              <a:gd name="connsiteX40" fmla="*/ 1419283 w 1997094"/>
              <a:gd name="connsiteY40" fmla="*/ 2625394 h 3436871"/>
              <a:gd name="connsiteX41" fmla="*/ 1469772 w 1997094"/>
              <a:gd name="connsiteY41" fmla="*/ 2636614 h 3436871"/>
              <a:gd name="connsiteX42" fmla="*/ 1480991 w 1997094"/>
              <a:gd name="connsiteY42" fmla="*/ 3292962 h 3436871"/>
              <a:gd name="connsiteX43" fmla="*/ 1531479 w 1997094"/>
              <a:gd name="connsiteY43" fmla="*/ 3276133 h 3436871"/>
              <a:gd name="connsiteX44" fmla="*/ 1553919 w 1997094"/>
              <a:gd name="connsiteY44" fmla="*/ 2821738 h 3436871"/>
              <a:gd name="connsiteX45" fmla="*/ 1604407 w 1997094"/>
              <a:gd name="connsiteY45" fmla="*/ 2961983 h 3436871"/>
              <a:gd name="connsiteX46" fmla="*/ 1952216 w 1997094"/>
              <a:gd name="connsiteY46" fmla="*/ 2771249 h 3436871"/>
              <a:gd name="connsiteX47" fmla="*/ 1997094 w 1997094"/>
              <a:gd name="connsiteY47" fmla="*/ 2653443 h 3436871"/>
              <a:gd name="connsiteX48" fmla="*/ 1823190 w 1997094"/>
              <a:gd name="connsiteY48" fmla="*/ 2642224 h 3436871"/>
              <a:gd name="connsiteX49" fmla="*/ 1694164 w 1997094"/>
              <a:gd name="connsiteY49" fmla="*/ 2546857 h 3436871"/>
              <a:gd name="connsiteX50" fmla="*/ 1621237 w 1997094"/>
              <a:gd name="connsiteY50" fmla="*/ 2451490 h 3436871"/>
              <a:gd name="connsiteX51" fmla="*/ 1694164 w 1997094"/>
              <a:gd name="connsiteY51" fmla="*/ 2328074 h 3436871"/>
              <a:gd name="connsiteX52" fmla="*/ 1514650 w 1997094"/>
              <a:gd name="connsiteY52" fmla="*/ 2030754 h 3436871"/>
              <a:gd name="connsiteX53" fmla="*/ 1531479 w 1997094"/>
              <a:gd name="connsiteY53" fmla="*/ 1610018 h 3436871"/>
              <a:gd name="connsiteX54" fmla="*/ 1301477 w 1997094"/>
              <a:gd name="connsiteY54" fmla="*/ 1615627 h 3436871"/>
              <a:gd name="connsiteX55" fmla="*/ 1323916 w 1997094"/>
              <a:gd name="connsiteY55" fmla="*/ 1486602 h 3436871"/>
              <a:gd name="connsiteX56" fmla="*/ 1262208 w 1997094"/>
              <a:gd name="connsiteY56" fmla="*/ 1301478 h 3436871"/>
              <a:gd name="connsiteX57" fmla="*/ 1301477 w 1997094"/>
              <a:gd name="connsiteY57" fmla="*/ 1228550 h 3436871"/>
              <a:gd name="connsiteX58" fmla="*/ 1234159 w 1997094"/>
              <a:gd name="connsiteY58" fmla="*/ 1043426 h 3436871"/>
              <a:gd name="connsiteX59" fmla="*/ 1250989 w 1997094"/>
              <a:gd name="connsiteY59" fmla="*/ 847083 h 3436871"/>
              <a:gd name="connsiteX60" fmla="*/ 970498 w 1997094"/>
              <a:gd name="connsiteY60" fmla="*/ 712447 h 3436871"/>
              <a:gd name="connsiteX61" fmla="*/ 1015376 w 1997094"/>
              <a:gd name="connsiteY61" fmla="*/ 622690 h 3436871"/>
              <a:gd name="connsiteX62" fmla="*/ 1150012 w 1997094"/>
              <a:gd name="connsiteY62" fmla="*/ 482445 h 3436871"/>
              <a:gd name="connsiteX63" fmla="*/ 1166841 w 1997094"/>
              <a:gd name="connsiteY63" fmla="*/ 314150 h 3436871"/>
              <a:gd name="connsiteX64" fmla="*/ 1161232 w 1997094"/>
              <a:gd name="connsiteY64" fmla="*/ 196344 h 3436871"/>
              <a:gd name="connsiteX65" fmla="*/ 1065865 w 1997094"/>
              <a:gd name="connsiteY65" fmla="*/ 117807 h 3436871"/>
              <a:gd name="connsiteX66" fmla="*/ 998547 w 1997094"/>
              <a:gd name="connsiteY66" fmla="*/ 72928 h 3436871"/>
              <a:gd name="connsiteX67" fmla="*/ 920010 w 1997094"/>
              <a:gd name="connsiteY67" fmla="*/ 0 h 3436871"/>
              <a:gd name="connsiteX0" fmla="*/ 920010 w 1997094"/>
              <a:gd name="connsiteY0" fmla="*/ 0 h 3436871"/>
              <a:gd name="connsiteX1" fmla="*/ 779764 w 1997094"/>
              <a:gd name="connsiteY1" fmla="*/ 117807 h 3436871"/>
              <a:gd name="connsiteX2" fmla="*/ 751715 w 1997094"/>
              <a:gd name="connsiteY2" fmla="*/ 224393 h 3436871"/>
              <a:gd name="connsiteX3" fmla="*/ 656348 w 1997094"/>
              <a:gd name="connsiteY3" fmla="*/ 403907 h 3436871"/>
              <a:gd name="connsiteX4" fmla="*/ 656348 w 1997094"/>
              <a:gd name="connsiteY4" fmla="*/ 460005 h 3436871"/>
              <a:gd name="connsiteX5" fmla="*/ 673178 w 1997094"/>
              <a:gd name="connsiteY5" fmla="*/ 544153 h 3436871"/>
              <a:gd name="connsiteX6" fmla="*/ 448785 w 1997094"/>
              <a:gd name="connsiteY6" fmla="*/ 656349 h 3436871"/>
              <a:gd name="connsiteX7" fmla="*/ 263661 w 1997094"/>
              <a:gd name="connsiteY7" fmla="*/ 673178 h 3436871"/>
              <a:gd name="connsiteX8" fmla="*/ 218783 w 1997094"/>
              <a:gd name="connsiteY8" fmla="*/ 948059 h 3436871"/>
              <a:gd name="connsiteX9" fmla="*/ 168294 w 1997094"/>
              <a:gd name="connsiteY9" fmla="*/ 1082695 h 3436871"/>
              <a:gd name="connsiteX10" fmla="*/ 72927 w 1997094"/>
              <a:gd name="connsiteY10" fmla="*/ 1211721 h 3436871"/>
              <a:gd name="connsiteX11" fmla="*/ 0 w 1997094"/>
              <a:gd name="connsiteY11" fmla="*/ 1346356 h 3436871"/>
              <a:gd name="connsiteX12" fmla="*/ 134635 w 1997094"/>
              <a:gd name="connsiteY12" fmla="*/ 1705384 h 3436871"/>
              <a:gd name="connsiteX13" fmla="*/ 241222 w 1997094"/>
              <a:gd name="connsiteY13" fmla="*/ 1778312 h 3436871"/>
              <a:gd name="connsiteX14" fmla="*/ 291710 w 1997094"/>
              <a:gd name="connsiteY14" fmla="*/ 1744653 h 3436871"/>
              <a:gd name="connsiteX15" fmla="*/ 336589 w 1997094"/>
              <a:gd name="connsiteY15" fmla="*/ 1800751 h 3436871"/>
              <a:gd name="connsiteX16" fmla="*/ 370248 w 1997094"/>
              <a:gd name="connsiteY16" fmla="*/ 3141497 h 3436871"/>
              <a:gd name="connsiteX17" fmla="*/ 426346 w 1997094"/>
              <a:gd name="connsiteY17" fmla="*/ 3141497 h 3436871"/>
              <a:gd name="connsiteX18" fmla="*/ 431956 w 1997094"/>
              <a:gd name="connsiteY18" fmla="*/ 2423441 h 3436871"/>
              <a:gd name="connsiteX19" fmla="*/ 482444 w 1997094"/>
              <a:gd name="connsiteY19" fmla="*/ 2434660 h 3436871"/>
              <a:gd name="connsiteX20" fmla="*/ 493664 w 1997094"/>
              <a:gd name="connsiteY20" fmla="*/ 2928324 h 3436871"/>
              <a:gd name="connsiteX21" fmla="*/ 566591 w 1997094"/>
              <a:gd name="connsiteY21" fmla="*/ 2933934 h 3436871"/>
              <a:gd name="connsiteX22" fmla="*/ 572201 w 1997094"/>
              <a:gd name="connsiteY22" fmla="*/ 2457100 h 3436871"/>
              <a:gd name="connsiteX23" fmla="*/ 964888 w 1997094"/>
              <a:gd name="connsiteY23" fmla="*/ 2462710 h 3436871"/>
              <a:gd name="connsiteX24" fmla="*/ 970498 w 1997094"/>
              <a:gd name="connsiteY24" fmla="*/ 2866616 h 3436871"/>
              <a:gd name="connsiteX25" fmla="*/ 1026596 w 1997094"/>
              <a:gd name="connsiteY25" fmla="*/ 2877836 h 3436871"/>
              <a:gd name="connsiteX26" fmla="*/ 1020986 w 1997094"/>
              <a:gd name="connsiteY26" fmla="*/ 3051740 h 3436871"/>
              <a:gd name="connsiteX27" fmla="*/ 1009767 w 1997094"/>
              <a:gd name="connsiteY27" fmla="*/ 3175156 h 3436871"/>
              <a:gd name="connsiteX28" fmla="*/ 1020986 w 1997094"/>
              <a:gd name="connsiteY28" fmla="*/ 3393939 h 3436871"/>
              <a:gd name="connsiteX29" fmla="*/ 1217330 w 1997094"/>
              <a:gd name="connsiteY29" fmla="*/ 3410768 h 3436871"/>
              <a:gd name="connsiteX30" fmla="*/ 1211720 w 1997094"/>
              <a:gd name="connsiteY30" fmla="*/ 3225645 h 3436871"/>
              <a:gd name="connsiteX31" fmla="*/ 1228549 w 1997094"/>
              <a:gd name="connsiteY31" fmla="*/ 3051741 h 3436871"/>
              <a:gd name="connsiteX32" fmla="*/ 1211720 w 1997094"/>
              <a:gd name="connsiteY32" fmla="*/ 2922714 h 3436871"/>
              <a:gd name="connsiteX33" fmla="*/ 1234159 w 1997094"/>
              <a:gd name="connsiteY33" fmla="*/ 2883446 h 3436871"/>
              <a:gd name="connsiteX34" fmla="*/ 1250988 w 1997094"/>
              <a:gd name="connsiteY34" fmla="*/ 2664663 h 3436871"/>
              <a:gd name="connsiteX35" fmla="*/ 1301477 w 1997094"/>
              <a:gd name="connsiteY35" fmla="*/ 2586126 h 3436871"/>
              <a:gd name="connsiteX36" fmla="*/ 1284648 w 1997094"/>
              <a:gd name="connsiteY36" fmla="*/ 2417831 h 3436871"/>
              <a:gd name="connsiteX37" fmla="*/ 1351965 w 1997094"/>
              <a:gd name="connsiteY37" fmla="*/ 2608565 h 3436871"/>
              <a:gd name="connsiteX38" fmla="*/ 1380014 w 1997094"/>
              <a:gd name="connsiteY38" fmla="*/ 3119058 h 3436871"/>
              <a:gd name="connsiteX39" fmla="*/ 1447332 w 1997094"/>
              <a:gd name="connsiteY39" fmla="*/ 3091009 h 3436871"/>
              <a:gd name="connsiteX40" fmla="*/ 1419283 w 1997094"/>
              <a:gd name="connsiteY40" fmla="*/ 2625394 h 3436871"/>
              <a:gd name="connsiteX41" fmla="*/ 1469772 w 1997094"/>
              <a:gd name="connsiteY41" fmla="*/ 2636614 h 3436871"/>
              <a:gd name="connsiteX42" fmla="*/ 1480991 w 1997094"/>
              <a:gd name="connsiteY42" fmla="*/ 3292962 h 3436871"/>
              <a:gd name="connsiteX43" fmla="*/ 1531479 w 1997094"/>
              <a:gd name="connsiteY43" fmla="*/ 3276133 h 3436871"/>
              <a:gd name="connsiteX44" fmla="*/ 1553919 w 1997094"/>
              <a:gd name="connsiteY44" fmla="*/ 2821738 h 3436871"/>
              <a:gd name="connsiteX45" fmla="*/ 1604407 w 1997094"/>
              <a:gd name="connsiteY45" fmla="*/ 2961983 h 3436871"/>
              <a:gd name="connsiteX46" fmla="*/ 1952216 w 1997094"/>
              <a:gd name="connsiteY46" fmla="*/ 2771249 h 3436871"/>
              <a:gd name="connsiteX47" fmla="*/ 1997094 w 1997094"/>
              <a:gd name="connsiteY47" fmla="*/ 2653443 h 3436871"/>
              <a:gd name="connsiteX48" fmla="*/ 1823190 w 1997094"/>
              <a:gd name="connsiteY48" fmla="*/ 2642224 h 3436871"/>
              <a:gd name="connsiteX49" fmla="*/ 1694164 w 1997094"/>
              <a:gd name="connsiteY49" fmla="*/ 2546857 h 3436871"/>
              <a:gd name="connsiteX50" fmla="*/ 1621237 w 1997094"/>
              <a:gd name="connsiteY50" fmla="*/ 2451490 h 3436871"/>
              <a:gd name="connsiteX51" fmla="*/ 1694164 w 1997094"/>
              <a:gd name="connsiteY51" fmla="*/ 2328074 h 3436871"/>
              <a:gd name="connsiteX52" fmla="*/ 1514650 w 1997094"/>
              <a:gd name="connsiteY52" fmla="*/ 2030754 h 3436871"/>
              <a:gd name="connsiteX53" fmla="*/ 1531479 w 1997094"/>
              <a:gd name="connsiteY53" fmla="*/ 1610018 h 3436871"/>
              <a:gd name="connsiteX54" fmla="*/ 1301477 w 1997094"/>
              <a:gd name="connsiteY54" fmla="*/ 1615627 h 3436871"/>
              <a:gd name="connsiteX55" fmla="*/ 1323916 w 1997094"/>
              <a:gd name="connsiteY55" fmla="*/ 1486602 h 3436871"/>
              <a:gd name="connsiteX56" fmla="*/ 1262208 w 1997094"/>
              <a:gd name="connsiteY56" fmla="*/ 1301478 h 3436871"/>
              <a:gd name="connsiteX57" fmla="*/ 1301477 w 1997094"/>
              <a:gd name="connsiteY57" fmla="*/ 1228550 h 3436871"/>
              <a:gd name="connsiteX58" fmla="*/ 1234159 w 1997094"/>
              <a:gd name="connsiteY58" fmla="*/ 1043426 h 3436871"/>
              <a:gd name="connsiteX59" fmla="*/ 1250989 w 1997094"/>
              <a:gd name="connsiteY59" fmla="*/ 847083 h 3436871"/>
              <a:gd name="connsiteX60" fmla="*/ 970498 w 1997094"/>
              <a:gd name="connsiteY60" fmla="*/ 712447 h 3436871"/>
              <a:gd name="connsiteX61" fmla="*/ 1015376 w 1997094"/>
              <a:gd name="connsiteY61" fmla="*/ 622690 h 3436871"/>
              <a:gd name="connsiteX62" fmla="*/ 1150012 w 1997094"/>
              <a:gd name="connsiteY62" fmla="*/ 482445 h 3436871"/>
              <a:gd name="connsiteX63" fmla="*/ 1166841 w 1997094"/>
              <a:gd name="connsiteY63" fmla="*/ 314150 h 3436871"/>
              <a:gd name="connsiteX64" fmla="*/ 1161232 w 1997094"/>
              <a:gd name="connsiteY64" fmla="*/ 196344 h 3436871"/>
              <a:gd name="connsiteX65" fmla="*/ 1065865 w 1997094"/>
              <a:gd name="connsiteY65" fmla="*/ 117807 h 3436871"/>
              <a:gd name="connsiteX66" fmla="*/ 998547 w 1997094"/>
              <a:gd name="connsiteY66" fmla="*/ 72928 h 3436871"/>
              <a:gd name="connsiteX67" fmla="*/ 920010 w 1997094"/>
              <a:gd name="connsiteY67" fmla="*/ 0 h 3436871"/>
              <a:gd name="connsiteX0" fmla="*/ 920010 w 1997094"/>
              <a:gd name="connsiteY0" fmla="*/ 0 h 3436871"/>
              <a:gd name="connsiteX1" fmla="*/ 779764 w 1997094"/>
              <a:gd name="connsiteY1" fmla="*/ 117807 h 3436871"/>
              <a:gd name="connsiteX2" fmla="*/ 751715 w 1997094"/>
              <a:gd name="connsiteY2" fmla="*/ 224393 h 3436871"/>
              <a:gd name="connsiteX3" fmla="*/ 656348 w 1997094"/>
              <a:gd name="connsiteY3" fmla="*/ 403907 h 3436871"/>
              <a:gd name="connsiteX4" fmla="*/ 656348 w 1997094"/>
              <a:gd name="connsiteY4" fmla="*/ 460005 h 3436871"/>
              <a:gd name="connsiteX5" fmla="*/ 673178 w 1997094"/>
              <a:gd name="connsiteY5" fmla="*/ 544153 h 3436871"/>
              <a:gd name="connsiteX6" fmla="*/ 448785 w 1997094"/>
              <a:gd name="connsiteY6" fmla="*/ 656349 h 3436871"/>
              <a:gd name="connsiteX7" fmla="*/ 263661 w 1997094"/>
              <a:gd name="connsiteY7" fmla="*/ 673178 h 3436871"/>
              <a:gd name="connsiteX8" fmla="*/ 218783 w 1997094"/>
              <a:gd name="connsiteY8" fmla="*/ 948059 h 3436871"/>
              <a:gd name="connsiteX9" fmla="*/ 168294 w 1997094"/>
              <a:gd name="connsiteY9" fmla="*/ 1082695 h 3436871"/>
              <a:gd name="connsiteX10" fmla="*/ 72927 w 1997094"/>
              <a:gd name="connsiteY10" fmla="*/ 1211721 h 3436871"/>
              <a:gd name="connsiteX11" fmla="*/ 0 w 1997094"/>
              <a:gd name="connsiteY11" fmla="*/ 1346356 h 3436871"/>
              <a:gd name="connsiteX12" fmla="*/ 134635 w 1997094"/>
              <a:gd name="connsiteY12" fmla="*/ 1705384 h 3436871"/>
              <a:gd name="connsiteX13" fmla="*/ 241222 w 1997094"/>
              <a:gd name="connsiteY13" fmla="*/ 1778312 h 3436871"/>
              <a:gd name="connsiteX14" fmla="*/ 291710 w 1997094"/>
              <a:gd name="connsiteY14" fmla="*/ 1744653 h 3436871"/>
              <a:gd name="connsiteX15" fmla="*/ 336589 w 1997094"/>
              <a:gd name="connsiteY15" fmla="*/ 1800751 h 3436871"/>
              <a:gd name="connsiteX16" fmla="*/ 370248 w 1997094"/>
              <a:gd name="connsiteY16" fmla="*/ 3141497 h 3436871"/>
              <a:gd name="connsiteX17" fmla="*/ 426346 w 1997094"/>
              <a:gd name="connsiteY17" fmla="*/ 3141497 h 3436871"/>
              <a:gd name="connsiteX18" fmla="*/ 431956 w 1997094"/>
              <a:gd name="connsiteY18" fmla="*/ 2423441 h 3436871"/>
              <a:gd name="connsiteX19" fmla="*/ 482444 w 1997094"/>
              <a:gd name="connsiteY19" fmla="*/ 2434660 h 3436871"/>
              <a:gd name="connsiteX20" fmla="*/ 493664 w 1997094"/>
              <a:gd name="connsiteY20" fmla="*/ 2928324 h 3436871"/>
              <a:gd name="connsiteX21" fmla="*/ 566591 w 1997094"/>
              <a:gd name="connsiteY21" fmla="*/ 2933934 h 3436871"/>
              <a:gd name="connsiteX22" fmla="*/ 572201 w 1997094"/>
              <a:gd name="connsiteY22" fmla="*/ 2457100 h 3436871"/>
              <a:gd name="connsiteX23" fmla="*/ 964888 w 1997094"/>
              <a:gd name="connsiteY23" fmla="*/ 2462710 h 3436871"/>
              <a:gd name="connsiteX24" fmla="*/ 970498 w 1997094"/>
              <a:gd name="connsiteY24" fmla="*/ 2866616 h 3436871"/>
              <a:gd name="connsiteX25" fmla="*/ 1026596 w 1997094"/>
              <a:gd name="connsiteY25" fmla="*/ 2877836 h 3436871"/>
              <a:gd name="connsiteX26" fmla="*/ 1020986 w 1997094"/>
              <a:gd name="connsiteY26" fmla="*/ 3051740 h 3436871"/>
              <a:gd name="connsiteX27" fmla="*/ 1009767 w 1997094"/>
              <a:gd name="connsiteY27" fmla="*/ 3175156 h 3436871"/>
              <a:gd name="connsiteX28" fmla="*/ 1020986 w 1997094"/>
              <a:gd name="connsiteY28" fmla="*/ 3393939 h 3436871"/>
              <a:gd name="connsiteX29" fmla="*/ 1217330 w 1997094"/>
              <a:gd name="connsiteY29" fmla="*/ 3410768 h 3436871"/>
              <a:gd name="connsiteX30" fmla="*/ 1211720 w 1997094"/>
              <a:gd name="connsiteY30" fmla="*/ 3225645 h 3436871"/>
              <a:gd name="connsiteX31" fmla="*/ 1228549 w 1997094"/>
              <a:gd name="connsiteY31" fmla="*/ 3051741 h 3436871"/>
              <a:gd name="connsiteX32" fmla="*/ 1211720 w 1997094"/>
              <a:gd name="connsiteY32" fmla="*/ 2922714 h 3436871"/>
              <a:gd name="connsiteX33" fmla="*/ 1234159 w 1997094"/>
              <a:gd name="connsiteY33" fmla="*/ 2883446 h 3436871"/>
              <a:gd name="connsiteX34" fmla="*/ 1250988 w 1997094"/>
              <a:gd name="connsiteY34" fmla="*/ 2664663 h 3436871"/>
              <a:gd name="connsiteX35" fmla="*/ 1256599 w 1997094"/>
              <a:gd name="connsiteY35" fmla="*/ 2552467 h 3436871"/>
              <a:gd name="connsiteX36" fmla="*/ 1284648 w 1997094"/>
              <a:gd name="connsiteY36" fmla="*/ 2417831 h 3436871"/>
              <a:gd name="connsiteX37" fmla="*/ 1351965 w 1997094"/>
              <a:gd name="connsiteY37" fmla="*/ 2608565 h 3436871"/>
              <a:gd name="connsiteX38" fmla="*/ 1380014 w 1997094"/>
              <a:gd name="connsiteY38" fmla="*/ 3119058 h 3436871"/>
              <a:gd name="connsiteX39" fmla="*/ 1447332 w 1997094"/>
              <a:gd name="connsiteY39" fmla="*/ 3091009 h 3436871"/>
              <a:gd name="connsiteX40" fmla="*/ 1419283 w 1997094"/>
              <a:gd name="connsiteY40" fmla="*/ 2625394 h 3436871"/>
              <a:gd name="connsiteX41" fmla="*/ 1469772 w 1997094"/>
              <a:gd name="connsiteY41" fmla="*/ 2636614 h 3436871"/>
              <a:gd name="connsiteX42" fmla="*/ 1480991 w 1997094"/>
              <a:gd name="connsiteY42" fmla="*/ 3292962 h 3436871"/>
              <a:gd name="connsiteX43" fmla="*/ 1531479 w 1997094"/>
              <a:gd name="connsiteY43" fmla="*/ 3276133 h 3436871"/>
              <a:gd name="connsiteX44" fmla="*/ 1553919 w 1997094"/>
              <a:gd name="connsiteY44" fmla="*/ 2821738 h 3436871"/>
              <a:gd name="connsiteX45" fmla="*/ 1604407 w 1997094"/>
              <a:gd name="connsiteY45" fmla="*/ 2961983 h 3436871"/>
              <a:gd name="connsiteX46" fmla="*/ 1952216 w 1997094"/>
              <a:gd name="connsiteY46" fmla="*/ 2771249 h 3436871"/>
              <a:gd name="connsiteX47" fmla="*/ 1997094 w 1997094"/>
              <a:gd name="connsiteY47" fmla="*/ 2653443 h 3436871"/>
              <a:gd name="connsiteX48" fmla="*/ 1823190 w 1997094"/>
              <a:gd name="connsiteY48" fmla="*/ 2642224 h 3436871"/>
              <a:gd name="connsiteX49" fmla="*/ 1694164 w 1997094"/>
              <a:gd name="connsiteY49" fmla="*/ 2546857 h 3436871"/>
              <a:gd name="connsiteX50" fmla="*/ 1621237 w 1997094"/>
              <a:gd name="connsiteY50" fmla="*/ 2451490 h 3436871"/>
              <a:gd name="connsiteX51" fmla="*/ 1694164 w 1997094"/>
              <a:gd name="connsiteY51" fmla="*/ 2328074 h 3436871"/>
              <a:gd name="connsiteX52" fmla="*/ 1514650 w 1997094"/>
              <a:gd name="connsiteY52" fmla="*/ 2030754 h 3436871"/>
              <a:gd name="connsiteX53" fmla="*/ 1531479 w 1997094"/>
              <a:gd name="connsiteY53" fmla="*/ 1610018 h 3436871"/>
              <a:gd name="connsiteX54" fmla="*/ 1301477 w 1997094"/>
              <a:gd name="connsiteY54" fmla="*/ 1615627 h 3436871"/>
              <a:gd name="connsiteX55" fmla="*/ 1323916 w 1997094"/>
              <a:gd name="connsiteY55" fmla="*/ 1486602 h 3436871"/>
              <a:gd name="connsiteX56" fmla="*/ 1262208 w 1997094"/>
              <a:gd name="connsiteY56" fmla="*/ 1301478 h 3436871"/>
              <a:gd name="connsiteX57" fmla="*/ 1301477 w 1997094"/>
              <a:gd name="connsiteY57" fmla="*/ 1228550 h 3436871"/>
              <a:gd name="connsiteX58" fmla="*/ 1234159 w 1997094"/>
              <a:gd name="connsiteY58" fmla="*/ 1043426 h 3436871"/>
              <a:gd name="connsiteX59" fmla="*/ 1250989 w 1997094"/>
              <a:gd name="connsiteY59" fmla="*/ 847083 h 3436871"/>
              <a:gd name="connsiteX60" fmla="*/ 970498 w 1997094"/>
              <a:gd name="connsiteY60" fmla="*/ 712447 h 3436871"/>
              <a:gd name="connsiteX61" fmla="*/ 1015376 w 1997094"/>
              <a:gd name="connsiteY61" fmla="*/ 622690 h 3436871"/>
              <a:gd name="connsiteX62" fmla="*/ 1150012 w 1997094"/>
              <a:gd name="connsiteY62" fmla="*/ 482445 h 3436871"/>
              <a:gd name="connsiteX63" fmla="*/ 1166841 w 1997094"/>
              <a:gd name="connsiteY63" fmla="*/ 314150 h 3436871"/>
              <a:gd name="connsiteX64" fmla="*/ 1161232 w 1997094"/>
              <a:gd name="connsiteY64" fmla="*/ 196344 h 3436871"/>
              <a:gd name="connsiteX65" fmla="*/ 1065865 w 1997094"/>
              <a:gd name="connsiteY65" fmla="*/ 117807 h 3436871"/>
              <a:gd name="connsiteX66" fmla="*/ 998547 w 1997094"/>
              <a:gd name="connsiteY66" fmla="*/ 72928 h 3436871"/>
              <a:gd name="connsiteX67" fmla="*/ 920010 w 1997094"/>
              <a:gd name="connsiteY67" fmla="*/ 0 h 3436871"/>
              <a:gd name="connsiteX0" fmla="*/ 920010 w 1997094"/>
              <a:gd name="connsiteY0" fmla="*/ 0 h 3436871"/>
              <a:gd name="connsiteX1" fmla="*/ 779764 w 1997094"/>
              <a:gd name="connsiteY1" fmla="*/ 117807 h 3436871"/>
              <a:gd name="connsiteX2" fmla="*/ 751715 w 1997094"/>
              <a:gd name="connsiteY2" fmla="*/ 224393 h 3436871"/>
              <a:gd name="connsiteX3" fmla="*/ 656348 w 1997094"/>
              <a:gd name="connsiteY3" fmla="*/ 403907 h 3436871"/>
              <a:gd name="connsiteX4" fmla="*/ 656348 w 1997094"/>
              <a:gd name="connsiteY4" fmla="*/ 460005 h 3436871"/>
              <a:gd name="connsiteX5" fmla="*/ 673178 w 1997094"/>
              <a:gd name="connsiteY5" fmla="*/ 544153 h 3436871"/>
              <a:gd name="connsiteX6" fmla="*/ 448785 w 1997094"/>
              <a:gd name="connsiteY6" fmla="*/ 656349 h 3436871"/>
              <a:gd name="connsiteX7" fmla="*/ 263661 w 1997094"/>
              <a:gd name="connsiteY7" fmla="*/ 673178 h 3436871"/>
              <a:gd name="connsiteX8" fmla="*/ 218783 w 1997094"/>
              <a:gd name="connsiteY8" fmla="*/ 948059 h 3436871"/>
              <a:gd name="connsiteX9" fmla="*/ 168294 w 1997094"/>
              <a:gd name="connsiteY9" fmla="*/ 1082695 h 3436871"/>
              <a:gd name="connsiteX10" fmla="*/ 72927 w 1997094"/>
              <a:gd name="connsiteY10" fmla="*/ 1211721 h 3436871"/>
              <a:gd name="connsiteX11" fmla="*/ 0 w 1997094"/>
              <a:gd name="connsiteY11" fmla="*/ 1346356 h 3436871"/>
              <a:gd name="connsiteX12" fmla="*/ 134635 w 1997094"/>
              <a:gd name="connsiteY12" fmla="*/ 1705384 h 3436871"/>
              <a:gd name="connsiteX13" fmla="*/ 241222 w 1997094"/>
              <a:gd name="connsiteY13" fmla="*/ 1778312 h 3436871"/>
              <a:gd name="connsiteX14" fmla="*/ 291710 w 1997094"/>
              <a:gd name="connsiteY14" fmla="*/ 1744653 h 3436871"/>
              <a:gd name="connsiteX15" fmla="*/ 336589 w 1997094"/>
              <a:gd name="connsiteY15" fmla="*/ 1800751 h 3436871"/>
              <a:gd name="connsiteX16" fmla="*/ 370248 w 1997094"/>
              <a:gd name="connsiteY16" fmla="*/ 3141497 h 3436871"/>
              <a:gd name="connsiteX17" fmla="*/ 426346 w 1997094"/>
              <a:gd name="connsiteY17" fmla="*/ 3141497 h 3436871"/>
              <a:gd name="connsiteX18" fmla="*/ 431956 w 1997094"/>
              <a:gd name="connsiteY18" fmla="*/ 2423441 h 3436871"/>
              <a:gd name="connsiteX19" fmla="*/ 482444 w 1997094"/>
              <a:gd name="connsiteY19" fmla="*/ 2434660 h 3436871"/>
              <a:gd name="connsiteX20" fmla="*/ 493664 w 1997094"/>
              <a:gd name="connsiteY20" fmla="*/ 2928324 h 3436871"/>
              <a:gd name="connsiteX21" fmla="*/ 566591 w 1997094"/>
              <a:gd name="connsiteY21" fmla="*/ 2933934 h 3436871"/>
              <a:gd name="connsiteX22" fmla="*/ 572201 w 1997094"/>
              <a:gd name="connsiteY22" fmla="*/ 2457100 h 3436871"/>
              <a:gd name="connsiteX23" fmla="*/ 964888 w 1997094"/>
              <a:gd name="connsiteY23" fmla="*/ 2462710 h 3436871"/>
              <a:gd name="connsiteX24" fmla="*/ 970498 w 1997094"/>
              <a:gd name="connsiteY24" fmla="*/ 2866616 h 3436871"/>
              <a:gd name="connsiteX25" fmla="*/ 1026596 w 1997094"/>
              <a:gd name="connsiteY25" fmla="*/ 2877836 h 3436871"/>
              <a:gd name="connsiteX26" fmla="*/ 1020986 w 1997094"/>
              <a:gd name="connsiteY26" fmla="*/ 3051740 h 3436871"/>
              <a:gd name="connsiteX27" fmla="*/ 1009767 w 1997094"/>
              <a:gd name="connsiteY27" fmla="*/ 3175156 h 3436871"/>
              <a:gd name="connsiteX28" fmla="*/ 1020986 w 1997094"/>
              <a:gd name="connsiteY28" fmla="*/ 3393939 h 3436871"/>
              <a:gd name="connsiteX29" fmla="*/ 1217330 w 1997094"/>
              <a:gd name="connsiteY29" fmla="*/ 3410768 h 3436871"/>
              <a:gd name="connsiteX30" fmla="*/ 1211720 w 1997094"/>
              <a:gd name="connsiteY30" fmla="*/ 3225645 h 3436871"/>
              <a:gd name="connsiteX31" fmla="*/ 1228549 w 1997094"/>
              <a:gd name="connsiteY31" fmla="*/ 3051741 h 3436871"/>
              <a:gd name="connsiteX32" fmla="*/ 1211720 w 1997094"/>
              <a:gd name="connsiteY32" fmla="*/ 2922714 h 3436871"/>
              <a:gd name="connsiteX33" fmla="*/ 1234159 w 1997094"/>
              <a:gd name="connsiteY33" fmla="*/ 2883446 h 3436871"/>
              <a:gd name="connsiteX34" fmla="*/ 1250988 w 1997094"/>
              <a:gd name="connsiteY34" fmla="*/ 2664663 h 3436871"/>
              <a:gd name="connsiteX35" fmla="*/ 1256599 w 1997094"/>
              <a:gd name="connsiteY35" fmla="*/ 2552467 h 3436871"/>
              <a:gd name="connsiteX36" fmla="*/ 1262209 w 1997094"/>
              <a:gd name="connsiteY36" fmla="*/ 2417831 h 3436871"/>
              <a:gd name="connsiteX37" fmla="*/ 1351965 w 1997094"/>
              <a:gd name="connsiteY37" fmla="*/ 2608565 h 3436871"/>
              <a:gd name="connsiteX38" fmla="*/ 1380014 w 1997094"/>
              <a:gd name="connsiteY38" fmla="*/ 3119058 h 3436871"/>
              <a:gd name="connsiteX39" fmla="*/ 1447332 w 1997094"/>
              <a:gd name="connsiteY39" fmla="*/ 3091009 h 3436871"/>
              <a:gd name="connsiteX40" fmla="*/ 1419283 w 1997094"/>
              <a:gd name="connsiteY40" fmla="*/ 2625394 h 3436871"/>
              <a:gd name="connsiteX41" fmla="*/ 1469772 w 1997094"/>
              <a:gd name="connsiteY41" fmla="*/ 2636614 h 3436871"/>
              <a:gd name="connsiteX42" fmla="*/ 1480991 w 1997094"/>
              <a:gd name="connsiteY42" fmla="*/ 3292962 h 3436871"/>
              <a:gd name="connsiteX43" fmla="*/ 1531479 w 1997094"/>
              <a:gd name="connsiteY43" fmla="*/ 3276133 h 3436871"/>
              <a:gd name="connsiteX44" fmla="*/ 1553919 w 1997094"/>
              <a:gd name="connsiteY44" fmla="*/ 2821738 h 3436871"/>
              <a:gd name="connsiteX45" fmla="*/ 1604407 w 1997094"/>
              <a:gd name="connsiteY45" fmla="*/ 2961983 h 3436871"/>
              <a:gd name="connsiteX46" fmla="*/ 1952216 w 1997094"/>
              <a:gd name="connsiteY46" fmla="*/ 2771249 h 3436871"/>
              <a:gd name="connsiteX47" fmla="*/ 1997094 w 1997094"/>
              <a:gd name="connsiteY47" fmla="*/ 2653443 h 3436871"/>
              <a:gd name="connsiteX48" fmla="*/ 1823190 w 1997094"/>
              <a:gd name="connsiteY48" fmla="*/ 2642224 h 3436871"/>
              <a:gd name="connsiteX49" fmla="*/ 1694164 w 1997094"/>
              <a:gd name="connsiteY49" fmla="*/ 2546857 h 3436871"/>
              <a:gd name="connsiteX50" fmla="*/ 1621237 w 1997094"/>
              <a:gd name="connsiteY50" fmla="*/ 2451490 h 3436871"/>
              <a:gd name="connsiteX51" fmla="*/ 1694164 w 1997094"/>
              <a:gd name="connsiteY51" fmla="*/ 2328074 h 3436871"/>
              <a:gd name="connsiteX52" fmla="*/ 1514650 w 1997094"/>
              <a:gd name="connsiteY52" fmla="*/ 2030754 h 3436871"/>
              <a:gd name="connsiteX53" fmla="*/ 1531479 w 1997094"/>
              <a:gd name="connsiteY53" fmla="*/ 1610018 h 3436871"/>
              <a:gd name="connsiteX54" fmla="*/ 1301477 w 1997094"/>
              <a:gd name="connsiteY54" fmla="*/ 1615627 h 3436871"/>
              <a:gd name="connsiteX55" fmla="*/ 1323916 w 1997094"/>
              <a:gd name="connsiteY55" fmla="*/ 1486602 h 3436871"/>
              <a:gd name="connsiteX56" fmla="*/ 1262208 w 1997094"/>
              <a:gd name="connsiteY56" fmla="*/ 1301478 h 3436871"/>
              <a:gd name="connsiteX57" fmla="*/ 1301477 w 1997094"/>
              <a:gd name="connsiteY57" fmla="*/ 1228550 h 3436871"/>
              <a:gd name="connsiteX58" fmla="*/ 1234159 w 1997094"/>
              <a:gd name="connsiteY58" fmla="*/ 1043426 h 3436871"/>
              <a:gd name="connsiteX59" fmla="*/ 1250989 w 1997094"/>
              <a:gd name="connsiteY59" fmla="*/ 847083 h 3436871"/>
              <a:gd name="connsiteX60" fmla="*/ 970498 w 1997094"/>
              <a:gd name="connsiteY60" fmla="*/ 712447 h 3436871"/>
              <a:gd name="connsiteX61" fmla="*/ 1015376 w 1997094"/>
              <a:gd name="connsiteY61" fmla="*/ 622690 h 3436871"/>
              <a:gd name="connsiteX62" fmla="*/ 1150012 w 1997094"/>
              <a:gd name="connsiteY62" fmla="*/ 482445 h 3436871"/>
              <a:gd name="connsiteX63" fmla="*/ 1166841 w 1997094"/>
              <a:gd name="connsiteY63" fmla="*/ 314150 h 3436871"/>
              <a:gd name="connsiteX64" fmla="*/ 1161232 w 1997094"/>
              <a:gd name="connsiteY64" fmla="*/ 196344 h 3436871"/>
              <a:gd name="connsiteX65" fmla="*/ 1065865 w 1997094"/>
              <a:gd name="connsiteY65" fmla="*/ 117807 h 3436871"/>
              <a:gd name="connsiteX66" fmla="*/ 998547 w 1997094"/>
              <a:gd name="connsiteY66" fmla="*/ 72928 h 3436871"/>
              <a:gd name="connsiteX67" fmla="*/ 920010 w 1997094"/>
              <a:gd name="connsiteY67" fmla="*/ 0 h 3436871"/>
              <a:gd name="connsiteX0" fmla="*/ 920010 w 1997094"/>
              <a:gd name="connsiteY0" fmla="*/ 0 h 3436871"/>
              <a:gd name="connsiteX1" fmla="*/ 779764 w 1997094"/>
              <a:gd name="connsiteY1" fmla="*/ 117807 h 3436871"/>
              <a:gd name="connsiteX2" fmla="*/ 751715 w 1997094"/>
              <a:gd name="connsiteY2" fmla="*/ 224393 h 3436871"/>
              <a:gd name="connsiteX3" fmla="*/ 656348 w 1997094"/>
              <a:gd name="connsiteY3" fmla="*/ 403907 h 3436871"/>
              <a:gd name="connsiteX4" fmla="*/ 656348 w 1997094"/>
              <a:gd name="connsiteY4" fmla="*/ 460005 h 3436871"/>
              <a:gd name="connsiteX5" fmla="*/ 673178 w 1997094"/>
              <a:gd name="connsiteY5" fmla="*/ 544153 h 3436871"/>
              <a:gd name="connsiteX6" fmla="*/ 448785 w 1997094"/>
              <a:gd name="connsiteY6" fmla="*/ 656349 h 3436871"/>
              <a:gd name="connsiteX7" fmla="*/ 263661 w 1997094"/>
              <a:gd name="connsiteY7" fmla="*/ 673178 h 3436871"/>
              <a:gd name="connsiteX8" fmla="*/ 218783 w 1997094"/>
              <a:gd name="connsiteY8" fmla="*/ 948059 h 3436871"/>
              <a:gd name="connsiteX9" fmla="*/ 168294 w 1997094"/>
              <a:gd name="connsiteY9" fmla="*/ 1082695 h 3436871"/>
              <a:gd name="connsiteX10" fmla="*/ 72927 w 1997094"/>
              <a:gd name="connsiteY10" fmla="*/ 1211721 h 3436871"/>
              <a:gd name="connsiteX11" fmla="*/ 0 w 1997094"/>
              <a:gd name="connsiteY11" fmla="*/ 1346356 h 3436871"/>
              <a:gd name="connsiteX12" fmla="*/ 134635 w 1997094"/>
              <a:gd name="connsiteY12" fmla="*/ 1705384 h 3436871"/>
              <a:gd name="connsiteX13" fmla="*/ 241222 w 1997094"/>
              <a:gd name="connsiteY13" fmla="*/ 1778312 h 3436871"/>
              <a:gd name="connsiteX14" fmla="*/ 291710 w 1997094"/>
              <a:gd name="connsiteY14" fmla="*/ 1744653 h 3436871"/>
              <a:gd name="connsiteX15" fmla="*/ 336589 w 1997094"/>
              <a:gd name="connsiteY15" fmla="*/ 1800751 h 3436871"/>
              <a:gd name="connsiteX16" fmla="*/ 370248 w 1997094"/>
              <a:gd name="connsiteY16" fmla="*/ 3141497 h 3436871"/>
              <a:gd name="connsiteX17" fmla="*/ 426346 w 1997094"/>
              <a:gd name="connsiteY17" fmla="*/ 3141497 h 3436871"/>
              <a:gd name="connsiteX18" fmla="*/ 431956 w 1997094"/>
              <a:gd name="connsiteY18" fmla="*/ 2423441 h 3436871"/>
              <a:gd name="connsiteX19" fmla="*/ 482444 w 1997094"/>
              <a:gd name="connsiteY19" fmla="*/ 2434660 h 3436871"/>
              <a:gd name="connsiteX20" fmla="*/ 493664 w 1997094"/>
              <a:gd name="connsiteY20" fmla="*/ 2928324 h 3436871"/>
              <a:gd name="connsiteX21" fmla="*/ 566591 w 1997094"/>
              <a:gd name="connsiteY21" fmla="*/ 2933934 h 3436871"/>
              <a:gd name="connsiteX22" fmla="*/ 572201 w 1997094"/>
              <a:gd name="connsiteY22" fmla="*/ 2457100 h 3436871"/>
              <a:gd name="connsiteX23" fmla="*/ 964888 w 1997094"/>
              <a:gd name="connsiteY23" fmla="*/ 2462710 h 3436871"/>
              <a:gd name="connsiteX24" fmla="*/ 970498 w 1997094"/>
              <a:gd name="connsiteY24" fmla="*/ 2866616 h 3436871"/>
              <a:gd name="connsiteX25" fmla="*/ 1026596 w 1997094"/>
              <a:gd name="connsiteY25" fmla="*/ 2877836 h 3436871"/>
              <a:gd name="connsiteX26" fmla="*/ 1020986 w 1997094"/>
              <a:gd name="connsiteY26" fmla="*/ 3051740 h 3436871"/>
              <a:gd name="connsiteX27" fmla="*/ 1009767 w 1997094"/>
              <a:gd name="connsiteY27" fmla="*/ 3175156 h 3436871"/>
              <a:gd name="connsiteX28" fmla="*/ 1020986 w 1997094"/>
              <a:gd name="connsiteY28" fmla="*/ 3393939 h 3436871"/>
              <a:gd name="connsiteX29" fmla="*/ 1217330 w 1997094"/>
              <a:gd name="connsiteY29" fmla="*/ 3410768 h 3436871"/>
              <a:gd name="connsiteX30" fmla="*/ 1211720 w 1997094"/>
              <a:gd name="connsiteY30" fmla="*/ 3225645 h 3436871"/>
              <a:gd name="connsiteX31" fmla="*/ 1228549 w 1997094"/>
              <a:gd name="connsiteY31" fmla="*/ 3051741 h 3436871"/>
              <a:gd name="connsiteX32" fmla="*/ 1211720 w 1997094"/>
              <a:gd name="connsiteY32" fmla="*/ 2922714 h 3436871"/>
              <a:gd name="connsiteX33" fmla="*/ 1234159 w 1997094"/>
              <a:gd name="connsiteY33" fmla="*/ 2883446 h 3436871"/>
              <a:gd name="connsiteX34" fmla="*/ 1250988 w 1997094"/>
              <a:gd name="connsiteY34" fmla="*/ 2664663 h 3436871"/>
              <a:gd name="connsiteX35" fmla="*/ 1256599 w 1997094"/>
              <a:gd name="connsiteY35" fmla="*/ 2552467 h 3436871"/>
              <a:gd name="connsiteX36" fmla="*/ 1262209 w 1997094"/>
              <a:gd name="connsiteY36" fmla="*/ 2417831 h 3436871"/>
              <a:gd name="connsiteX37" fmla="*/ 1374404 w 1997094"/>
              <a:gd name="connsiteY37" fmla="*/ 2591736 h 3436871"/>
              <a:gd name="connsiteX38" fmla="*/ 1380014 w 1997094"/>
              <a:gd name="connsiteY38" fmla="*/ 3119058 h 3436871"/>
              <a:gd name="connsiteX39" fmla="*/ 1447332 w 1997094"/>
              <a:gd name="connsiteY39" fmla="*/ 3091009 h 3436871"/>
              <a:gd name="connsiteX40" fmla="*/ 1419283 w 1997094"/>
              <a:gd name="connsiteY40" fmla="*/ 2625394 h 3436871"/>
              <a:gd name="connsiteX41" fmla="*/ 1469772 w 1997094"/>
              <a:gd name="connsiteY41" fmla="*/ 2636614 h 3436871"/>
              <a:gd name="connsiteX42" fmla="*/ 1480991 w 1997094"/>
              <a:gd name="connsiteY42" fmla="*/ 3292962 h 3436871"/>
              <a:gd name="connsiteX43" fmla="*/ 1531479 w 1997094"/>
              <a:gd name="connsiteY43" fmla="*/ 3276133 h 3436871"/>
              <a:gd name="connsiteX44" fmla="*/ 1553919 w 1997094"/>
              <a:gd name="connsiteY44" fmla="*/ 2821738 h 3436871"/>
              <a:gd name="connsiteX45" fmla="*/ 1604407 w 1997094"/>
              <a:gd name="connsiteY45" fmla="*/ 2961983 h 3436871"/>
              <a:gd name="connsiteX46" fmla="*/ 1952216 w 1997094"/>
              <a:gd name="connsiteY46" fmla="*/ 2771249 h 3436871"/>
              <a:gd name="connsiteX47" fmla="*/ 1997094 w 1997094"/>
              <a:gd name="connsiteY47" fmla="*/ 2653443 h 3436871"/>
              <a:gd name="connsiteX48" fmla="*/ 1823190 w 1997094"/>
              <a:gd name="connsiteY48" fmla="*/ 2642224 h 3436871"/>
              <a:gd name="connsiteX49" fmla="*/ 1694164 w 1997094"/>
              <a:gd name="connsiteY49" fmla="*/ 2546857 h 3436871"/>
              <a:gd name="connsiteX50" fmla="*/ 1621237 w 1997094"/>
              <a:gd name="connsiteY50" fmla="*/ 2451490 h 3436871"/>
              <a:gd name="connsiteX51" fmla="*/ 1694164 w 1997094"/>
              <a:gd name="connsiteY51" fmla="*/ 2328074 h 3436871"/>
              <a:gd name="connsiteX52" fmla="*/ 1514650 w 1997094"/>
              <a:gd name="connsiteY52" fmla="*/ 2030754 h 3436871"/>
              <a:gd name="connsiteX53" fmla="*/ 1531479 w 1997094"/>
              <a:gd name="connsiteY53" fmla="*/ 1610018 h 3436871"/>
              <a:gd name="connsiteX54" fmla="*/ 1301477 w 1997094"/>
              <a:gd name="connsiteY54" fmla="*/ 1615627 h 3436871"/>
              <a:gd name="connsiteX55" fmla="*/ 1323916 w 1997094"/>
              <a:gd name="connsiteY55" fmla="*/ 1486602 h 3436871"/>
              <a:gd name="connsiteX56" fmla="*/ 1262208 w 1997094"/>
              <a:gd name="connsiteY56" fmla="*/ 1301478 h 3436871"/>
              <a:gd name="connsiteX57" fmla="*/ 1301477 w 1997094"/>
              <a:gd name="connsiteY57" fmla="*/ 1228550 h 3436871"/>
              <a:gd name="connsiteX58" fmla="*/ 1234159 w 1997094"/>
              <a:gd name="connsiteY58" fmla="*/ 1043426 h 3436871"/>
              <a:gd name="connsiteX59" fmla="*/ 1250989 w 1997094"/>
              <a:gd name="connsiteY59" fmla="*/ 847083 h 3436871"/>
              <a:gd name="connsiteX60" fmla="*/ 970498 w 1997094"/>
              <a:gd name="connsiteY60" fmla="*/ 712447 h 3436871"/>
              <a:gd name="connsiteX61" fmla="*/ 1015376 w 1997094"/>
              <a:gd name="connsiteY61" fmla="*/ 622690 h 3436871"/>
              <a:gd name="connsiteX62" fmla="*/ 1150012 w 1997094"/>
              <a:gd name="connsiteY62" fmla="*/ 482445 h 3436871"/>
              <a:gd name="connsiteX63" fmla="*/ 1166841 w 1997094"/>
              <a:gd name="connsiteY63" fmla="*/ 314150 h 3436871"/>
              <a:gd name="connsiteX64" fmla="*/ 1161232 w 1997094"/>
              <a:gd name="connsiteY64" fmla="*/ 196344 h 3436871"/>
              <a:gd name="connsiteX65" fmla="*/ 1065865 w 1997094"/>
              <a:gd name="connsiteY65" fmla="*/ 117807 h 3436871"/>
              <a:gd name="connsiteX66" fmla="*/ 998547 w 1997094"/>
              <a:gd name="connsiteY66" fmla="*/ 72928 h 3436871"/>
              <a:gd name="connsiteX67" fmla="*/ 920010 w 1997094"/>
              <a:gd name="connsiteY67" fmla="*/ 0 h 3436871"/>
              <a:gd name="connsiteX0" fmla="*/ 920010 w 1997094"/>
              <a:gd name="connsiteY0" fmla="*/ 0 h 3436871"/>
              <a:gd name="connsiteX1" fmla="*/ 779764 w 1997094"/>
              <a:gd name="connsiteY1" fmla="*/ 117807 h 3436871"/>
              <a:gd name="connsiteX2" fmla="*/ 751715 w 1997094"/>
              <a:gd name="connsiteY2" fmla="*/ 224393 h 3436871"/>
              <a:gd name="connsiteX3" fmla="*/ 656348 w 1997094"/>
              <a:gd name="connsiteY3" fmla="*/ 403907 h 3436871"/>
              <a:gd name="connsiteX4" fmla="*/ 656348 w 1997094"/>
              <a:gd name="connsiteY4" fmla="*/ 460005 h 3436871"/>
              <a:gd name="connsiteX5" fmla="*/ 673178 w 1997094"/>
              <a:gd name="connsiteY5" fmla="*/ 544153 h 3436871"/>
              <a:gd name="connsiteX6" fmla="*/ 448785 w 1997094"/>
              <a:gd name="connsiteY6" fmla="*/ 656349 h 3436871"/>
              <a:gd name="connsiteX7" fmla="*/ 263661 w 1997094"/>
              <a:gd name="connsiteY7" fmla="*/ 673178 h 3436871"/>
              <a:gd name="connsiteX8" fmla="*/ 218783 w 1997094"/>
              <a:gd name="connsiteY8" fmla="*/ 948059 h 3436871"/>
              <a:gd name="connsiteX9" fmla="*/ 168294 w 1997094"/>
              <a:gd name="connsiteY9" fmla="*/ 1082695 h 3436871"/>
              <a:gd name="connsiteX10" fmla="*/ 72927 w 1997094"/>
              <a:gd name="connsiteY10" fmla="*/ 1211721 h 3436871"/>
              <a:gd name="connsiteX11" fmla="*/ 0 w 1997094"/>
              <a:gd name="connsiteY11" fmla="*/ 1346356 h 3436871"/>
              <a:gd name="connsiteX12" fmla="*/ 134635 w 1997094"/>
              <a:gd name="connsiteY12" fmla="*/ 1705384 h 3436871"/>
              <a:gd name="connsiteX13" fmla="*/ 241222 w 1997094"/>
              <a:gd name="connsiteY13" fmla="*/ 1778312 h 3436871"/>
              <a:gd name="connsiteX14" fmla="*/ 291710 w 1997094"/>
              <a:gd name="connsiteY14" fmla="*/ 1744653 h 3436871"/>
              <a:gd name="connsiteX15" fmla="*/ 336589 w 1997094"/>
              <a:gd name="connsiteY15" fmla="*/ 1800751 h 3436871"/>
              <a:gd name="connsiteX16" fmla="*/ 370248 w 1997094"/>
              <a:gd name="connsiteY16" fmla="*/ 3141497 h 3436871"/>
              <a:gd name="connsiteX17" fmla="*/ 426346 w 1997094"/>
              <a:gd name="connsiteY17" fmla="*/ 3141497 h 3436871"/>
              <a:gd name="connsiteX18" fmla="*/ 431956 w 1997094"/>
              <a:gd name="connsiteY18" fmla="*/ 2423441 h 3436871"/>
              <a:gd name="connsiteX19" fmla="*/ 482444 w 1997094"/>
              <a:gd name="connsiteY19" fmla="*/ 2434660 h 3436871"/>
              <a:gd name="connsiteX20" fmla="*/ 493664 w 1997094"/>
              <a:gd name="connsiteY20" fmla="*/ 2928324 h 3436871"/>
              <a:gd name="connsiteX21" fmla="*/ 566591 w 1997094"/>
              <a:gd name="connsiteY21" fmla="*/ 2933934 h 3436871"/>
              <a:gd name="connsiteX22" fmla="*/ 572201 w 1997094"/>
              <a:gd name="connsiteY22" fmla="*/ 2457100 h 3436871"/>
              <a:gd name="connsiteX23" fmla="*/ 964888 w 1997094"/>
              <a:gd name="connsiteY23" fmla="*/ 2462710 h 3436871"/>
              <a:gd name="connsiteX24" fmla="*/ 970498 w 1997094"/>
              <a:gd name="connsiteY24" fmla="*/ 2866616 h 3436871"/>
              <a:gd name="connsiteX25" fmla="*/ 1026596 w 1997094"/>
              <a:gd name="connsiteY25" fmla="*/ 2877836 h 3436871"/>
              <a:gd name="connsiteX26" fmla="*/ 1020986 w 1997094"/>
              <a:gd name="connsiteY26" fmla="*/ 3051740 h 3436871"/>
              <a:gd name="connsiteX27" fmla="*/ 1009767 w 1997094"/>
              <a:gd name="connsiteY27" fmla="*/ 3175156 h 3436871"/>
              <a:gd name="connsiteX28" fmla="*/ 1020986 w 1997094"/>
              <a:gd name="connsiteY28" fmla="*/ 3393939 h 3436871"/>
              <a:gd name="connsiteX29" fmla="*/ 1217330 w 1997094"/>
              <a:gd name="connsiteY29" fmla="*/ 3410768 h 3436871"/>
              <a:gd name="connsiteX30" fmla="*/ 1211720 w 1997094"/>
              <a:gd name="connsiteY30" fmla="*/ 3225645 h 3436871"/>
              <a:gd name="connsiteX31" fmla="*/ 1228549 w 1997094"/>
              <a:gd name="connsiteY31" fmla="*/ 3051741 h 3436871"/>
              <a:gd name="connsiteX32" fmla="*/ 1211720 w 1997094"/>
              <a:gd name="connsiteY32" fmla="*/ 2922714 h 3436871"/>
              <a:gd name="connsiteX33" fmla="*/ 1234159 w 1997094"/>
              <a:gd name="connsiteY33" fmla="*/ 2883446 h 3436871"/>
              <a:gd name="connsiteX34" fmla="*/ 1250988 w 1997094"/>
              <a:gd name="connsiteY34" fmla="*/ 2664663 h 3436871"/>
              <a:gd name="connsiteX35" fmla="*/ 1256599 w 1997094"/>
              <a:gd name="connsiteY35" fmla="*/ 2552467 h 3436871"/>
              <a:gd name="connsiteX36" fmla="*/ 1262209 w 1997094"/>
              <a:gd name="connsiteY36" fmla="*/ 2417831 h 3436871"/>
              <a:gd name="connsiteX37" fmla="*/ 1357574 w 1997094"/>
              <a:gd name="connsiteY37" fmla="*/ 2569297 h 3436871"/>
              <a:gd name="connsiteX38" fmla="*/ 1380014 w 1997094"/>
              <a:gd name="connsiteY38" fmla="*/ 3119058 h 3436871"/>
              <a:gd name="connsiteX39" fmla="*/ 1447332 w 1997094"/>
              <a:gd name="connsiteY39" fmla="*/ 3091009 h 3436871"/>
              <a:gd name="connsiteX40" fmla="*/ 1419283 w 1997094"/>
              <a:gd name="connsiteY40" fmla="*/ 2625394 h 3436871"/>
              <a:gd name="connsiteX41" fmla="*/ 1469772 w 1997094"/>
              <a:gd name="connsiteY41" fmla="*/ 2636614 h 3436871"/>
              <a:gd name="connsiteX42" fmla="*/ 1480991 w 1997094"/>
              <a:gd name="connsiteY42" fmla="*/ 3292962 h 3436871"/>
              <a:gd name="connsiteX43" fmla="*/ 1531479 w 1997094"/>
              <a:gd name="connsiteY43" fmla="*/ 3276133 h 3436871"/>
              <a:gd name="connsiteX44" fmla="*/ 1553919 w 1997094"/>
              <a:gd name="connsiteY44" fmla="*/ 2821738 h 3436871"/>
              <a:gd name="connsiteX45" fmla="*/ 1604407 w 1997094"/>
              <a:gd name="connsiteY45" fmla="*/ 2961983 h 3436871"/>
              <a:gd name="connsiteX46" fmla="*/ 1952216 w 1997094"/>
              <a:gd name="connsiteY46" fmla="*/ 2771249 h 3436871"/>
              <a:gd name="connsiteX47" fmla="*/ 1997094 w 1997094"/>
              <a:gd name="connsiteY47" fmla="*/ 2653443 h 3436871"/>
              <a:gd name="connsiteX48" fmla="*/ 1823190 w 1997094"/>
              <a:gd name="connsiteY48" fmla="*/ 2642224 h 3436871"/>
              <a:gd name="connsiteX49" fmla="*/ 1694164 w 1997094"/>
              <a:gd name="connsiteY49" fmla="*/ 2546857 h 3436871"/>
              <a:gd name="connsiteX50" fmla="*/ 1621237 w 1997094"/>
              <a:gd name="connsiteY50" fmla="*/ 2451490 h 3436871"/>
              <a:gd name="connsiteX51" fmla="*/ 1694164 w 1997094"/>
              <a:gd name="connsiteY51" fmla="*/ 2328074 h 3436871"/>
              <a:gd name="connsiteX52" fmla="*/ 1514650 w 1997094"/>
              <a:gd name="connsiteY52" fmla="*/ 2030754 h 3436871"/>
              <a:gd name="connsiteX53" fmla="*/ 1531479 w 1997094"/>
              <a:gd name="connsiteY53" fmla="*/ 1610018 h 3436871"/>
              <a:gd name="connsiteX54" fmla="*/ 1301477 w 1997094"/>
              <a:gd name="connsiteY54" fmla="*/ 1615627 h 3436871"/>
              <a:gd name="connsiteX55" fmla="*/ 1323916 w 1997094"/>
              <a:gd name="connsiteY55" fmla="*/ 1486602 h 3436871"/>
              <a:gd name="connsiteX56" fmla="*/ 1262208 w 1997094"/>
              <a:gd name="connsiteY56" fmla="*/ 1301478 h 3436871"/>
              <a:gd name="connsiteX57" fmla="*/ 1301477 w 1997094"/>
              <a:gd name="connsiteY57" fmla="*/ 1228550 h 3436871"/>
              <a:gd name="connsiteX58" fmla="*/ 1234159 w 1997094"/>
              <a:gd name="connsiteY58" fmla="*/ 1043426 h 3436871"/>
              <a:gd name="connsiteX59" fmla="*/ 1250989 w 1997094"/>
              <a:gd name="connsiteY59" fmla="*/ 847083 h 3436871"/>
              <a:gd name="connsiteX60" fmla="*/ 970498 w 1997094"/>
              <a:gd name="connsiteY60" fmla="*/ 712447 h 3436871"/>
              <a:gd name="connsiteX61" fmla="*/ 1015376 w 1997094"/>
              <a:gd name="connsiteY61" fmla="*/ 622690 h 3436871"/>
              <a:gd name="connsiteX62" fmla="*/ 1150012 w 1997094"/>
              <a:gd name="connsiteY62" fmla="*/ 482445 h 3436871"/>
              <a:gd name="connsiteX63" fmla="*/ 1166841 w 1997094"/>
              <a:gd name="connsiteY63" fmla="*/ 314150 h 3436871"/>
              <a:gd name="connsiteX64" fmla="*/ 1161232 w 1997094"/>
              <a:gd name="connsiteY64" fmla="*/ 196344 h 3436871"/>
              <a:gd name="connsiteX65" fmla="*/ 1065865 w 1997094"/>
              <a:gd name="connsiteY65" fmla="*/ 117807 h 3436871"/>
              <a:gd name="connsiteX66" fmla="*/ 998547 w 1997094"/>
              <a:gd name="connsiteY66" fmla="*/ 72928 h 3436871"/>
              <a:gd name="connsiteX67" fmla="*/ 920010 w 1997094"/>
              <a:gd name="connsiteY67" fmla="*/ 0 h 3436871"/>
              <a:gd name="connsiteX0" fmla="*/ 920010 w 1997094"/>
              <a:gd name="connsiteY0" fmla="*/ 0 h 3436871"/>
              <a:gd name="connsiteX1" fmla="*/ 779764 w 1997094"/>
              <a:gd name="connsiteY1" fmla="*/ 117807 h 3436871"/>
              <a:gd name="connsiteX2" fmla="*/ 751715 w 1997094"/>
              <a:gd name="connsiteY2" fmla="*/ 224393 h 3436871"/>
              <a:gd name="connsiteX3" fmla="*/ 656348 w 1997094"/>
              <a:gd name="connsiteY3" fmla="*/ 403907 h 3436871"/>
              <a:gd name="connsiteX4" fmla="*/ 656348 w 1997094"/>
              <a:gd name="connsiteY4" fmla="*/ 460005 h 3436871"/>
              <a:gd name="connsiteX5" fmla="*/ 673178 w 1997094"/>
              <a:gd name="connsiteY5" fmla="*/ 544153 h 3436871"/>
              <a:gd name="connsiteX6" fmla="*/ 448785 w 1997094"/>
              <a:gd name="connsiteY6" fmla="*/ 656349 h 3436871"/>
              <a:gd name="connsiteX7" fmla="*/ 263661 w 1997094"/>
              <a:gd name="connsiteY7" fmla="*/ 673178 h 3436871"/>
              <a:gd name="connsiteX8" fmla="*/ 218783 w 1997094"/>
              <a:gd name="connsiteY8" fmla="*/ 948059 h 3436871"/>
              <a:gd name="connsiteX9" fmla="*/ 168294 w 1997094"/>
              <a:gd name="connsiteY9" fmla="*/ 1082695 h 3436871"/>
              <a:gd name="connsiteX10" fmla="*/ 72927 w 1997094"/>
              <a:gd name="connsiteY10" fmla="*/ 1211721 h 3436871"/>
              <a:gd name="connsiteX11" fmla="*/ 0 w 1997094"/>
              <a:gd name="connsiteY11" fmla="*/ 1346356 h 3436871"/>
              <a:gd name="connsiteX12" fmla="*/ 134635 w 1997094"/>
              <a:gd name="connsiteY12" fmla="*/ 1705384 h 3436871"/>
              <a:gd name="connsiteX13" fmla="*/ 241222 w 1997094"/>
              <a:gd name="connsiteY13" fmla="*/ 1778312 h 3436871"/>
              <a:gd name="connsiteX14" fmla="*/ 291710 w 1997094"/>
              <a:gd name="connsiteY14" fmla="*/ 1744653 h 3436871"/>
              <a:gd name="connsiteX15" fmla="*/ 336589 w 1997094"/>
              <a:gd name="connsiteY15" fmla="*/ 1800751 h 3436871"/>
              <a:gd name="connsiteX16" fmla="*/ 370248 w 1997094"/>
              <a:gd name="connsiteY16" fmla="*/ 3141497 h 3436871"/>
              <a:gd name="connsiteX17" fmla="*/ 426346 w 1997094"/>
              <a:gd name="connsiteY17" fmla="*/ 3141497 h 3436871"/>
              <a:gd name="connsiteX18" fmla="*/ 431956 w 1997094"/>
              <a:gd name="connsiteY18" fmla="*/ 2423441 h 3436871"/>
              <a:gd name="connsiteX19" fmla="*/ 482444 w 1997094"/>
              <a:gd name="connsiteY19" fmla="*/ 2434660 h 3436871"/>
              <a:gd name="connsiteX20" fmla="*/ 493664 w 1997094"/>
              <a:gd name="connsiteY20" fmla="*/ 2928324 h 3436871"/>
              <a:gd name="connsiteX21" fmla="*/ 566591 w 1997094"/>
              <a:gd name="connsiteY21" fmla="*/ 2933934 h 3436871"/>
              <a:gd name="connsiteX22" fmla="*/ 572201 w 1997094"/>
              <a:gd name="connsiteY22" fmla="*/ 2457100 h 3436871"/>
              <a:gd name="connsiteX23" fmla="*/ 964888 w 1997094"/>
              <a:gd name="connsiteY23" fmla="*/ 2462710 h 3436871"/>
              <a:gd name="connsiteX24" fmla="*/ 970498 w 1997094"/>
              <a:gd name="connsiteY24" fmla="*/ 2866616 h 3436871"/>
              <a:gd name="connsiteX25" fmla="*/ 1026596 w 1997094"/>
              <a:gd name="connsiteY25" fmla="*/ 2877836 h 3436871"/>
              <a:gd name="connsiteX26" fmla="*/ 1020986 w 1997094"/>
              <a:gd name="connsiteY26" fmla="*/ 3051740 h 3436871"/>
              <a:gd name="connsiteX27" fmla="*/ 1009767 w 1997094"/>
              <a:gd name="connsiteY27" fmla="*/ 3175156 h 3436871"/>
              <a:gd name="connsiteX28" fmla="*/ 1020986 w 1997094"/>
              <a:gd name="connsiteY28" fmla="*/ 3393939 h 3436871"/>
              <a:gd name="connsiteX29" fmla="*/ 1217330 w 1997094"/>
              <a:gd name="connsiteY29" fmla="*/ 3410768 h 3436871"/>
              <a:gd name="connsiteX30" fmla="*/ 1211720 w 1997094"/>
              <a:gd name="connsiteY30" fmla="*/ 3225645 h 3436871"/>
              <a:gd name="connsiteX31" fmla="*/ 1228549 w 1997094"/>
              <a:gd name="connsiteY31" fmla="*/ 3051741 h 3436871"/>
              <a:gd name="connsiteX32" fmla="*/ 1211720 w 1997094"/>
              <a:gd name="connsiteY32" fmla="*/ 2922714 h 3436871"/>
              <a:gd name="connsiteX33" fmla="*/ 1234159 w 1997094"/>
              <a:gd name="connsiteY33" fmla="*/ 2883446 h 3436871"/>
              <a:gd name="connsiteX34" fmla="*/ 1250988 w 1997094"/>
              <a:gd name="connsiteY34" fmla="*/ 2664663 h 3436871"/>
              <a:gd name="connsiteX35" fmla="*/ 1256599 w 1997094"/>
              <a:gd name="connsiteY35" fmla="*/ 2552467 h 3436871"/>
              <a:gd name="connsiteX36" fmla="*/ 1262209 w 1997094"/>
              <a:gd name="connsiteY36" fmla="*/ 2417831 h 3436871"/>
              <a:gd name="connsiteX37" fmla="*/ 1357574 w 1997094"/>
              <a:gd name="connsiteY37" fmla="*/ 2569297 h 3436871"/>
              <a:gd name="connsiteX38" fmla="*/ 1374404 w 1997094"/>
              <a:gd name="connsiteY38" fmla="*/ 3034911 h 3436871"/>
              <a:gd name="connsiteX39" fmla="*/ 1447332 w 1997094"/>
              <a:gd name="connsiteY39" fmla="*/ 3091009 h 3436871"/>
              <a:gd name="connsiteX40" fmla="*/ 1419283 w 1997094"/>
              <a:gd name="connsiteY40" fmla="*/ 2625394 h 3436871"/>
              <a:gd name="connsiteX41" fmla="*/ 1469772 w 1997094"/>
              <a:gd name="connsiteY41" fmla="*/ 2636614 h 3436871"/>
              <a:gd name="connsiteX42" fmla="*/ 1480991 w 1997094"/>
              <a:gd name="connsiteY42" fmla="*/ 3292962 h 3436871"/>
              <a:gd name="connsiteX43" fmla="*/ 1531479 w 1997094"/>
              <a:gd name="connsiteY43" fmla="*/ 3276133 h 3436871"/>
              <a:gd name="connsiteX44" fmla="*/ 1553919 w 1997094"/>
              <a:gd name="connsiteY44" fmla="*/ 2821738 h 3436871"/>
              <a:gd name="connsiteX45" fmla="*/ 1604407 w 1997094"/>
              <a:gd name="connsiteY45" fmla="*/ 2961983 h 3436871"/>
              <a:gd name="connsiteX46" fmla="*/ 1952216 w 1997094"/>
              <a:gd name="connsiteY46" fmla="*/ 2771249 h 3436871"/>
              <a:gd name="connsiteX47" fmla="*/ 1997094 w 1997094"/>
              <a:gd name="connsiteY47" fmla="*/ 2653443 h 3436871"/>
              <a:gd name="connsiteX48" fmla="*/ 1823190 w 1997094"/>
              <a:gd name="connsiteY48" fmla="*/ 2642224 h 3436871"/>
              <a:gd name="connsiteX49" fmla="*/ 1694164 w 1997094"/>
              <a:gd name="connsiteY49" fmla="*/ 2546857 h 3436871"/>
              <a:gd name="connsiteX50" fmla="*/ 1621237 w 1997094"/>
              <a:gd name="connsiteY50" fmla="*/ 2451490 h 3436871"/>
              <a:gd name="connsiteX51" fmla="*/ 1694164 w 1997094"/>
              <a:gd name="connsiteY51" fmla="*/ 2328074 h 3436871"/>
              <a:gd name="connsiteX52" fmla="*/ 1514650 w 1997094"/>
              <a:gd name="connsiteY52" fmla="*/ 2030754 h 3436871"/>
              <a:gd name="connsiteX53" fmla="*/ 1531479 w 1997094"/>
              <a:gd name="connsiteY53" fmla="*/ 1610018 h 3436871"/>
              <a:gd name="connsiteX54" fmla="*/ 1301477 w 1997094"/>
              <a:gd name="connsiteY54" fmla="*/ 1615627 h 3436871"/>
              <a:gd name="connsiteX55" fmla="*/ 1323916 w 1997094"/>
              <a:gd name="connsiteY55" fmla="*/ 1486602 h 3436871"/>
              <a:gd name="connsiteX56" fmla="*/ 1262208 w 1997094"/>
              <a:gd name="connsiteY56" fmla="*/ 1301478 h 3436871"/>
              <a:gd name="connsiteX57" fmla="*/ 1301477 w 1997094"/>
              <a:gd name="connsiteY57" fmla="*/ 1228550 h 3436871"/>
              <a:gd name="connsiteX58" fmla="*/ 1234159 w 1997094"/>
              <a:gd name="connsiteY58" fmla="*/ 1043426 h 3436871"/>
              <a:gd name="connsiteX59" fmla="*/ 1250989 w 1997094"/>
              <a:gd name="connsiteY59" fmla="*/ 847083 h 3436871"/>
              <a:gd name="connsiteX60" fmla="*/ 970498 w 1997094"/>
              <a:gd name="connsiteY60" fmla="*/ 712447 h 3436871"/>
              <a:gd name="connsiteX61" fmla="*/ 1015376 w 1997094"/>
              <a:gd name="connsiteY61" fmla="*/ 622690 h 3436871"/>
              <a:gd name="connsiteX62" fmla="*/ 1150012 w 1997094"/>
              <a:gd name="connsiteY62" fmla="*/ 482445 h 3436871"/>
              <a:gd name="connsiteX63" fmla="*/ 1166841 w 1997094"/>
              <a:gd name="connsiteY63" fmla="*/ 314150 h 3436871"/>
              <a:gd name="connsiteX64" fmla="*/ 1161232 w 1997094"/>
              <a:gd name="connsiteY64" fmla="*/ 196344 h 3436871"/>
              <a:gd name="connsiteX65" fmla="*/ 1065865 w 1997094"/>
              <a:gd name="connsiteY65" fmla="*/ 117807 h 3436871"/>
              <a:gd name="connsiteX66" fmla="*/ 998547 w 1997094"/>
              <a:gd name="connsiteY66" fmla="*/ 72928 h 3436871"/>
              <a:gd name="connsiteX67" fmla="*/ 920010 w 1997094"/>
              <a:gd name="connsiteY67" fmla="*/ 0 h 3436871"/>
              <a:gd name="connsiteX0" fmla="*/ 920010 w 1997094"/>
              <a:gd name="connsiteY0" fmla="*/ 0 h 3436871"/>
              <a:gd name="connsiteX1" fmla="*/ 779764 w 1997094"/>
              <a:gd name="connsiteY1" fmla="*/ 117807 h 3436871"/>
              <a:gd name="connsiteX2" fmla="*/ 751715 w 1997094"/>
              <a:gd name="connsiteY2" fmla="*/ 224393 h 3436871"/>
              <a:gd name="connsiteX3" fmla="*/ 656348 w 1997094"/>
              <a:gd name="connsiteY3" fmla="*/ 403907 h 3436871"/>
              <a:gd name="connsiteX4" fmla="*/ 656348 w 1997094"/>
              <a:gd name="connsiteY4" fmla="*/ 460005 h 3436871"/>
              <a:gd name="connsiteX5" fmla="*/ 673178 w 1997094"/>
              <a:gd name="connsiteY5" fmla="*/ 544153 h 3436871"/>
              <a:gd name="connsiteX6" fmla="*/ 448785 w 1997094"/>
              <a:gd name="connsiteY6" fmla="*/ 656349 h 3436871"/>
              <a:gd name="connsiteX7" fmla="*/ 263661 w 1997094"/>
              <a:gd name="connsiteY7" fmla="*/ 673178 h 3436871"/>
              <a:gd name="connsiteX8" fmla="*/ 218783 w 1997094"/>
              <a:gd name="connsiteY8" fmla="*/ 948059 h 3436871"/>
              <a:gd name="connsiteX9" fmla="*/ 168294 w 1997094"/>
              <a:gd name="connsiteY9" fmla="*/ 1082695 h 3436871"/>
              <a:gd name="connsiteX10" fmla="*/ 72927 w 1997094"/>
              <a:gd name="connsiteY10" fmla="*/ 1211721 h 3436871"/>
              <a:gd name="connsiteX11" fmla="*/ 0 w 1997094"/>
              <a:gd name="connsiteY11" fmla="*/ 1346356 h 3436871"/>
              <a:gd name="connsiteX12" fmla="*/ 134635 w 1997094"/>
              <a:gd name="connsiteY12" fmla="*/ 1705384 h 3436871"/>
              <a:gd name="connsiteX13" fmla="*/ 241222 w 1997094"/>
              <a:gd name="connsiteY13" fmla="*/ 1778312 h 3436871"/>
              <a:gd name="connsiteX14" fmla="*/ 291710 w 1997094"/>
              <a:gd name="connsiteY14" fmla="*/ 1744653 h 3436871"/>
              <a:gd name="connsiteX15" fmla="*/ 336589 w 1997094"/>
              <a:gd name="connsiteY15" fmla="*/ 1800751 h 3436871"/>
              <a:gd name="connsiteX16" fmla="*/ 370248 w 1997094"/>
              <a:gd name="connsiteY16" fmla="*/ 3141497 h 3436871"/>
              <a:gd name="connsiteX17" fmla="*/ 426346 w 1997094"/>
              <a:gd name="connsiteY17" fmla="*/ 3141497 h 3436871"/>
              <a:gd name="connsiteX18" fmla="*/ 431956 w 1997094"/>
              <a:gd name="connsiteY18" fmla="*/ 2423441 h 3436871"/>
              <a:gd name="connsiteX19" fmla="*/ 482444 w 1997094"/>
              <a:gd name="connsiteY19" fmla="*/ 2434660 h 3436871"/>
              <a:gd name="connsiteX20" fmla="*/ 493664 w 1997094"/>
              <a:gd name="connsiteY20" fmla="*/ 2928324 h 3436871"/>
              <a:gd name="connsiteX21" fmla="*/ 566591 w 1997094"/>
              <a:gd name="connsiteY21" fmla="*/ 2933934 h 3436871"/>
              <a:gd name="connsiteX22" fmla="*/ 572201 w 1997094"/>
              <a:gd name="connsiteY22" fmla="*/ 2457100 h 3436871"/>
              <a:gd name="connsiteX23" fmla="*/ 964888 w 1997094"/>
              <a:gd name="connsiteY23" fmla="*/ 2462710 h 3436871"/>
              <a:gd name="connsiteX24" fmla="*/ 970498 w 1997094"/>
              <a:gd name="connsiteY24" fmla="*/ 2866616 h 3436871"/>
              <a:gd name="connsiteX25" fmla="*/ 1026596 w 1997094"/>
              <a:gd name="connsiteY25" fmla="*/ 2877836 h 3436871"/>
              <a:gd name="connsiteX26" fmla="*/ 1020986 w 1997094"/>
              <a:gd name="connsiteY26" fmla="*/ 3051740 h 3436871"/>
              <a:gd name="connsiteX27" fmla="*/ 1009767 w 1997094"/>
              <a:gd name="connsiteY27" fmla="*/ 3175156 h 3436871"/>
              <a:gd name="connsiteX28" fmla="*/ 1020986 w 1997094"/>
              <a:gd name="connsiteY28" fmla="*/ 3393939 h 3436871"/>
              <a:gd name="connsiteX29" fmla="*/ 1217330 w 1997094"/>
              <a:gd name="connsiteY29" fmla="*/ 3410768 h 3436871"/>
              <a:gd name="connsiteX30" fmla="*/ 1211720 w 1997094"/>
              <a:gd name="connsiteY30" fmla="*/ 3225645 h 3436871"/>
              <a:gd name="connsiteX31" fmla="*/ 1228549 w 1997094"/>
              <a:gd name="connsiteY31" fmla="*/ 3051741 h 3436871"/>
              <a:gd name="connsiteX32" fmla="*/ 1211720 w 1997094"/>
              <a:gd name="connsiteY32" fmla="*/ 2922714 h 3436871"/>
              <a:gd name="connsiteX33" fmla="*/ 1234159 w 1997094"/>
              <a:gd name="connsiteY33" fmla="*/ 2883446 h 3436871"/>
              <a:gd name="connsiteX34" fmla="*/ 1250988 w 1997094"/>
              <a:gd name="connsiteY34" fmla="*/ 2664663 h 3436871"/>
              <a:gd name="connsiteX35" fmla="*/ 1256599 w 1997094"/>
              <a:gd name="connsiteY35" fmla="*/ 2552467 h 3436871"/>
              <a:gd name="connsiteX36" fmla="*/ 1262209 w 1997094"/>
              <a:gd name="connsiteY36" fmla="*/ 2417831 h 3436871"/>
              <a:gd name="connsiteX37" fmla="*/ 1357574 w 1997094"/>
              <a:gd name="connsiteY37" fmla="*/ 2569297 h 3436871"/>
              <a:gd name="connsiteX38" fmla="*/ 1374404 w 1997094"/>
              <a:gd name="connsiteY38" fmla="*/ 3034911 h 3436871"/>
              <a:gd name="connsiteX39" fmla="*/ 1413673 w 1997094"/>
              <a:gd name="connsiteY39" fmla="*/ 3113448 h 3436871"/>
              <a:gd name="connsiteX40" fmla="*/ 1419283 w 1997094"/>
              <a:gd name="connsiteY40" fmla="*/ 2625394 h 3436871"/>
              <a:gd name="connsiteX41" fmla="*/ 1469772 w 1997094"/>
              <a:gd name="connsiteY41" fmla="*/ 2636614 h 3436871"/>
              <a:gd name="connsiteX42" fmla="*/ 1480991 w 1997094"/>
              <a:gd name="connsiteY42" fmla="*/ 3292962 h 3436871"/>
              <a:gd name="connsiteX43" fmla="*/ 1531479 w 1997094"/>
              <a:gd name="connsiteY43" fmla="*/ 3276133 h 3436871"/>
              <a:gd name="connsiteX44" fmla="*/ 1553919 w 1997094"/>
              <a:gd name="connsiteY44" fmla="*/ 2821738 h 3436871"/>
              <a:gd name="connsiteX45" fmla="*/ 1604407 w 1997094"/>
              <a:gd name="connsiteY45" fmla="*/ 2961983 h 3436871"/>
              <a:gd name="connsiteX46" fmla="*/ 1952216 w 1997094"/>
              <a:gd name="connsiteY46" fmla="*/ 2771249 h 3436871"/>
              <a:gd name="connsiteX47" fmla="*/ 1997094 w 1997094"/>
              <a:gd name="connsiteY47" fmla="*/ 2653443 h 3436871"/>
              <a:gd name="connsiteX48" fmla="*/ 1823190 w 1997094"/>
              <a:gd name="connsiteY48" fmla="*/ 2642224 h 3436871"/>
              <a:gd name="connsiteX49" fmla="*/ 1694164 w 1997094"/>
              <a:gd name="connsiteY49" fmla="*/ 2546857 h 3436871"/>
              <a:gd name="connsiteX50" fmla="*/ 1621237 w 1997094"/>
              <a:gd name="connsiteY50" fmla="*/ 2451490 h 3436871"/>
              <a:gd name="connsiteX51" fmla="*/ 1694164 w 1997094"/>
              <a:gd name="connsiteY51" fmla="*/ 2328074 h 3436871"/>
              <a:gd name="connsiteX52" fmla="*/ 1514650 w 1997094"/>
              <a:gd name="connsiteY52" fmla="*/ 2030754 h 3436871"/>
              <a:gd name="connsiteX53" fmla="*/ 1531479 w 1997094"/>
              <a:gd name="connsiteY53" fmla="*/ 1610018 h 3436871"/>
              <a:gd name="connsiteX54" fmla="*/ 1301477 w 1997094"/>
              <a:gd name="connsiteY54" fmla="*/ 1615627 h 3436871"/>
              <a:gd name="connsiteX55" fmla="*/ 1323916 w 1997094"/>
              <a:gd name="connsiteY55" fmla="*/ 1486602 h 3436871"/>
              <a:gd name="connsiteX56" fmla="*/ 1262208 w 1997094"/>
              <a:gd name="connsiteY56" fmla="*/ 1301478 h 3436871"/>
              <a:gd name="connsiteX57" fmla="*/ 1301477 w 1997094"/>
              <a:gd name="connsiteY57" fmla="*/ 1228550 h 3436871"/>
              <a:gd name="connsiteX58" fmla="*/ 1234159 w 1997094"/>
              <a:gd name="connsiteY58" fmla="*/ 1043426 h 3436871"/>
              <a:gd name="connsiteX59" fmla="*/ 1250989 w 1997094"/>
              <a:gd name="connsiteY59" fmla="*/ 847083 h 3436871"/>
              <a:gd name="connsiteX60" fmla="*/ 970498 w 1997094"/>
              <a:gd name="connsiteY60" fmla="*/ 712447 h 3436871"/>
              <a:gd name="connsiteX61" fmla="*/ 1015376 w 1997094"/>
              <a:gd name="connsiteY61" fmla="*/ 622690 h 3436871"/>
              <a:gd name="connsiteX62" fmla="*/ 1150012 w 1997094"/>
              <a:gd name="connsiteY62" fmla="*/ 482445 h 3436871"/>
              <a:gd name="connsiteX63" fmla="*/ 1166841 w 1997094"/>
              <a:gd name="connsiteY63" fmla="*/ 314150 h 3436871"/>
              <a:gd name="connsiteX64" fmla="*/ 1161232 w 1997094"/>
              <a:gd name="connsiteY64" fmla="*/ 196344 h 3436871"/>
              <a:gd name="connsiteX65" fmla="*/ 1065865 w 1997094"/>
              <a:gd name="connsiteY65" fmla="*/ 117807 h 3436871"/>
              <a:gd name="connsiteX66" fmla="*/ 998547 w 1997094"/>
              <a:gd name="connsiteY66" fmla="*/ 72928 h 3436871"/>
              <a:gd name="connsiteX67" fmla="*/ 920010 w 1997094"/>
              <a:gd name="connsiteY67" fmla="*/ 0 h 3436871"/>
              <a:gd name="connsiteX0" fmla="*/ 920010 w 1997094"/>
              <a:gd name="connsiteY0" fmla="*/ 0 h 3436871"/>
              <a:gd name="connsiteX1" fmla="*/ 779764 w 1997094"/>
              <a:gd name="connsiteY1" fmla="*/ 117807 h 3436871"/>
              <a:gd name="connsiteX2" fmla="*/ 751715 w 1997094"/>
              <a:gd name="connsiteY2" fmla="*/ 224393 h 3436871"/>
              <a:gd name="connsiteX3" fmla="*/ 656348 w 1997094"/>
              <a:gd name="connsiteY3" fmla="*/ 403907 h 3436871"/>
              <a:gd name="connsiteX4" fmla="*/ 656348 w 1997094"/>
              <a:gd name="connsiteY4" fmla="*/ 460005 h 3436871"/>
              <a:gd name="connsiteX5" fmla="*/ 673178 w 1997094"/>
              <a:gd name="connsiteY5" fmla="*/ 544153 h 3436871"/>
              <a:gd name="connsiteX6" fmla="*/ 448785 w 1997094"/>
              <a:gd name="connsiteY6" fmla="*/ 656349 h 3436871"/>
              <a:gd name="connsiteX7" fmla="*/ 263661 w 1997094"/>
              <a:gd name="connsiteY7" fmla="*/ 673178 h 3436871"/>
              <a:gd name="connsiteX8" fmla="*/ 218783 w 1997094"/>
              <a:gd name="connsiteY8" fmla="*/ 948059 h 3436871"/>
              <a:gd name="connsiteX9" fmla="*/ 168294 w 1997094"/>
              <a:gd name="connsiteY9" fmla="*/ 1082695 h 3436871"/>
              <a:gd name="connsiteX10" fmla="*/ 72927 w 1997094"/>
              <a:gd name="connsiteY10" fmla="*/ 1211721 h 3436871"/>
              <a:gd name="connsiteX11" fmla="*/ 0 w 1997094"/>
              <a:gd name="connsiteY11" fmla="*/ 1346356 h 3436871"/>
              <a:gd name="connsiteX12" fmla="*/ 134635 w 1997094"/>
              <a:gd name="connsiteY12" fmla="*/ 1705384 h 3436871"/>
              <a:gd name="connsiteX13" fmla="*/ 241222 w 1997094"/>
              <a:gd name="connsiteY13" fmla="*/ 1778312 h 3436871"/>
              <a:gd name="connsiteX14" fmla="*/ 291710 w 1997094"/>
              <a:gd name="connsiteY14" fmla="*/ 1744653 h 3436871"/>
              <a:gd name="connsiteX15" fmla="*/ 336589 w 1997094"/>
              <a:gd name="connsiteY15" fmla="*/ 1800751 h 3436871"/>
              <a:gd name="connsiteX16" fmla="*/ 370248 w 1997094"/>
              <a:gd name="connsiteY16" fmla="*/ 3141497 h 3436871"/>
              <a:gd name="connsiteX17" fmla="*/ 426346 w 1997094"/>
              <a:gd name="connsiteY17" fmla="*/ 3141497 h 3436871"/>
              <a:gd name="connsiteX18" fmla="*/ 431956 w 1997094"/>
              <a:gd name="connsiteY18" fmla="*/ 2423441 h 3436871"/>
              <a:gd name="connsiteX19" fmla="*/ 482444 w 1997094"/>
              <a:gd name="connsiteY19" fmla="*/ 2434660 h 3436871"/>
              <a:gd name="connsiteX20" fmla="*/ 493664 w 1997094"/>
              <a:gd name="connsiteY20" fmla="*/ 2928324 h 3436871"/>
              <a:gd name="connsiteX21" fmla="*/ 566591 w 1997094"/>
              <a:gd name="connsiteY21" fmla="*/ 2933934 h 3436871"/>
              <a:gd name="connsiteX22" fmla="*/ 572201 w 1997094"/>
              <a:gd name="connsiteY22" fmla="*/ 2457100 h 3436871"/>
              <a:gd name="connsiteX23" fmla="*/ 964888 w 1997094"/>
              <a:gd name="connsiteY23" fmla="*/ 2462710 h 3436871"/>
              <a:gd name="connsiteX24" fmla="*/ 970498 w 1997094"/>
              <a:gd name="connsiteY24" fmla="*/ 2866616 h 3436871"/>
              <a:gd name="connsiteX25" fmla="*/ 1026596 w 1997094"/>
              <a:gd name="connsiteY25" fmla="*/ 2877836 h 3436871"/>
              <a:gd name="connsiteX26" fmla="*/ 1020986 w 1997094"/>
              <a:gd name="connsiteY26" fmla="*/ 3051740 h 3436871"/>
              <a:gd name="connsiteX27" fmla="*/ 1009767 w 1997094"/>
              <a:gd name="connsiteY27" fmla="*/ 3175156 h 3436871"/>
              <a:gd name="connsiteX28" fmla="*/ 1020986 w 1997094"/>
              <a:gd name="connsiteY28" fmla="*/ 3393939 h 3436871"/>
              <a:gd name="connsiteX29" fmla="*/ 1217330 w 1997094"/>
              <a:gd name="connsiteY29" fmla="*/ 3410768 h 3436871"/>
              <a:gd name="connsiteX30" fmla="*/ 1211720 w 1997094"/>
              <a:gd name="connsiteY30" fmla="*/ 3225645 h 3436871"/>
              <a:gd name="connsiteX31" fmla="*/ 1228549 w 1997094"/>
              <a:gd name="connsiteY31" fmla="*/ 3051741 h 3436871"/>
              <a:gd name="connsiteX32" fmla="*/ 1211720 w 1997094"/>
              <a:gd name="connsiteY32" fmla="*/ 2922714 h 3436871"/>
              <a:gd name="connsiteX33" fmla="*/ 1234159 w 1997094"/>
              <a:gd name="connsiteY33" fmla="*/ 2883446 h 3436871"/>
              <a:gd name="connsiteX34" fmla="*/ 1250988 w 1997094"/>
              <a:gd name="connsiteY34" fmla="*/ 2664663 h 3436871"/>
              <a:gd name="connsiteX35" fmla="*/ 1256599 w 1997094"/>
              <a:gd name="connsiteY35" fmla="*/ 2552467 h 3436871"/>
              <a:gd name="connsiteX36" fmla="*/ 1262209 w 1997094"/>
              <a:gd name="connsiteY36" fmla="*/ 2417831 h 3436871"/>
              <a:gd name="connsiteX37" fmla="*/ 1357574 w 1997094"/>
              <a:gd name="connsiteY37" fmla="*/ 2569297 h 3436871"/>
              <a:gd name="connsiteX38" fmla="*/ 1368794 w 1997094"/>
              <a:gd name="connsiteY38" fmla="*/ 3107839 h 3436871"/>
              <a:gd name="connsiteX39" fmla="*/ 1413673 w 1997094"/>
              <a:gd name="connsiteY39" fmla="*/ 3113448 h 3436871"/>
              <a:gd name="connsiteX40" fmla="*/ 1419283 w 1997094"/>
              <a:gd name="connsiteY40" fmla="*/ 2625394 h 3436871"/>
              <a:gd name="connsiteX41" fmla="*/ 1469772 w 1997094"/>
              <a:gd name="connsiteY41" fmla="*/ 2636614 h 3436871"/>
              <a:gd name="connsiteX42" fmla="*/ 1480991 w 1997094"/>
              <a:gd name="connsiteY42" fmla="*/ 3292962 h 3436871"/>
              <a:gd name="connsiteX43" fmla="*/ 1531479 w 1997094"/>
              <a:gd name="connsiteY43" fmla="*/ 3276133 h 3436871"/>
              <a:gd name="connsiteX44" fmla="*/ 1553919 w 1997094"/>
              <a:gd name="connsiteY44" fmla="*/ 2821738 h 3436871"/>
              <a:gd name="connsiteX45" fmla="*/ 1604407 w 1997094"/>
              <a:gd name="connsiteY45" fmla="*/ 2961983 h 3436871"/>
              <a:gd name="connsiteX46" fmla="*/ 1952216 w 1997094"/>
              <a:gd name="connsiteY46" fmla="*/ 2771249 h 3436871"/>
              <a:gd name="connsiteX47" fmla="*/ 1997094 w 1997094"/>
              <a:gd name="connsiteY47" fmla="*/ 2653443 h 3436871"/>
              <a:gd name="connsiteX48" fmla="*/ 1823190 w 1997094"/>
              <a:gd name="connsiteY48" fmla="*/ 2642224 h 3436871"/>
              <a:gd name="connsiteX49" fmla="*/ 1694164 w 1997094"/>
              <a:gd name="connsiteY49" fmla="*/ 2546857 h 3436871"/>
              <a:gd name="connsiteX50" fmla="*/ 1621237 w 1997094"/>
              <a:gd name="connsiteY50" fmla="*/ 2451490 h 3436871"/>
              <a:gd name="connsiteX51" fmla="*/ 1694164 w 1997094"/>
              <a:gd name="connsiteY51" fmla="*/ 2328074 h 3436871"/>
              <a:gd name="connsiteX52" fmla="*/ 1514650 w 1997094"/>
              <a:gd name="connsiteY52" fmla="*/ 2030754 h 3436871"/>
              <a:gd name="connsiteX53" fmla="*/ 1531479 w 1997094"/>
              <a:gd name="connsiteY53" fmla="*/ 1610018 h 3436871"/>
              <a:gd name="connsiteX54" fmla="*/ 1301477 w 1997094"/>
              <a:gd name="connsiteY54" fmla="*/ 1615627 h 3436871"/>
              <a:gd name="connsiteX55" fmla="*/ 1323916 w 1997094"/>
              <a:gd name="connsiteY55" fmla="*/ 1486602 h 3436871"/>
              <a:gd name="connsiteX56" fmla="*/ 1262208 w 1997094"/>
              <a:gd name="connsiteY56" fmla="*/ 1301478 h 3436871"/>
              <a:gd name="connsiteX57" fmla="*/ 1301477 w 1997094"/>
              <a:gd name="connsiteY57" fmla="*/ 1228550 h 3436871"/>
              <a:gd name="connsiteX58" fmla="*/ 1234159 w 1997094"/>
              <a:gd name="connsiteY58" fmla="*/ 1043426 h 3436871"/>
              <a:gd name="connsiteX59" fmla="*/ 1250989 w 1997094"/>
              <a:gd name="connsiteY59" fmla="*/ 847083 h 3436871"/>
              <a:gd name="connsiteX60" fmla="*/ 970498 w 1997094"/>
              <a:gd name="connsiteY60" fmla="*/ 712447 h 3436871"/>
              <a:gd name="connsiteX61" fmla="*/ 1015376 w 1997094"/>
              <a:gd name="connsiteY61" fmla="*/ 622690 h 3436871"/>
              <a:gd name="connsiteX62" fmla="*/ 1150012 w 1997094"/>
              <a:gd name="connsiteY62" fmla="*/ 482445 h 3436871"/>
              <a:gd name="connsiteX63" fmla="*/ 1166841 w 1997094"/>
              <a:gd name="connsiteY63" fmla="*/ 314150 h 3436871"/>
              <a:gd name="connsiteX64" fmla="*/ 1161232 w 1997094"/>
              <a:gd name="connsiteY64" fmla="*/ 196344 h 3436871"/>
              <a:gd name="connsiteX65" fmla="*/ 1065865 w 1997094"/>
              <a:gd name="connsiteY65" fmla="*/ 117807 h 3436871"/>
              <a:gd name="connsiteX66" fmla="*/ 998547 w 1997094"/>
              <a:gd name="connsiteY66" fmla="*/ 72928 h 3436871"/>
              <a:gd name="connsiteX67" fmla="*/ 920010 w 1997094"/>
              <a:gd name="connsiteY67" fmla="*/ 0 h 3436871"/>
              <a:gd name="connsiteX0" fmla="*/ 920010 w 1997094"/>
              <a:gd name="connsiteY0" fmla="*/ 0 h 3436871"/>
              <a:gd name="connsiteX1" fmla="*/ 779764 w 1997094"/>
              <a:gd name="connsiteY1" fmla="*/ 117807 h 3436871"/>
              <a:gd name="connsiteX2" fmla="*/ 751715 w 1997094"/>
              <a:gd name="connsiteY2" fmla="*/ 224393 h 3436871"/>
              <a:gd name="connsiteX3" fmla="*/ 656348 w 1997094"/>
              <a:gd name="connsiteY3" fmla="*/ 403907 h 3436871"/>
              <a:gd name="connsiteX4" fmla="*/ 656348 w 1997094"/>
              <a:gd name="connsiteY4" fmla="*/ 460005 h 3436871"/>
              <a:gd name="connsiteX5" fmla="*/ 673178 w 1997094"/>
              <a:gd name="connsiteY5" fmla="*/ 544153 h 3436871"/>
              <a:gd name="connsiteX6" fmla="*/ 448785 w 1997094"/>
              <a:gd name="connsiteY6" fmla="*/ 656349 h 3436871"/>
              <a:gd name="connsiteX7" fmla="*/ 263661 w 1997094"/>
              <a:gd name="connsiteY7" fmla="*/ 673178 h 3436871"/>
              <a:gd name="connsiteX8" fmla="*/ 218783 w 1997094"/>
              <a:gd name="connsiteY8" fmla="*/ 948059 h 3436871"/>
              <a:gd name="connsiteX9" fmla="*/ 168294 w 1997094"/>
              <a:gd name="connsiteY9" fmla="*/ 1082695 h 3436871"/>
              <a:gd name="connsiteX10" fmla="*/ 72927 w 1997094"/>
              <a:gd name="connsiteY10" fmla="*/ 1211721 h 3436871"/>
              <a:gd name="connsiteX11" fmla="*/ 0 w 1997094"/>
              <a:gd name="connsiteY11" fmla="*/ 1346356 h 3436871"/>
              <a:gd name="connsiteX12" fmla="*/ 134635 w 1997094"/>
              <a:gd name="connsiteY12" fmla="*/ 1705384 h 3436871"/>
              <a:gd name="connsiteX13" fmla="*/ 241222 w 1997094"/>
              <a:gd name="connsiteY13" fmla="*/ 1778312 h 3436871"/>
              <a:gd name="connsiteX14" fmla="*/ 291710 w 1997094"/>
              <a:gd name="connsiteY14" fmla="*/ 1744653 h 3436871"/>
              <a:gd name="connsiteX15" fmla="*/ 336589 w 1997094"/>
              <a:gd name="connsiteY15" fmla="*/ 1800751 h 3436871"/>
              <a:gd name="connsiteX16" fmla="*/ 370248 w 1997094"/>
              <a:gd name="connsiteY16" fmla="*/ 3141497 h 3436871"/>
              <a:gd name="connsiteX17" fmla="*/ 426346 w 1997094"/>
              <a:gd name="connsiteY17" fmla="*/ 3141497 h 3436871"/>
              <a:gd name="connsiteX18" fmla="*/ 431956 w 1997094"/>
              <a:gd name="connsiteY18" fmla="*/ 2423441 h 3436871"/>
              <a:gd name="connsiteX19" fmla="*/ 482444 w 1997094"/>
              <a:gd name="connsiteY19" fmla="*/ 2434660 h 3436871"/>
              <a:gd name="connsiteX20" fmla="*/ 493664 w 1997094"/>
              <a:gd name="connsiteY20" fmla="*/ 2928324 h 3436871"/>
              <a:gd name="connsiteX21" fmla="*/ 583421 w 1997094"/>
              <a:gd name="connsiteY21" fmla="*/ 3124668 h 3436871"/>
              <a:gd name="connsiteX22" fmla="*/ 572201 w 1997094"/>
              <a:gd name="connsiteY22" fmla="*/ 2457100 h 3436871"/>
              <a:gd name="connsiteX23" fmla="*/ 964888 w 1997094"/>
              <a:gd name="connsiteY23" fmla="*/ 2462710 h 3436871"/>
              <a:gd name="connsiteX24" fmla="*/ 970498 w 1997094"/>
              <a:gd name="connsiteY24" fmla="*/ 2866616 h 3436871"/>
              <a:gd name="connsiteX25" fmla="*/ 1026596 w 1997094"/>
              <a:gd name="connsiteY25" fmla="*/ 2877836 h 3436871"/>
              <a:gd name="connsiteX26" fmla="*/ 1020986 w 1997094"/>
              <a:gd name="connsiteY26" fmla="*/ 3051740 h 3436871"/>
              <a:gd name="connsiteX27" fmla="*/ 1009767 w 1997094"/>
              <a:gd name="connsiteY27" fmla="*/ 3175156 h 3436871"/>
              <a:gd name="connsiteX28" fmla="*/ 1020986 w 1997094"/>
              <a:gd name="connsiteY28" fmla="*/ 3393939 h 3436871"/>
              <a:gd name="connsiteX29" fmla="*/ 1217330 w 1997094"/>
              <a:gd name="connsiteY29" fmla="*/ 3410768 h 3436871"/>
              <a:gd name="connsiteX30" fmla="*/ 1211720 w 1997094"/>
              <a:gd name="connsiteY30" fmla="*/ 3225645 h 3436871"/>
              <a:gd name="connsiteX31" fmla="*/ 1228549 w 1997094"/>
              <a:gd name="connsiteY31" fmla="*/ 3051741 h 3436871"/>
              <a:gd name="connsiteX32" fmla="*/ 1211720 w 1997094"/>
              <a:gd name="connsiteY32" fmla="*/ 2922714 h 3436871"/>
              <a:gd name="connsiteX33" fmla="*/ 1234159 w 1997094"/>
              <a:gd name="connsiteY33" fmla="*/ 2883446 h 3436871"/>
              <a:gd name="connsiteX34" fmla="*/ 1250988 w 1997094"/>
              <a:gd name="connsiteY34" fmla="*/ 2664663 h 3436871"/>
              <a:gd name="connsiteX35" fmla="*/ 1256599 w 1997094"/>
              <a:gd name="connsiteY35" fmla="*/ 2552467 h 3436871"/>
              <a:gd name="connsiteX36" fmla="*/ 1262209 w 1997094"/>
              <a:gd name="connsiteY36" fmla="*/ 2417831 h 3436871"/>
              <a:gd name="connsiteX37" fmla="*/ 1357574 w 1997094"/>
              <a:gd name="connsiteY37" fmla="*/ 2569297 h 3436871"/>
              <a:gd name="connsiteX38" fmla="*/ 1368794 w 1997094"/>
              <a:gd name="connsiteY38" fmla="*/ 3107839 h 3436871"/>
              <a:gd name="connsiteX39" fmla="*/ 1413673 w 1997094"/>
              <a:gd name="connsiteY39" fmla="*/ 3113448 h 3436871"/>
              <a:gd name="connsiteX40" fmla="*/ 1419283 w 1997094"/>
              <a:gd name="connsiteY40" fmla="*/ 2625394 h 3436871"/>
              <a:gd name="connsiteX41" fmla="*/ 1469772 w 1997094"/>
              <a:gd name="connsiteY41" fmla="*/ 2636614 h 3436871"/>
              <a:gd name="connsiteX42" fmla="*/ 1480991 w 1997094"/>
              <a:gd name="connsiteY42" fmla="*/ 3292962 h 3436871"/>
              <a:gd name="connsiteX43" fmla="*/ 1531479 w 1997094"/>
              <a:gd name="connsiteY43" fmla="*/ 3276133 h 3436871"/>
              <a:gd name="connsiteX44" fmla="*/ 1553919 w 1997094"/>
              <a:gd name="connsiteY44" fmla="*/ 2821738 h 3436871"/>
              <a:gd name="connsiteX45" fmla="*/ 1604407 w 1997094"/>
              <a:gd name="connsiteY45" fmla="*/ 2961983 h 3436871"/>
              <a:gd name="connsiteX46" fmla="*/ 1952216 w 1997094"/>
              <a:gd name="connsiteY46" fmla="*/ 2771249 h 3436871"/>
              <a:gd name="connsiteX47" fmla="*/ 1997094 w 1997094"/>
              <a:gd name="connsiteY47" fmla="*/ 2653443 h 3436871"/>
              <a:gd name="connsiteX48" fmla="*/ 1823190 w 1997094"/>
              <a:gd name="connsiteY48" fmla="*/ 2642224 h 3436871"/>
              <a:gd name="connsiteX49" fmla="*/ 1694164 w 1997094"/>
              <a:gd name="connsiteY49" fmla="*/ 2546857 h 3436871"/>
              <a:gd name="connsiteX50" fmla="*/ 1621237 w 1997094"/>
              <a:gd name="connsiteY50" fmla="*/ 2451490 h 3436871"/>
              <a:gd name="connsiteX51" fmla="*/ 1694164 w 1997094"/>
              <a:gd name="connsiteY51" fmla="*/ 2328074 h 3436871"/>
              <a:gd name="connsiteX52" fmla="*/ 1514650 w 1997094"/>
              <a:gd name="connsiteY52" fmla="*/ 2030754 h 3436871"/>
              <a:gd name="connsiteX53" fmla="*/ 1531479 w 1997094"/>
              <a:gd name="connsiteY53" fmla="*/ 1610018 h 3436871"/>
              <a:gd name="connsiteX54" fmla="*/ 1301477 w 1997094"/>
              <a:gd name="connsiteY54" fmla="*/ 1615627 h 3436871"/>
              <a:gd name="connsiteX55" fmla="*/ 1323916 w 1997094"/>
              <a:gd name="connsiteY55" fmla="*/ 1486602 h 3436871"/>
              <a:gd name="connsiteX56" fmla="*/ 1262208 w 1997094"/>
              <a:gd name="connsiteY56" fmla="*/ 1301478 h 3436871"/>
              <a:gd name="connsiteX57" fmla="*/ 1301477 w 1997094"/>
              <a:gd name="connsiteY57" fmla="*/ 1228550 h 3436871"/>
              <a:gd name="connsiteX58" fmla="*/ 1234159 w 1997094"/>
              <a:gd name="connsiteY58" fmla="*/ 1043426 h 3436871"/>
              <a:gd name="connsiteX59" fmla="*/ 1250989 w 1997094"/>
              <a:gd name="connsiteY59" fmla="*/ 847083 h 3436871"/>
              <a:gd name="connsiteX60" fmla="*/ 970498 w 1997094"/>
              <a:gd name="connsiteY60" fmla="*/ 712447 h 3436871"/>
              <a:gd name="connsiteX61" fmla="*/ 1015376 w 1997094"/>
              <a:gd name="connsiteY61" fmla="*/ 622690 h 3436871"/>
              <a:gd name="connsiteX62" fmla="*/ 1150012 w 1997094"/>
              <a:gd name="connsiteY62" fmla="*/ 482445 h 3436871"/>
              <a:gd name="connsiteX63" fmla="*/ 1166841 w 1997094"/>
              <a:gd name="connsiteY63" fmla="*/ 314150 h 3436871"/>
              <a:gd name="connsiteX64" fmla="*/ 1161232 w 1997094"/>
              <a:gd name="connsiteY64" fmla="*/ 196344 h 3436871"/>
              <a:gd name="connsiteX65" fmla="*/ 1065865 w 1997094"/>
              <a:gd name="connsiteY65" fmla="*/ 117807 h 3436871"/>
              <a:gd name="connsiteX66" fmla="*/ 998547 w 1997094"/>
              <a:gd name="connsiteY66" fmla="*/ 72928 h 3436871"/>
              <a:gd name="connsiteX67" fmla="*/ 920010 w 1997094"/>
              <a:gd name="connsiteY67" fmla="*/ 0 h 3436871"/>
              <a:gd name="connsiteX0" fmla="*/ 920010 w 1997094"/>
              <a:gd name="connsiteY0" fmla="*/ 0 h 3436871"/>
              <a:gd name="connsiteX1" fmla="*/ 779764 w 1997094"/>
              <a:gd name="connsiteY1" fmla="*/ 117807 h 3436871"/>
              <a:gd name="connsiteX2" fmla="*/ 751715 w 1997094"/>
              <a:gd name="connsiteY2" fmla="*/ 224393 h 3436871"/>
              <a:gd name="connsiteX3" fmla="*/ 656348 w 1997094"/>
              <a:gd name="connsiteY3" fmla="*/ 403907 h 3436871"/>
              <a:gd name="connsiteX4" fmla="*/ 656348 w 1997094"/>
              <a:gd name="connsiteY4" fmla="*/ 460005 h 3436871"/>
              <a:gd name="connsiteX5" fmla="*/ 673178 w 1997094"/>
              <a:gd name="connsiteY5" fmla="*/ 544153 h 3436871"/>
              <a:gd name="connsiteX6" fmla="*/ 448785 w 1997094"/>
              <a:gd name="connsiteY6" fmla="*/ 656349 h 3436871"/>
              <a:gd name="connsiteX7" fmla="*/ 263661 w 1997094"/>
              <a:gd name="connsiteY7" fmla="*/ 673178 h 3436871"/>
              <a:gd name="connsiteX8" fmla="*/ 218783 w 1997094"/>
              <a:gd name="connsiteY8" fmla="*/ 948059 h 3436871"/>
              <a:gd name="connsiteX9" fmla="*/ 168294 w 1997094"/>
              <a:gd name="connsiteY9" fmla="*/ 1082695 h 3436871"/>
              <a:gd name="connsiteX10" fmla="*/ 72927 w 1997094"/>
              <a:gd name="connsiteY10" fmla="*/ 1211721 h 3436871"/>
              <a:gd name="connsiteX11" fmla="*/ 0 w 1997094"/>
              <a:gd name="connsiteY11" fmla="*/ 1346356 h 3436871"/>
              <a:gd name="connsiteX12" fmla="*/ 134635 w 1997094"/>
              <a:gd name="connsiteY12" fmla="*/ 1705384 h 3436871"/>
              <a:gd name="connsiteX13" fmla="*/ 241222 w 1997094"/>
              <a:gd name="connsiteY13" fmla="*/ 1778312 h 3436871"/>
              <a:gd name="connsiteX14" fmla="*/ 291710 w 1997094"/>
              <a:gd name="connsiteY14" fmla="*/ 1744653 h 3436871"/>
              <a:gd name="connsiteX15" fmla="*/ 336589 w 1997094"/>
              <a:gd name="connsiteY15" fmla="*/ 1800751 h 3436871"/>
              <a:gd name="connsiteX16" fmla="*/ 370248 w 1997094"/>
              <a:gd name="connsiteY16" fmla="*/ 3141497 h 3436871"/>
              <a:gd name="connsiteX17" fmla="*/ 426346 w 1997094"/>
              <a:gd name="connsiteY17" fmla="*/ 3141497 h 3436871"/>
              <a:gd name="connsiteX18" fmla="*/ 431956 w 1997094"/>
              <a:gd name="connsiteY18" fmla="*/ 2423441 h 3436871"/>
              <a:gd name="connsiteX19" fmla="*/ 482444 w 1997094"/>
              <a:gd name="connsiteY19" fmla="*/ 2434660 h 3436871"/>
              <a:gd name="connsiteX20" fmla="*/ 516103 w 1997094"/>
              <a:gd name="connsiteY20" fmla="*/ 3119058 h 3436871"/>
              <a:gd name="connsiteX21" fmla="*/ 583421 w 1997094"/>
              <a:gd name="connsiteY21" fmla="*/ 3124668 h 3436871"/>
              <a:gd name="connsiteX22" fmla="*/ 572201 w 1997094"/>
              <a:gd name="connsiteY22" fmla="*/ 2457100 h 3436871"/>
              <a:gd name="connsiteX23" fmla="*/ 964888 w 1997094"/>
              <a:gd name="connsiteY23" fmla="*/ 2462710 h 3436871"/>
              <a:gd name="connsiteX24" fmla="*/ 970498 w 1997094"/>
              <a:gd name="connsiteY24" fmla="*/ 2866616 h 3436871"/>
              <a:gd name="connsiteX25" fmla="*/ 1026596 w 1997094"/>
              <a:gd name="connsiteY25" fmla="*/ 2877836 h 3436871"/>
              <a:gd name="connsiteX26" fmla="*/ 1020986 w 1997094"/>
              <a:gd name="connsiteY26" fmla="*/ 3051740 h 3436871"/>
              <a:gd name="connsiteX27" fmla="*/ 1009767 w 1997094"/>
              <a:gd name="connsiteY27" fmla="*/ 3175156 h 3436871"/>
              <a:gd name="connsiteX28" fmla="*/ 1020986 w 1997094"/>
              <a:gd name="connsiteY28" fmla="*/ 3393939 h 3436871"/>
              <a:gd name="connsiteX29" fmla="*/ 1217330 w 1997094"/>
              <a:gd name="connsiteY29" fmla="*/ 3410768 h 3436871"/>
              <a:gd name="connsiteX30" fmla="*/ 1211720 w 1997094"/>
              <a:gd name="connsiteY30" fmla="*/ 3225645 h 3436871"/>
              <a:gd name="connsiteX31" fmla="*/ 1228549 w 1997094"/>
              <a:gd name="connsiteY31" fmla="*/ 3051741 h 3436871"/>
              <a:gd name="connsiteX32" fmla="*/ 1211720 w 1997094"/>
              <a:gd name="connsiteY32" fmla="*/ 2922714 h 3436871"/>
              <a:gd name="connsiteX33" fmla="*/ 1234159 w 1997094"/>
              <a:gd name="connsiteY33" fmla="*/ 2883446 h 3436871"/>
              <a:gd name="connsiteX34" fmla="*/ 1250988 w 1997094"/>
              <a:gd name="connsiteY34" fmla="*/ 2664663 h 3436871"/>
              <a:gd name="connsiteX35" fmla="*/ 1256599 w 1997094"/>
              <a:gd name="connsiteY35" fmla="*/ 2552467 h 3436871"/>
              <a:gd name="connsiteX36" fmla="*/ 1262209 w 1997094"/>
              <a:gd name="connsiteY36" fmla="*/ 2417831 h 3436871"/>
              <a:gd name="connsiteX37" fmla="*/ 1357574 w 1997094"/>
              <a:gd name="connsiteY37" fmla="*/ 2569297 h 3436871"/>
              <a:gd name="connsiteX38" fmla="*/ 1368794 w 1997094"/>
              <a:gd name="connsiteY38" fmla="*/ 3107839 h 3436871"/>
              <a:gd name="connsiteX39" fmla="*/ 1413673 w 1997094"/>
              <a:gd name="connsiteY39" fmla="*/ 3113448 h 3436871"/>
              <a:gd name="connsiteX40" fmla="*/ 1419283 w 1997094"/>
              <a:gd name="connsiteY40" fmla="*/ 2625394 h 3436871"/>
              <a:gd name="connsiteX41" fmla="*/ 1469772 w 1997094"/>
              <a:gd name="connsiteY41" fmla="*/ 2636614 h 3436871"/>
              <a:gd name="connsiteX42" fmla="*/ 1480991 w 1997094"/>
              <a:gd name="connsiteY42" fmla="*/ 3292962 h 3436871"/>
              <a:gd name="connsiteX43" fmla="*/ 1531479 w 1997094"/>
              <a:gd name="connsiteY43" fmla="*/ 3276133 h 3436871"/>
              <a:gd name="connsiteX44" fmla="*/ 1553919 w 1997094"/>
              <a:gd name="connsiteY44" fmla="*/ 2821738 h 3436871"/>
              <a:gd name="connsiteX45" fmla="*/ 1604407 w 1997094"/>
              <a:gd name="connsiteY45" fmla="*/ 2961983 h 3436871"/>
              <a:gd name="connsiteX46" fmla="*/ 1952216 w 1997094"/>
              <a:gd name="connsiteY46" fmla="*/ 2771249 h 3436871"/>
              <a:gd name="connsiteX47" fmla="*/ 1997094 w 1997094"/>
              <a:gd name="connsiteY47" fmla="*/ 2653443 h 3436871"/>
              <a:gd name="connsiteX48" fmla="*/ 1823190 w 1997094"/>
              <a:gd name="connsiteY48" fmla="*/ 2642224 h 3436871"/>
              <a:gd name="connsiteX49" fmla="*/ 1694164 w 1997094"/>
              <a:gd name="connsiteY49" fmla="*/ 2546857 h 3436871"/>
              <a:gd name="connsiteX50" fmla="*/ 1621237 w 1997094"/>
              <a:gd name="connsiteY50" fmla="*/ 2451490 h 3436871"/>
              <a:gd name="connsiteX51" fmla="*/ 1694164 w 1997094"/>
              <a:gd name="connsiteY51" fmla="*/ 2328074 h 3436871"/>
              <a:gd name="connsiteX52" fmla="*/ 1514650 w 1997094"/>
              <a:gd name="connsiteY52" fmla="*/ 2030754 h 3436871"/>
              <a:gd name="connsiteX53" fmla="*/ 1531479 w 1997094"/>
              <a:gd name="connsiteY53" fmla="*/ 1610018 h 3436871"/>
              <a:gd name="connsiteX54" fmla="*/ 1301477 w 1997094"/>
              <a:gd name="connsiteY54" fmla="*/ 1615627 h 3436871"/>
              <a:gd name="connsiteX55" fmla="*/ 1323916 w 1997094"/>
              <a:gd name="connsiteY55" fmla="*/ 1486602 h 3436871"/>
              <a:gd name="connsiteX56" fmla="*/ 1262208 w 1997094"/>
              <a:gd name="connsiteY56" fmla="*/ 1301478 h 3436871"/>
              <a:gd name="connsiteX57" fmla="*/ 1301477 w 1997094"/>
              <a:gd name="connsiteY57" fmla="*/ 1228550 h 3436871"/>
              <a:gd name="connsiteX58" fmla="*/ 1234159 w 1997094"/>
              <a:gd name="connsiteY58" fmla="*/ 1043426 h 3436871"/>
              <a:gd name="connsiteX59" fmla="*/ 1250989 w 1997094"/>
              <a:gd name="connsiteY59" fmla="*/ 847083 h 3436871"/>
              <a:gd name="connsiteX60" fmla="*/ 970498 w 1997094"/>
              <a:gd name="connsiteY60" fmla="*/ 712447 h 3436871"/>
              <a:gd name="connsiteX61" fmla="*/ 1015376 w 1997094"/>
              <a:gd name="connsiteY61" fmla="*/ 622690 h 3436871"/>
              <a:gd name="connsiteX62" fmla="*/ 1150012 w 1997094"/>
              <a:gd name="connsiteY62" fmla="*/ 482445 h 3436871"/>
              <a:gd name="connsiteX63" fmla="*/ 1166841 w 1997094"/>
              <a:gd name="connsiteY63" fmla="*/ 314150 h 3436871"/>
              <a:gd name="connsiteX64" fmla="*/ 1161232 w 1997094"/>
              <a:gd name="connsiteY64" fmla="*/ 196344 h 3436871"/>
              <a:gd name="connsiteX65" fmla="*/ 1065865 w 1997094"/>
              <a:gd name="connsiteY65" fmla="*/ 117807 h 3436871"/>
              <a:gd name="connsiteX66" fmla="*/ 998547 w 1997094"/>
              <a:gd name="connsiteY66" fmla="*/ 72928 h 3436871"/>
              <a:gd name="connsiteX67" fmla="*/ 920010 w 1997094"/>
              <a:gd name="connsiteY67" fmla="*/ 0 h 3436871"/>
              <a:gd name="connsiteX0" fmla="*/ 920010 w 1997094"/>
              <a:gd name="connsiteY0" fmla="*/ 0 h 3436871"/>
              <a:gd name="connsiteX1" fmla="*/ 779764 w 1997094"/>
              <a:gd name="connsiteY1" fmla="*/ 117807 h 3436871"/>
              <a:gd name="connsiteX2" fmla="*/ 751715 w 1997094"/>
              <a:gd name="connsiteY2" fmla="*/ 224393 h 3436871"/>
              <a:gd name="connsiteX3" fmla="*/ 656348 w 1997094"/>
              <a:gd name="connsiteY3" fmla="*/ 403907 h 3436871"/>
              <a:gd name="connsiteX4" fmla="*/ 656348 w 1997094"/>
              <a:gd name="connsiteY4" fmla="*/ 460005 h 3436871"/>
              <a:gd name="connsiteX5" fmla="*/ 673178 w 1997094"/>
              <a:gd name="connsiteY5" fmla="*/ 544153 h 3436871"/>
              <a:gd name="connsiteX6" fmla="*/ 448785 w 1997094"/>
              <a:gd name="connsiteY6" fmla="*/ 656349 h 3436871"/>
              <a:gd name="connsiteX7" fmla="*/ 263661 w 1997094"/>
              <a:gd name="connsiteY7" fmla="*/ 673178 h 3436871"/>
              <a:gd name="connsiteX8" fmla="*/ 218783 w 1997094"/>
              <a:gd name="connsiteY8" fmla="*/ 948059 h 3436871"/>
              <a:gd name="connsiteX9" fmla="*/ 168294 w 1997094"/>
              <a:gd name="connsiteY9" fmla="*/ 1082695 h 3436871"/>
              <a:gd name="connsiteX10" fmla="*/ 72927 w 1997094"/>
              <a:gd name="connsiteY10" fmla="*/ 1211721 h 3436871"/>
              <a:gd name="connsiteX11" fmla="*/ 0 w 1997094"/>
              <a:gd name="connsiteY11" fmla="*/ 1346356 h 3436871"/>
              <a:gd name="connsiteX12" fmla="*/ 134635 w 1997094"/>
              <a:gd name="connsiteY12" fmla="*/ 1705384 h 3436871"/>
              <a:gd name="connsiteX13" fmla="*/ 241222 w 1997094"/>
              <a:gd name="connsiteY13" fmla="*/ 1778312 h 3436871"/>
              <a:gd name="connsiteX14" fmla="*/ 291710 w 1997094"/>
              <a:gd name="connsiteY14" fmla="*/ 1744653 h 3436871"/>
              <a:gd name="connsiteX15" fmla="*/ 336589 w 1997094"/>
              <a:gd name="connsiteY15" fmla="*/ 1800751 h 3436871"/>
              <a:gd name="connsiteX16" fmla="*/ 370248 w 1997094"/>
              <a:gd name="connsiteY16" fmla="*/ 3141497 h 3436871"/>
              <a:gd name="connsiteX17" fmla="*/ 448785 w 1997094"/>
              <a:gd name="connsiteY17" fmla="*/ 3298572 h 3436871"/>
              <a:gd name="connsiteX18" fmla="*/ 431956 w 1997094"/>
              <a:gd name="connsiteY18" fmla="*/ 2423441 h 3436871"/>
              <a:gd name="connsiteX19" fmla="*/ 482444 w 1997094"/>
              <a:gd name="connsiteY19" fmla="*/ 2434660 h 3436871"/>
              <a:gd name="connsiteX20" fmla="*/ 516103 w 1997094"/>
              <a:gd name="connsiteY20" fmla="*/ 3119058 h 3436871"/>
              <a:gd name="connsiteX21" fmla="*/ 583421 w 1997094"/>
              <a:gd name="connsiteY21" fmla="*/ 3124668 h 3436871"/>
              <a:gd name="connsiteX22" fmla="*/ 572201 w 1997094"/>
              <a:gd name="connsiteY22" fmla="*/ 2457100 h 3436871"/>
              <a:gd name="connsiteX23" fmla="*/ 964888 w 1997094"/>
              <a:gd name="connsiteY23" fmla="*/ 2462710 h 3436871"/>
              <a:gd name="connsiteX24" fmla="*/ 970498 w 1997094"/>
              <a:gd name="connsiteY24" fmla="*/ 2866616 h 3436871"/>
              <a:gd name="connsiteX25" fmla="*/ 1026596 w 1997094"/>
              <a:gd name="connsiteY25" fmla="*/ 2877836 h 3436871"/>
              <a:gd name="connsiteX26" fmla="*/ 1020986 w 1997094"/>
              <a:gd name="connsiteY26" fmla="*/ 3051740 h 3436871"/>
              <a:gd name="connsiteX27" fmla="*/ 1009767 w 1997094"/>
              <a:gd name="connsiteY27" fmla="*/ 3175156 h 3436871"/>
              <a:gd name="connsiteX28" fmla="*/ 1020986 w 1997094"/>
              <a:gd name="connsiteY28" fmla="*/ 3393939 h 3436871"/>
              <a:gd name="connsiteX29" fmla="*/ 1217330 w 1997094"/>
              <a:gd name="connsiteY29" fmla="*/ 3410768 h 3436871"/>
              <a:gd name="connsiteX30" fmla="*/ 1211720 w 1997094"/>
              <a:gd name="connsiteY30" fmla="*/ 3225645 h 3436871"/>
              <a:gd name="connsiteX31" fmla="*/ 1228549 w 1997094"/>
              <a:gd name="connsiteY31" fmla="*/ 3051741 h 3436871"/>
              <a:gd name="connsiteX32" fmla="*/ 1211720 w 1997094"/>
              <a:gd name="connsiteY32" fmla="*/ 2922714 h 3436871"/>
              <a:gd name="connsiteX33" fmla="*/ 1234159 w 1997094"/>
              <a:gd name="connsiteY33" fmla="*/ 2883446 h 3436871"/>
              <a:gd name="connsiteX34" fmla="*/ 1250988 w 1997094"/>
              <a:gd name="connsiteY34" fmla="*/ 2664663 h 3436871"/>
              <a:gd name="connsiteX35" fmla="*/ 1256599 w 1997094"/>
              <a:gd name="connsiteY35" fmla="*/ 2552467 h 3436871"/>
              <a:gd name="connsiteX36" fmla="*/ 1262209 w 1997094"/>
              <a:gd name="connsiteY36" fmla="*/ 2417831 h 3436871"/>
              <a:gd name="connsiteX37" fmla="*/ 1357574 w 1997094"/>
              <a:gd name="connsiteY37" fmla="*/ 2569297 h 3436871"/>
              <a:gd name="connsiteX38" fmla="*/ 1368794 w 1997094"/>
              <a:gd name="connsiteY38" fmla="*/ 3107839 h 3436871"/>
              <a:gd name="connsiteX39" fmla="*/ 1413673 w 1997094"/>
              <a:gd name="connsiteY39" fmla="*/ 3113448 h 3436871"/>
              <a:gd name="connsiteX40" fmla="*/ 1419283 w 1997094"/>
              <a:gd name="connsiteY40" fmla="*/ 2625394 h 3436871"/>
              <a:gd name="connsiteX41" fmla="*/ 1469772 w 1997094"/>
              <a:gd name="connsiteY41" fmla="*/ 2636614 h 3436871"/>
              <a:gd name="connsiteX42" fmla="*/ 1480991 w 1997094"/>
              <a:gd name="connsiteY42" fmla="*/ 3292962 h 3436871"/>
              <a:gd name="connsiteX43" fmla="*/ 1531479 w 1997094"/>
              <a:gd name="connsiteY43" fmla="*/ 3276133 h 3436871"/>
              <a:gd name="connsiteX44" fmla="*/ 1553919 w 1997094"/>
              <a:gd name="connsiteY44" fmla="*/ 2821738 h 3436871"/>
              <a:gd name="connsiteX45" fmla="*/ 1604407 w 1997094"/>
              <a:gd name="connsiteY45" fmla="*/ 2961983 h 3436871"/>
              <a:gd name="connsiteX46" fmla="*/ 1952216 w 1997094"/>
              <a:gd name="connsiteY46" fmla="*/ 2771249 h 3436871"/>
              <a:gd name="connsiteX47" fmla="*/ 1997094 w 1997094"/>
              <a:gd name="connsiteY47" fmla="*/ 2653443 h 3436871"/>
              <a:gd name="connsiteX48" fmla="*/ 1823190 w 1997094"/>
              <a:gd name="connsiteY48" fmla="*/ 2642224 h 3436871"/>
              <a:gd name="connsiteX49" fmla="*/ 1694164 w 1997094"/>
              <a:gd name="connsiteY49" fmla="*/ 2546857 h 3436871"/>
              <a:gd name="connsiteX50" fmla="*/ 1621237 w 1997094"/>
              <a:gd name="connsiteY50" fmla="*/ 2451490 h 3436871"/>
              <a:gd name="connsiteX51" fmla="*/ 1694164 w 1997094"/>
              <a:gd name="connsiteY51" fmla="*/ 2328074 h 3436871"/>
              <a:gd name="connsiteX52" fmla="*/ 1514650 w 1997094"/>
              <a:gd name="connsiteY52" fmla="*/ 2030754 h 3436871"/>
              <a:gd name="connsiteX53" fmla="*/ 1531479 w 1997094"/>
              <a:gd name="connsiteY53" fmla="*/ 1610018 h 3436871"/>
              <a:gd name="connsiteX54" fmla="*/ 1301477 w 1997094"/>
              <a:gd name="connsiteY54" fmla="*/ 1615627 h 3436871"/>
              <a:gd name="connsiteX55" fmla="*/ 1323916 w 1997094"/>
              <a:gd name="connsiteY55" fmla="*/ 1486602 h 3436871"/>
              <a:gd name="connsiteX56" fmla="*/ 1262208 w 1997094"/>
              <a:gd name="connsiteY56" fmla="*/ 1301478 h 3436871"/>
              <a:gd name="connsiteX57" fmla="*/ 1301477 w 1997094"/>
              <a:gd name="connsiteY57" fmla="*/ 1228550 h 3436871"/>
              <a:gd name="connsiteX58" fmla="*/ 1234159 w 1997094"/>
              <a:gd name="connsiteY58" fmla="*/ 1043426 h 3436871"/>
              <a:gd name="connsiteX59" fmla="*/ 1250989 w 1997094"/>
              <a:gd name="connsiteY59" fmla="*/ 847083 h 3436871"/>
              <a:gd name="connsiteX60" fmla="*/ 970498 w 1997094"/>
              <a:gd name="connsiteY60" fmla="*/ 712447 h 3436871"/>
              <a:gd name="connsiteX61" fmla="*/ 1015376 w 1997094"/>
              <a:gd name="connsiteY61" fmla="*/ 622690 h 3436871"/>
              <a:gd name="connsiteX62" fmla="*/ 1150012 w 1997094"/>
              <a:gd name="connsiteY62" fmla="*/ 482445 h 3436871"/>
              <a:gd name="connsiteX63" fmla="*/ 1166841 w 1997094"/>
              <a:gd name="connsiteY63" fmla="*/ 314150 h 3436871"/>
              <a:gd name="connsiteX64" fmla="*/ 1161232 w 1997094"/>
              <a:gd name="connsiteY64" fmla="*/ 196344 h 3436871"/>
              <a:gd name="connsiteX65" fmla="*/ 1065865 w 1997094"/>
              <a:gd name="connsiteY65" fmla="*/ 117807 h 3436871"/>
              <a:gd name="connsiteX66" fmla="*/ 998547 w 1997094"/>
              <a:gd name="connsiteY66" fmla="*/ 72928 h 3436871"/>
              <a:gd name="connsiteX67" fmla="*/ 920010 w 1997094"/>
              <a:gd name="connsiteY67" fmla="*/ 0 h 3436871"/>
              <a:gd name="connsiteX0" fmla="*/ 920010 w 1997094"/>
              <a:gd name="connsiteY0" fmla="*/ 0 h 3436871"/>
              <a:gd name="connsiteX1" fmla="*/ 779764 w 1997094"/>
              <a:gd name="connsiteY1" fmla="*/ 117807 h 3436871"/>
              <a:gd name="connsiteX2" fmla="*/ 751715 w 1997094"/>
              <a:gd name="connsiteY2" fmla="*/ 224393 h 3436871"/>
              <a:gd name="connsiteX3" fmla="*/ 656348 w 1997094"/>
              <a:gd name="connsiteY3" fmla="*/ 403907 h 3436871"/>
              <a:gd name="connsiteX4" fmla="*/ 656348 w 1997094"/>
              <a:gd name="connsiteY4" fmla="*/ 460005 h 3436871"/>
              <a:gd name="connsiteX5" fmla="*/ 673178 w 1997094"/>
              <a:gd name="connsiteY5" fmla="*/ 544153 h 3436871"/>
              <a:gd name="connsiteX6" fmla="*/ 448785 w 1997094"/>
              <a:gd name="connsiteY6" fmla="*/ 656349 h 3436871"/>
              <a:gd name="connsiteX7" fmla="*/ 263661 w 1997094"/>
              <a:gd name="connsiteY7" fmla="*/ 673178 h 3436871"/>
              <a:gd name="connsiteX8" fmla="*/ 218783 w 1997094"/>
              <a:gd name="connsiteY8" fmla="*/ 948059 h 3436871"/>
              <a:gd name="connsiteX9" fmla="*/ 168294 w 1997094"/>
              <a:gd name="connsiteY9" fmla="*/ 1082695 h 3436871"/>
              <a:gd name="connsiteX10" fmla="*/ 72927 w 1997094"/>
              <a:gd name="connsiteY10" fmla="*/ 1211721 h 3436871"/>
              <a:gd name="connsiteX11" fmla="*/ 0 w 1997094"/>
              <a:gd name="connsiteY11" fmla="*/ 1346356 h 3436871"/>
              <a:gd name="connsiteX12" fmla="*/ 134635 w 1997094"/>
              <a:gd name="connsiteY12" fmla="*/ 1705384 h 3436871"/>
              <a:gd name="connsiteX13" fmla="*/ 241222 w 1997094"/>
              <a:gd name="connsiteY13" fmla="*/ 1778312 h 3436871"/>
              <a:gd name="connsiteX14" fmla="*/ 291710 w 1997094"/>
              <a:gd name="connsiteY14" fmla="*/ 1744653 h 3436871"/>
              <a:gd name="connsiteX15" fmla="*/ 336589 w 1997094"/>
              <a:gd name="connsiteY15" fmla="*/ 1800751 h 3436871"/>
              <a:gd name="connsiteX16" fmla="*/ 387077 w 1997094"/>
              <a:gd name="connsiteY16" fmla="*/ 3326621 h 3436871"/>
              <a:gd name="connsiteX17" fmla="*/ 448785 w 1997094"/>
              <a:gd name="connsiteY17" fmla="*/ 3298572 h 3436871"/>
              <a:gd name="connsiteX18" fmla="*/ 431956 w 1997094"/>
              <a:gd name="connsiteY18" fmla="*/ 2423441 h 3436871"/>
              <a:gd name="connsiteX19" fmla="*/ 482444 w 1997094"/>
              <a:gd name="connsiteY19" fmla="*/ 2434660 h 3436871"/>
              <a:gd name="connsiteX20" fmla="*/ 516103 w 1997094"/>
              <a:gd name="connsiteY20" fmla="*/ 3119058 h 3436871"/>
              <a:gd name="connsiteX21" fmla="*/ 583421 w 1997094"/>
              <a:gd name="connsiteY21" fmla="*/ 3124668 h 3436871"/>
              <a:gd name="connsiteX22" fmla="*/ 572201 w 1997094"/>
              <a:gd name="connsiteY22" fmla="*/ 2457100 h 3436871"/>
              <a:gd name="connsiteX23" fmla="*/ 964888 w 1997094"/>
              <a:gd name="connsiteY23" fmla="*/ 2462710 h 3436871"/>
              <a:gd name="connsiteX24" fmla="*/ 970498 w 1997094"/>
              <a:gd name="connsiteY24" fmla="*/ 2866616 h 3436871"/>
              <a:gd name="connsiteX25" fmla="*/ 1026596 w 1997094"/>
              <a:gd name="connsiteY25" fmla="*/ 2877836 h 3436871"/>
              <a:gd name="connsiteX26" fmla="*/ 1020986 w 1997094"/>
              <a:gd name="connsiteY26" fmla="*/ 3051740 h 3436871"/>
              <a:gd name="connsiteX27" fmla="*/ 1009767 w 1997094"/>
              <a:gd name="connsiteY27" fmla="*/ 3175156 h 3436871"/>
              <a:gd name="connsiteX28" fmla="*/ 1020986 w 1997094"/>
              <a:gd name="connsiteY28" fmla="*/ 3393939 h 3436871"/>
              <a:gd name="connsiteX29" fmla="*/ 1217330 w 1997094"/>
              <a:gd name="connsiteY29" fmla="*/ 3410768 h 3436871"/>
              <a:gd name="connsiteX30" fmla="*/ 1211720 w 1997094"/>
              <a:gd name="connsiteY30" fmla="*/ 3225645 h 3436871"/>
              <a:gd name="connsiteX31" fmla="*/ 1228549 w 1997094"/>
              <a:gd name="connsiteY31" fmla="*/ 3051741 h 3436871"/>
              <a:gd name="connsiteX32" fmla="*/ 1211720 w 1997094"/>
              <a:gd name="connsiteY32" fmla="*/ 2922714 h 3436871"/>
              <a:gd name="connsiteX33" fmla="*/ 1234159 w 1997094"/>
              <a:gd name="connsiteY33" fmla="*/ 2883446 h 3436871"/>
              <a:gd name="connsiteX34" fmla="*/ 1250988 w 1997094"/>
              <a:gd name="connsiteY34" fmla="*/ 2664663 h 3436871"/>
              <a:gd name="connsiteX35" fmla="*/ 1256599 w 1997094"/>
              <a:gd name="connsiteY35" fmla="*/ 2552467 h 3436871"/>
              <a:gd name="connsiteX36" fmla="*/ 1262209 w 1997094"/>
              <a:gd name="connsiteY36" fmla="*/ 2417831 h 3436871"/>
              <a:gd name="connsiteX37" fmla="*/ 1357574 w 1997094"/>
              <a:gd name="connsiteY37" fmla="*/ 2569297 h 3436871"/>
              <a:gd name="connsiteX38" fmla="*/ 1368794 w 1997094"/>
              <a:gd name="connsiteY38" fmla="*/ 3107839 h 3436871"/>
              <a:gd name="connsiteX39" fmla="*/ 1413673 w 1997094"/>
              <a:gd name="connsiteY39" fmla="*/ 3113448 h 3436871"/>
              <a:gd name="connsiteX40" fmla="*/ 1419283 w 1997094"/>
              <a:gd name="connsiteY40" fmla="*/ 2625394 h 3436871"/>
              <a:gd name="connsiteX41" fmla="*/ 1469772 w 1997094"/>
              <a:gd name="connsiteY41" fmla="*/ 2636614 h 3436871"/>
              <a:gd name="connsiteX42" fmla="*/ 1480991 w 1997094"/>
              <a:gd name="connsiteY42" fmla="*/ 3292962 h 3436871"/>
              <a:gd name="connsiteX43" fmla="*/ 1531479 w 1997094"/>
              <a:gd name="connsiteY43" fmla="*/ 3276133 h 3436871"/>
              <a:gd name="connsiteX44" fmla="*/ 1553919 w 1997094"/>
              <a:gd name="connsiteY44" fmla="*/ 2821738 h 3436871"/>
              <a:gd name="connsiteX45" fmla="*/ 1604407 w 1997094"/>
              <a:gd name="connsiteY45" fmla="*/ 2961983 h 3436871"/>
              <a:gd name="connsiteX46" fmla="*/ 1952216 w 1997094"/>
              <a:gd name="connsiteY46" fmla="*/ 2771249 h 3436871"/>
              <a:gd name="connsiteX47" fmla="*/ 1997094 w 1997094"/>
              <a:gd name="connsiteY47" fmla="*/ 2653443 h 3436871"/>
              <a:gd name="connsiteX48" fmla="*/ 1823190 w 1997094"/>
              <a:gd name="connsiteY48" fmla="*/ 2642224 h 3436871"/>
              <a:gd name="connsiteX49" fmla="*/ 1694164 w 1997094"/>
              <a:gd name="connsiteY49" fmla="*/ 2546857 h 3436871"/>
              <a:gd name="connsiteX50" fmla="*/ 1621237 w 1997094"/>
              <a:gd name="connsiteY50" fmla="*/ 2451490 h 3436871"/>
              <a:gd name="connsiteX51" fmla="*/ 1694164 w 1997094"/>
              <a:gd name="connsiteY51" fmla="*/ 2328074 h 3436871"/>
              <a:gd name="connsiteX52" fmla="*/ 1514650 w 1997094"/>
              <a:gd name="connsiteY52" fmla="*/ 2030754 h 3436871"/>
              <a:gd name="connsiteX53" fmla="*/ 1531479 w 1997094"/>
              <a:gd name="connsiteY53" fmla="*/ 1610018 h 3436871"/>
              <a:gd name="connsiteX54" fmla="*/ 1301477 w 1997094"/>
              <a:gd name="connsiteY54" fmla="*/ 1615627 h 3436871"/>
              <a:gd name="connsiteX55" fmla="*/ 1323916 w 1997094"/>
              <a:gd name="connsiteY55" fmla="*/ 1486602 h 3436871"/>
              <a:gd name="connsiteX56" fmla="*/ 1262208 w 1997094"/>
              <a:gd name="connsiteY56" fmla="*/ 1301478 h 3436871"/>
              <a:gd name="connsiteX57" fmla="*/ 1301477 w 1997094"/>
              <a:gd name="connsiteY57" fmla="*/ 1228550 h 3436871"/>
              <a:gd name="connsiteX58" fmla="*/ 1234159 w 1997094"/>
              <a:gd name="connsiteY58" fmla="*/ 1043426 h 3436871"/>
              <a:gd name="connsiteX59" fmla="*/ 1250989 w 1997094"/>
              <a:gd name="connsiteY59" fmla="*/ 847083 h 3436871"/>
              <a:gd name="connsiteX60" fmla="*/ 970498 w 1997094"/>
              <a:gd name="connsiteY60" fmla="*/ 712447 h 3436871"/>
              <a:gd name="connsiteX61" fmla="*/ 1015376 w 1997094"/>
              <a:gd name="connsiteY61" fmla="*/ 622690 h 3436871"/>
              <a:gd name="connsiteX62" fmla="*/ 1150012 w 1997094"/>
              <a:gd name="connsiteY62" fmla="*/ 482445 h 3436871"/>
              <a:gd name="connsiteX63" fmla="*/ 1166841 w 1997094"/>
              <a:gd name="connsiteY63" fmla="*/ 314150 h 3436871"/>
              <a:gd name="connsiteX64" fmla="*/ 1161232 w 1997094"/>
              <a:gd name="connsiteY64" fmla="*/ 196344 h 3436871"/>
              <a:gd name="connsiteX65" fmla="*/ 1065865 w 1997094"/>
              <a:gd name="connsiteY65" fmla="*/ 117807 h 3436871"/>
              <a:gd name="connsiteX66" fmla="*/ 998547 w 1997094"/>
              <a:gd name="connsiteY66" fmla="*/ 72928 h 3436871"/>
              <a:gd name="connsiteX67" fmla="*/ 920010 w 1997094"/>
              <a:gd name="connsiteY67" fmla="*/ 0 h 3436871"/>
              <a:gd name="connsiteX0" fmla="*/ 920010 w 1997094"/>
              <a:gd name="connsiteY0" fmla="*/ 0 h 3436871"/>
              <a:gd name="connsiteX1" fmla="*/ 779764 w 1997094"/>
              <a:gd name="connsiteY1" fmla="*/ 117807 h 3436871"/>
              <a:gd name="connsiteX2" fmla="*/ 751715 w 1997094"/>
              <a:gd name="connsiteY2" fmla="*/ 224393 h 3436871"/>
              <a:gd name="connsiteX3" fmla="*/ 656348 w 1997094"/>
              <a:gd name="connsiteY3" fmla="*/ 403907 h 3436871"/>
              <a:gd name="connsiteX4" fmla="*/ 656348 w 1997094"/>
              <a:gd name="connsiteY4" fmla="*/ 460005 h 3436871"/>
              <a:gd name="connsiteX5" fmla="*/ 673178 w 1997094"/>
              <a:gd name="connsiteY5" fmla="*/ 544153 h 3436871"/>
              <a:gd name="connsiteX6" fmla="*/ 448785 w 1997094"/>
              <a:gd name="connsiteY6" fmla="*/ 656349 h 3436871"/>
              <a:gd name="connsiteX7" fmla="*/ 263661 w 1997094"/>
              <a:gd name="connsiteY7" fmla="*/ 673178 h 3436871"/>
              <a:gd name="connsiteX8" fmla="*/ 218783 w 1997094"/>
              <a:gd name="connsiteY8" fmla="*/ 948059 h 3436871"/>
              <a:gd name="connsiteX9" fmla="*/ 168294 w 1997094"/>
              <a:gd name="connsiteY9" fmla="*/ 1082695 h 3436871"/>
              <a:gd name="connsiteX10" fmla="*/ 72927 w 1997094"/>
              <a:gd name="connsiteY10" fmla="*/ 1211721 h 3436871"/>
              <a:gd name="connsiteX11" fmla="*/ 0 w 1997094"/>
              <a:gd name="connsiteY11" fmla="*/ 1346356 h 3436871"/>
              <a:gd name="connsiteX12" fmla="*/ 134635 w 1997094"/>
              <a:gd name="connsiteY12" fmla="*/ 1705384 h 3436871"/>
              <a:gd name="connsiteX13" fmla="*/ 241222 w 1997094"/>
              <a:gd name="connsiteY13" fmla="*/ 1778312 h 3436871"/>
              <a:gd name="connsiteX14" fmla="*/ 291710 w 1997094"/>
              <a:gd name="connsiteY14" fmla="*/ 1744653 h 3436871"/>
              <a:gd name="connsiteX15" fmla="*/ 336589 w 1997094"/>
              <a:gd name="connsiteY15" fmla="*/ 1800751 h 3436871"/>
              <a:gd name="connsiteX16" fmla="*/ 387077 w 1997094"/>
              <a:gd name="connsiteY16" fmla="*/ 3326621 h 3436871"/>
              <a:gd name="connsiteX17" fmla="*/ 448785 w 1997094"/>
              <a:gd name="connsiteY17" fmla="*/ 3298572 h 3436871"/>
              <a:gd name="connsiteX18" fmla="*/ 431956 w 1997094"/>
              <a:gd name="connsiteY18" fmla="*/ 2423441 h 3436871"/>
              <a:gd name="connsiteX19" fmla="*/ 482444 w 1997094"/>
              <a:gd name="connsiteY19" fmla="*/ 2434660 h 3436871"/>
              <a:gd name="connsiteX20" fmla="*/ 516103 w 1997094"/>
              <a:gd name="connsiteY20" fmla="*/ 3119058 h 3436871"/>
              <a:gd name="connsiteX21" fmla="*/ 583421 w 1997094"/>
              <a:gd name="connsiteY21" fmla="*/ 3124668 h 3436871"/>
              <a:gd name="connsiteX22" fmla="*/ 572201 w 1997094"/>
              <a:gd name="connsiteY22" fmla="*/ 2457100 h 3436871"/>
              <a:gd name="connsiteX23" fmla="*/ 964888 w 1997094"/>
              <a:gd name="connsiteY23" fmla="*/ 2462710 h 3436871"/>
              <a:gd name="connsiteX24" fmla="*/ 970498 w 1997094"/>
              <a:gd name="connsiteY24" fmla="*/ 2866616 h 3436871"/>
              <a:gd name="connsiteX25" fmla="*/ 1026596 w 1997094"/>
              <a:gd name="connsiteY25" fmla="*/ 2877836 h 3436871"/>
              <a:gd name="connsiteX26" fmla="*/ 1020986 w 1997094"/>
              <a:gd name="connsiteY26" fmla="*/ 3051740 h 3436871"/>
              <a:gd name="connsiteX27" fmla="*/ 1009767 w 1997094"/>
              <a:gd name="connsiteY27" fmla="*/ 3175156 h 3436871"/>
              <a:gd name="connsiteX28" fmla="*/ 1020986 w 1997094"/>
              <a:gd name="connsiteY28" fmla="*/ 3393939 h 3436871"/>
              <a:gd name="connsiteX29" fmla="*/ 1217330 w 1997094"/>
              <a:gd name="connsiteY29" fmla="*/ 3410768 h 3436871"/>
              <a:gd name="connsiteX30" fmla="*/ 1211720 w 1997094"/>
              <a:gd name="connsiteY30" fmla="*/ 3225645 h 3436871"/>
              <a:gd name="connsiteX31" fmla="*/ 1228549 w 1997094"/>
              <a:gd name="connsiteY31" fmla="*/ 3051741 h 3436871"/>
              <a:gd name="connsiteX32" fmla="*/ 1211720 w 1997094"/>
              <a:gd name="connsiteY32" fmla="*/ 2922714 h 3436871"/>
              <a:gd name="connsiteX33" fmla="*/ 1234159 w 1997094"/>
              <a:gd name="connsiteY33" fmla="*/ 2883446 h 3436871"/>
              <a:gd name="connsiteX34" fmla="*/ 1250988 w 1997094"/>
              <a:gd name="connsiteY34" fmla="*/ 2664663 h 3436871"/>
              <a:gd name="connsiteX35" fmla="*/ 1256599 w 1997094"/>
              <a:gd name="connsiteY35" fmla="*/ 2552467 h 3436871"/>
              <a:gd name="connsiteX36" fmla="*/ 1262209 w 1997094"/>
              <a:gd name="connsiteY36" fmla="*/ 2417831 h 3436871"/>
              <a:gd name="connsiteX37" fmla="*/ 1357574 w 1997094"/>
              <a:gd name="connsiteY37" fmla="*/ 2569297 h 3436871"/>
              <a:gd name="connsiteX38" fmla="*/ 1368794 w 1997094"/>
              <a:gd name="connsiteY38" fmla="*/ 3107839 h 3436871"/>
              <a:gd name="connsiteX39" fmla="*/ 1413673 w 1997094"/>
              <a:gd name="connsiteY39" fmla="*/ 3113448 h 3436871"/>
              <a:gd name="connsiteX40" fmla="*/ 1419283 w 1997094"/>
              <a:gd name="connsiteY40" fmla="*/ 2625394 h 3436871"/>
              <a:gd name="connsiteX41" fmla="*/ 1469772 w 1997094"/>
              <a:gd name="connsiteY41" fmla="*/ 2636614 h 3436871"/>
              <a:gd name="connsiteX42" fmla="*/ 1480991 w 1997094"/>
              <a:gd name="connsiteY42" fmla="*/ 3292962 h 3436871"/>
              <a:gd name="connsiteX43" fmla="*/ 1531479 w 1997094"/>
              <a:gd name="connsiteY43" fmla="*/ 3276133 h 3436871"/>
              <a:gd name="connsiteX44" fmla="*/ 1537090 w 1997094"/>
              <a:gd name="connsiteY44" fmla="*/ 2804908 h 3436871"/>
              <a:gd name="connsiteX45" fmla="*/ 1604407 w 1997094"/>
              <a:gd name="connsiteY45" fmla="*/ 2961983 h 3436871"/>
              <a:gd name="connsiteX46" fmla="*/ 1952216 w 1997094"/>
              <a:gd name="connsiteY46" fmla="*/ 2771249 h 3436871"/>
              <a:gd name="connsiteX47" fmla="*/ 1997094 w 1997094"/>
              <a:gd name="connsiteY47" fmla="*/ 2653443 h 3436871"/>
              <a:gd name="connsiteX48" fmla="*/ 1823190 w 1997094"/>
              <a:gd name="connsiteY48" fmla="*/ 2642224 h 3436871"/>
              <a:gd name="connsiteX49" fmla="*/ 1694164 w 1997094"/>
              <a:gd name="connsiteY49" fmla="*/ 2546857 h 3436871"/>
              <a:gd name="connsiteX50" fmla="*/ 1621237 w 1997094"/>
              <a:gd name="connsiteY50" fmla="*/ 2451490 h 3436871"/>
              <a:gd name="connsiteX51" fmla="*/ 1694164 w 1997094"/>
              <a:gd name="connsiteY51" fmla="*/ 2328074 h 3436871"/>
              <a:gd name="connsiteX52" fmla="*/ 1514650 w 1997094"/>
              <a:gd name="connsiteY52" fmla="*/ 2030754 h 3436871"/>
              <a:gd name="connsiteX53" fmla="*/ 1531479 w 1997094"/>
              <a:gd name="connsiteY53" fmla="*/ 1610018 h 3436871"/>
              <a:gd name="connsiteX54" fmla="*/ 1301477 w 1997094"/>
              <a:gd name="connsiteY54" fmla="*/ 1615627 h 3436871"/>
              <a:gd name="connsiteX55" fmla="*/ 1323916 w 1997094"/>
              <a:gd name="connsiteY55" fmla="*/ 1486602 h 3436871"/>
              <a:gd name="connsiteX56" fmla="*/ 1262208 w 1997094"/>
              <a:gd name="connsiteY56" fmla="*/ 1301478 h 3436871"/>
              <a:gd name="connsiteX57" fmla="*/ 1301477 w 1997094"/>
              <a:gd name="connsiteY57" fmla="*/ 1228550 h 3436871"/>
              <a:gd name="connsiteX58" fmla="*/ 1234159 w 1997094"/>
              <a:gd name="connsiteY58" fmla="*/ 1043426 h 3436871"/>
              <a:gd name="connsiteX59" fmla="*/ 1250989 w 1997094"/>
              <a:gd name="connsiteY59" fmla="*/ 847083 h 3436871"/>
              <a:gd name="connsiteX60" fmla="*/ 970498 w 1997094"/>
              <a:gd name="connsiteY60" fmla="*/ 712447 h 3436871"/>
              <a:gd name="connsiteX61" fmla="*/ 1015376 w 1997094"/>
              <a:gd name="connsiteY61" fmla="*/ 622690 h 3436871"/>
              <a:gd name="connsiteX62" fmla="*/ 1150012 w 1997094"/>
              <a:gd name="connsiteY62" fmla="*/ 482445 h 3436871"/>
              <a:gd name="connsiteX63" fmla="*/ 1166841 w 1997094"/>
              <a:gd name="connsiteY63" fmla="*/ 314150 h 3436871"/>
              <a:gd name="connsiteX64" fmla="*/ 1161232 w 1997094"/>
              <a:gd name="connsiteY64" fmla="*/ 196344 h 3436871"/>
              <a:gd name="connsiteX65" fmla="*/ 1065865 w 1997094"/>
              <a:gd name="connsiteY65" fmla="*/ 117807 h 3436871"/>
              <a:gd name="connsiteX66" fmla="*/ 998547 w 1997094"/>
              <a:gd name="connsiteY66" fmla="*/ 72928 h 3436871"/>
              <a:gd name="connsiteX67" fmla="*/ 920010 w 1997094"/>
              <a:gd name="connsiteY67" fmla="*/ 0 h 3436871"/>
              <a:gd name="connsiteX0" fmla="*/ 920010 w 1997094"/>
              <a:gd name="connsiteY0" fmla="*/ 0 h 3436871"/>
              <a:gd name="connsiteX1" fmla="*/ 779764 w 1997094"/>
              <a:gd name="connsiteY1" fmla="*/ 117807 h 3436871"/>
              <a:gd name="connsiteX2" fmla="*/ 751715 w 1997094"/>
              <a:gd name="connsiteY2" fmla="*/ 224393 h 3436871"/>
              <a:gd name="connsiteX3" fmla="*/ 656348 w 1997094"/>
              <a:gd name="connsiteY3" fmla="*/ 403907 h 3436871"/>
              <a:gd name="connsiteX4" fmla="*/ 656348 w 1997094"/>
              <a:gd name="connsiteY4" fmla="*/ 460005 h 3436871"/>
              <a:gd name="connsiteX5" fmla="*/ 673178 w 1997094"/>
              <a:gd name="connsiteY5" fmla="*/ 544153 h 3436871"/>
              <a:gd name="connsiteX6" fmla="*/ 448785 w 1997094"/>
              <a:gd name="connsiteY6" fmla="*/ 656349 h 3436871"/>
              <a:gd name="connsiteX7" fmla="*/ 263661 w 1997094"/>
              <a:gd name="connsiteY7" fmla="*/ 673178 h 3436871"/>
              <a:gd name="connsiteX8" fmla="*/ 218783 w 1997094"/>
              <a:gd name="connsiteY8" fmla="*/ 948059 h 3436871"/>
              <a:gd name="connsiteX9" fmla="*/ 168294 w 1997094"/>
              <a:gd name="connsiteY9" fmla="*/ 1082695 h 3436871"/>
              <a:gd name="connsiteX10" fmla="*/ 72927 w 1997094"/>
              <a:gd name="connsiteY10" fmla="*/ 1211721 h 3436871"/>
              <a:gd name="connsiteX11" fmla="*/ 0 w 1997094"/>
              <a:gd name="connsiteY11" fmla="*/ 1346356 h 3436871"/>
              <a:gd name="connsiteX12" fmla="*/ 134635 w 1997094"/>
              <a:gd name="connsiteY12" fmla="*/ 1705384 h 3436871"/>
              <a:gd name="connsiteX13" fmla="*/ 241222 w 1997094"/>
              <a:gd name="connsiteY13" fmla="*/ 1778312 h 3436871"/>
              <a:gd name="connsiteX14" fmla="*/ 291710 w 1997094"/>
              <a:gd name="connsiteY14" fmla="*/ 1744653 h 3436871"/>
              <a:gd name="connsiteX15" fmla="*/ 336589 w 1997094"/>
              <a:gd name="connsiteY15" fmla="*/ 1800751 h 3436871"/>
              <a:gd name="connsiteX16" fmla="*/ 387077 w 1997094"/>
              <a:gd name="connsiteY16" fmla="*/ 3326621 h 3436871"/>
              <a:gd name="connsiteX17" fmla="*/ 448785 w 1997094"/>
              <a:gd name="connsiteY17" fmla="*/ 3298572 h 3436871"/>
              <a:gd name="connsiteX18" fmla="*/ 431956 w 1997094"/>
              <a:gd name="connsiteY18" fmla="*/ 2423441 h 3436871"/>
              <a:gd name="connsiteX19" fmla="*/ 482444 w 1997094"/>
              <a:gd name="connsiteY19" fmla="*/ 2434660 h 3436871"/>
              <a:gd name="connsiteX20" fmla="*/ 516103 w 1997094"/>
              <a:gd name="connsiteY20" fmla="*/ 3119058 h 3436871"/>
              <a:gd name="connsiteX21" fmla="*/ 583421 w 1997094"/>
              <a:gd name="connsiteY21" fmla="*/ 3124668 h 3436871"/>
              <a:gd name="connsiteX22" fmla="*/ 572201 w 1997094"/>
              <a:gd name="connsiteY22" fmla="*/ 2457100 h 3436871"/>
              <a:gd name="connsiteX23" fmla="*/ 964888 w 1997094"/>
              <a:gd name="connsiteY23" fmla="*/ 2462710 h 3436871"/>
              <a:gd name="connsiteX24" fmla="*/ 970498 w 1997094"/>
              <a:gd name="connsiteY24" fmla="*/ 2866616 h 3436871"/>
              <a:gd name="connsiteX25" fmla="*/ 1026596 w 1997094"/>
              <a:gd name="connsiteY25" fmla="*/ 2877836 h 3436871"/>
              <a:gd name="connsiteX26" fmla="*/ 1020986 w 1997094"/>
              <a:gd name="connsiteY26" fmla="*/ 3051740 h 3436871"/>
              <a:gd name="connsiteX27" fmla="*/ 1009767 w 1997094"/>
              <a:gd name="connsiteY27" fmla="*/ 3175156 h 3436871"/>
              <a:gd name="connsiteX28" fmla="*/ 1020986 w 1997094"/>
              <a:gd name="connsiteY28" fmla="*/ 3393939 h 3436871"/>
              <a:gd name="connsiteX29" fmla="*/ 1217330 w 1997094"/>
              <a:gd name="connsiteY29" fmla="*/ 3410768 h 3436871"/>
              <a:gd name="connsiteX30" fmla="*/ 1211720 w 1997094"/>
              <a:gd name="connsiteY30" fmla="*/ 3225645 h 3436871"/>
              <a:gd name="connsiteX31" fmla="*/ 1228549 w 1997094"/>
              <a:gd name="connsiteY31" fmla="*/ 3051741 h 3436871"/>
              <a:gd name="connsiteX32" fmla="*/ 1211720 w 1997094"/>
              <a:gd name="connsiteY32" fmla="*/ 2922714 h 3436871"/>
              <a:gd name="connsiteX33" fmla="*/ 1234159 w 1997094"/>
              <a:gd name="connsiteY33" fmla="*/ 2883446 h 3436871"/>
              <a:gd name="connsiteX34" fmla="*/ 1250988 w 1997094"/>
              <a:gd name="connsiteY34" fmla="*/ 2664663 h 3436871"/>
              <a:gd name="connsiteX35" fmla="*/ 1256599 w 1997094"/>
              <a:gd name="connsiteY35" fmla="*/ 2552467 h 3436871"/>
              <a:gd name="connsiteX36" fmla="*/ 1262209 w 1997094"/>
              <a:gd name="connsiteY36" fmla="*/ 2417831 h 3436871"/>
              <a:gd name="connsiteX37" fmla="*/ 1357574 w 1997094"/>
              <a:gd name="connsiteY37" fmla="*/ 2569297 h 3436871"/>
              <a:gd name="connsiteX38" fmla="*/ 1368794 w 1997094"/>
              <a:gd name="connsiteY38" fmla="*/ 3107839 h 3436871"/>
              <a:gd name="connsiteX39" fmla="*/ 1413673 w 1997094"/>
              <a:gd name="connsiteY39" fmla="*/ 3113448 h 3436871"/>
              <a:gd name="connsiteX40" fmla="*/ 1419283 w 1997094"/>
              <a:gd name="connsiteY40" fmla="*/ 2625394 h 3436871"/>
              <a:gd name="connsiteX41" fmla="*/ 1469772 w 1997094"/>
              <a:gd name="connsiteY41" fmla="*/ 2636614 h 3436871"/>
              <a:gd name="connsiteX42" fmla="*/ 1480991 w 1997094"/>
              <a:gd name="connsiteY42" fmla="*/ 3292962 h 3436871"/>
              <a:gd name="connsiteX43" fmla="*/ 1531479 w 1997094"/>
              <a:gd name="connsiteY43" fmla="*/ 3276133 h 3436871"/>
              <a:gd name="connsiteX44" fmla="*/ 1537090 w 1997094"/>
              <a:gd name="connsiteY44" fmla="*/ 2804908 h 3436871"/>
              <a:gd name="connsiteX45" fmla="*/ 1604407 w 1997094"/>
              <a:gd name="connsiteY45" fmla="*/ 2961983 h 3436871"/>
              <a:gd name="connsiteX46" fmla="*/ 1952216 w 1997094"/>
              <a:gd name="connsiteY46" fmla="*/ 2771249 h 3436871"/>
              <a:gd name="connsiteX47" fmla="*/ 1997094 w 1997094"/>
              <a:gd name="connsiteY47" fmla="*/ 2653443 h 3436871"/>
              <a:gd name="connsiteX48" fmla="*/ 1823190 w 1997094"/>
              <a:gd name="connsiteY48" fmla="*/ 2642224 h 3436871"/>
              <a:gd name="connsiteX49" fmla="*/ 1694164 w 1997094"/>
              <a:gd name="connsiteY49" fmla="*/ 2546857 h 3436871"/>
              <a:gd name="connsiteX50" fmla="*/ 1621237 w 1997094"/>
              <a:gd name="connsiteY50" fmla="*/ 2451490 h 3436871"/>
              <a:gd name="connsiteX51" fmla="*/ 1694164 w 1997094"/>
              <a:gd name="connsiteY51" fmla="*/ 2328074 h 3436871"/>
              <a:gd name="connsiteX52" fmla="*/ 1514650 w 1997094"/>
              <a:gd name="connsiteY52" fmla="*/ 2030754 h 3436871"/>
              <a:gd name="connsiteX53" fmla="*/ 1531479 w 1997094"/>
              <a:gd name="connsiteY53" fmla="*/ 1610018 h 3436871"/>
              <a:gd name="connsiteX54" fmla="*/ 1301477 w 1997094"/>
              <a:gd name="connsiteY54" fmla="*/ 1615627 h 3436871"/>
              <a:gd name="connsiteX55" fmla="*/ 1323916 w 1997094"/>
              <a:gd name="connsiteY55" fmla="*/ 1486602 h 3436871"/>
              <a:gd name="connsiteX56" fmla="*/ 1262208 w 1997094"/>
              <a:gd name="connsiteY56" fmla="*/ 1301478 h 3436871"/>
              <a:gd name="connsiteX57" fmla="*/ 1301477 w 1997094"/>
              <a:gd name="connsiteY57" fmla="*/ 1228550 h 3436871"/>
              <a:gd name="connsiteX58" fmla="*/ 1234159 w 1997094"/>
              <a:gd name="connsiteY58" fmla="*/ 1043426 h 3436871"/>
              <a:gd name="connsiteX59" fmla="*/ 1250989 w 1997094"/>
              <a:gd name="connsiteY59" fmla="*/ 847083 h 3436871"/>
              <a:gd name="connsiteX60" fmla="*/ 970498 w 1997094"/>
              <a:gd name="connsiteY60" fmla="*/ 712447 h 3436871"/>
              <a:gd name="connsiteX61" fmla="*/ 1015376 w 1997094"/>
              <a:gd name="connsiteY61" fmla="*/ 622690 h 3436871"/>
              <a:gd name="connsiteX62" fmla="*/ 1150012 w 1997094"/>
              <a:gd name="connsiteY62" fmla="*/ 482445 h 3436871"/>
              <a:gd name="connsiteX63" fmla="*/ 1166841 w 1997094"/>
              <a:gd name="connsiteY63" fmla="*/ 314150 h 3436871"/>
              <a:gd name="connsiteX64" fmla="*/ 1161232 w 1997094"/>
              <a:gd name="connsiteY64" fmla="*/ 196344 h 3436871"/>
              <a:gd name="connsiteX65" fmla="*/ 1065865 w 1997094"/>
              <a:gd name="connsiteY65" fmla="*/ 117807 h 3436871"/>
              <a:gd name="connsiteX66" fmla="*/ 998547 w 1997094"/>
              <a:gd name="connsiteY66" fmla="*/ 72928 h 3436871"/>
              <a:gd name="connsiteX67" fmla="*/ 920010 w 1997094"/>
              <a:gd name="connsiteY67" fmla="*/ 0 h 3436871"/>
              <a:gd name="connsiteX0" fmla="*/ 920010 w 1997094"/>
              <a:gd name="connsiteY0" fmla="*/ 0 h 3436871"/>
              <a:gd name="connsiteX1" fmla="*/ 779764 w 1997094"/>
              <a:gd name="connsiteY1" fmla="*/ 117807 h 3436871"/>
              <a:gd name="connsiteX2" fmla="*/ 751715 w 1997094"/>
              <a:gd name="connsiteY2" fmla="*/ 224393 h 3436871"/>
              <a:gd name="connsiteX3" fmla="*/ 656348 w 1997094"/>
              <a:gd name="connsiteY3" fmla="*/ 403907 h 3436871"/>
              <a:gd name="connsiteX4" fmla="*/ 656348 w 1997094"/>
              <a:gd name="connsiteY4" fmla="*/ 460005 h 3436871"/>
              <a:gd name="connsiteX5" fmla="*/ 673178 w 1997094"/>
              <a:gd name="connsiteY5" fmla="*/ 544153 h 3436871"/>
              <a:gd name="connsiteX6" fmla="*/ 448785 w 1997094"/>
              <a:gd name="connsiteY6" fmla="*/ 656349 h 3436871"/>
              <a:gd name="connsiteX7" fmla="*/ 263661 w 1997094"/>
              <a:gd name="connsiteY7" fmla="*/ 673178 h 3436871"/>
              <a:gd name="connsiteX8" fmla="*/ 218783 w 1997094"/>
              <a:gd name="connsiteY8" fmla="*/ 948059 h 3436871"/>
              <a:gd name="connsiteX9" fmla="*/ 168294 w 1997094"/>
              <a:gd name="connsiteY9" fmla="*/ 1082695 h 3436871"/>
              <a:gd name="connsiteX10" fmla="*/ 72927 w 1997094"/>
              <a:gd name="connsiteY10" fmla="*/ 1211721 h 3436871"/>
              <a:gd name="connsiteX11" fmla="*/ 0 w 1997094"/>
              <a:gd name="connsiteY11" fmla="*/ 1346356 h 3436871"/>
              <a:gd name="connsiteX12" fmla="*/ 134635 w 1997094"/>
              <a:gd name="connsiteY12" fmla="*/ 1705384 h 3436871"/>
              <a:gd name="connsiteX13" fmla="*/ 241222 w 1997094"/>
              <a:gd name="connsiteY13" fmla="*/ 1778312 h 3436871"/>
              <a:gd name="connsiteX14" fmla="*/ 291710 w 1997094"/>
              <a:gd name="connsiteY14" fmla="*/ 1744653 h 3436871"/>
              <a:gd name="connsiteX15" fmla="*/ 336589 w 1997094"/>
              <a:gd name="connsiteY15" fmla="*/ 1800751 h 3436871"/>
              <a:gd name="connsiteX16" fmla="*/ 387077 w 1997094"/>
              <a:gd name="connsiteY16" fmla="*/ 3326621 h 3436871"/>
              <a:gd name="connsiteX17" fmla="*/ 448785 w 1997094"/>
              <a:gd name="connsiteY17" fmla="*/ 3298572 h 3436871"/>
              <a:gd name="connsiteX18" fmla="*/ 431956 w 1997094"/>
              <a:gd name="connsiteY18" fmla="*/ 2423441 h 3436871"/>
              <a:gd name="connsiteX19" fmla="*/ 482444 w 1997094"/>
              <a:gd name="connsiteY19" fmla="*/ 2434660 h 3436871"/>
              <a:gd name="connsiteX20" fmla="*/ 516103 w 1997094"/>
              <a:gd name="connsiteY20" fmla="*/ 3119058 h 3436871"/>
              <a:gd name="connsiteX21" fmla="*/ 583421 w 1997094"/>
              <a:gd name="connsiteY21" fmla="*/ 3124668 h 3436871"/>
              <a:gd name="connsiteX22" fmla="*/ 572201 w 1997094"/>
              <a:gd name="connsiteY22" fmla="*/ 2457100 h 3436871"/>
              <a:gd name="connsiteX23" fmla="*/ 964888 w 1997094"/>
              <a:gd name="connsiteY23" fmla="*/ 2462710 h 3436871"/>
              <a:gd name="connsiteX24" fmla="*/ 970498 w 1997094"/>
              <a:gd name="connsiteY24" fmla="*/ 2866616 h 3436871"/>
              <a:gd name="connsiteX25" fmla="*/ 1026596 w 1997094"/>
              <a:gd name="connsiteY25" fmla="*/ 2877836 h 3436871"/>
              <a:gd name="connsiteX26" fmla="*/ 1020986 w 1997094"/>
              <a:gd name="connsiteY26" fmla="*/ 3051740 h 3436871"/>
              <a:gd name="connsiteX27" fmla="*/ 1009767 w 1997094"/>
              <a:gd name="connsiteY27" fmla="*/ 3175156 h 3436871"/>
              <a:gd name="connsiteX28" fmla="*/ 1020986 w 1997094"/>
              <a:gd name="connsiteY28" fmla="*/ 3393939 h 3436871"/>
              <a:gd name="connsiteX29" fmla="*/ 1217330 w 1997094"/>
              <a:gd name="connsiteY29" fmla="*/ 3410768 h 3436871"/>
              <a:gd name="connsiteX30" fmla="*/ 1211720 w 1997094"/>
              <a:gd name="connsiteY30" fmla="*/ 3225645 h 3436871"/>
              <a:gd name="connsiteX31" fmla="*/ 1228549 w 1997094"/>
              <a:gd name="connsiteY31" fmla="*/ 3051741 h 3436871"/>
              <a:gd name="connsiteX32" fmla="*/ 1211720 w 1997094"/>
              <a:gd name="connsiteY32" fmla="*/ 2922714 h 3436871"/>
              <a:gd name="connsiteX33" fmla="*/ 1234159 w 1997094"/>
              <a:gd name="connsiteY33" fmla="*/ 2883446 h 3436871"/>
              <a:gd name="connsiteX34" fmla="*/ 1250988 w 1997094"/>
              <a:gd name="connsiteY34" fmla="*/ 2664663 h 3436871"/>
              <a:gd name="connsiteX35" fmla="*/ 1256599 w 1997094"/>
              <a:gd name="connsiteY35" fmla="*/ 2552467 h 3436871"/>
              <a:gd name="connsiteX36" fmla="*/ 1262209 w 1997094"/>
              <a:gd name="connsiteY36" fmla="*/ 2417831 h 3436871"/>
              <a:gd name="connsiteX37" fmla="*/ 1357574 w 1997094"/>
              <a:gd name="connsiteY37" fmla="*/ 2569297 h 3436871"/>
              <a:gd name="connsiteX38" fmla="*/ 1368794 w 1997094"/>
              <a:gd name="connsiteY38" fmla="*/ 3107839 h 3436871"/>
              <a:gd name="connsiteX39" fmla="*/ 1413673 w 1997094"/>
              <a:gd name="connsiteY39" fmla="*/ 3113448 h 3436871"/>
              <a:gd name="connsiteX40" fmla="*/ 1419283 w 1997094"/>
              <a:gd name="connsiteY40" fmla="*/ 2625394 h 3436871"/>
              <a:gd name="connsiteX41" fmla="*/ 1469772 w 1997094"/>
              <a:gd name="connsiteY41" fmla="*/ 2636614 h 3436871"/>
              <a:gd name="connsiteX42" fmla="*/ 1480991 w 1997094"/>
              <a:gd name="connsiteY42" fmla="*/ 3292962 h 3436871"/>
              <a:gd name="connsiteX43" fmla="*/ 1531479 w 1997094"/>
              <a:gd name="connsiteY43" fmla="*/ 3276133 h 3436871"/>
              <a:gd name="connsiteX44" fmla="*/ 1537090 w 1997094"/>
              <a:gd name="connsiteY44" fmla="*/ 2804908 h 3436871"/>
              <a:gd name="connsiteX45" fmla="*/ 1604407 w 1997094"/>
              <a:gd name="connsiteY45" fmla="*/ 2961983 h 3436871"/>
              <a:gd name="connsiteX46" fmla="*/ 1991484 w 1997094"/>
              <a:gd name="connsiteY46" fmla="*/ 2765639 h 3436871"/>
              <a:gd name="connsiteX47" fmla="*/ 1997094 w 1997094"/>
              <a:gd name="connsiteY47" fmla="*/ 2653443 h 3436871"/>
              <a:gd name="connsiteX48" fmla="*/ 1823190 w 1997094"/>
              <a:gd name="connsiteY48" fmla="*/ 2642224 h 3436871"/>
              <a:gd name="connsiteX49" fmla="*/ 1694164 w 1997094"/>
              <a:gd name="connsiteY49" fmla="*/ 2546857 h 3436871"/>
              <a:gd name="connsiteX50" fmla="*/ 1621237 w 1997094"/>
              <a:gd name="connsiteY50" fmla="*/ 2451490 h 3436871"/>
              <a:gd name="connsiteX51" fmla="*/ 1694164 w 1997094"/>
              <a:gd name="connsiteY51" fmla="*/ 2328074 h 3436871"/>
              <a:gd name="connsiteX52" fmla="*/ 1514650 w 1997094"/>
              <a:gd name="connsiteY52" fmla="*/ 2030754 h 3436871"/>
              <a:gd name="connsiteX53" fmla="*/ 1531479 w 1997094"/>
              <a:gd name="connsiteY53" fmla="*/ 1610018 h 3436871"/>
              <a:gd name="connsiteX54" fmla="*/ 1301477 w 1997094"/>
              <a:gd name="connsiteY54" fmla="*/ 1615627 h 3436871"/>
              <a:gd name="connsiteX55" fmla="*/ 1323916 w 1997094"/>
              <a:gd name="connsiteY55" fmla="*/ 1486602 h 3436871"/>
              <a:gd name="connsiteX56" fmla="*/ 1262208 w 1997094"/>
              <a:gd name="connsiteY56" fmla="*/ 1301478 h 3436871"/>
              <a:gd name="connsiteX57" fmla="*/ 1301477 w 1997094"/>
              <a:gd name="connsiteY57" fmla="*/ 1228550 h 3436871"/>
              <a:gd name="connsiteX58" fmla="*/ 1234159 w 1997094"/>
              <a:gd name="connsiteY58" fmla="*/ 1043426 h 3436871"/>
              <a:gd name="connsiteX59" fmla="*/ 1250989 w 1997094"/>
              <a:gd name="connsiteY59" fmla="*/ 847083 h 3436871"/>
              <a:gd name="connsiteX60" fmla="*/ 970498 w 1997094"/>
              <a:gd name="connsiteY60" fmla="*/ 712447 h 3436871"/>
              <a:gd name="connsiteX61" fmla="*/ 1015376 w 1997094"/>
              <a:gd name="connsiteY61" fmla="*/ 622690 h 3436871"/>
              <a:gd name="connsiteX62" fmla="*/ 1150012 w 1997094"/>
              <a:gd name="connsiteY62" fmla="*/ 482445 h 3436871"/>
              <a:gd name="connsiteX63" fmla="*/ 1166841 w 1997094"/>
              <a:gd name="connsiteY63" fmla="*/ 314150 h 3436871"/>
              <a:gd name="connsiteX64" fmla="*/ 1161232 w 1997094"/>
              <a:gd name="connsiteY64" fmla="*/ 196344 h 3436871"/>
              <a:gd name="connsiteX65" fmla="*/ 1065865 w 1997094"/>
              <a:gd name="connsiteY65" fmla="*/ 117807 h 3436871"/>
              <a:gd name="connsiteX66" fmla="*/ 998547 w 1997094"/>
              <a:gd name="connsiteY66" fmla="*/ 72928 h 3436871"/>
              <a:gd name="connsiteX67" fmla="*/ 920010 w 1997094"/>
              <a:gd name="connsiteY67" fmla="*/ 0 h 3436871"/>
              <a:gd name="connsiteX0" fmla="*/ 920010 w 2025802"/>
              <a:gd name="connsiteY0" fmla="*/ 0 h 3436871"/>
              <a:gd name="connsiteX1" fmla="*/ 779764 w 2025802"/>
              <a:gd name="connsiteY1" fmla="*/ 117807 h 3436871"/>
              <a:gd name="connsiteX2" fmla="*/ 751715 w 2025802"/>
              <a:gd name="connsiteY2" fmla="*/ 224393 h 3436871"/>
              <a:gd name="connsiteX3" fmla="*/ 656348 w 2025802"/>
              <a:gd name="connsiteY3" fmla="*/ 403907 h 3436871"/>
              <a:gd name="connsiteX4" fmla="*/ 656348 w 2025802"/>
              <a:gd name="connsiteY4" fmla="*/ 460005 h 3436871"/>
              <a:gd name="connsiteX5" fmla="*/ 673178 w 2025802"/>
              <a:gd name="connsiteY5" fmla="*/ 544153 h 3436871"/>
              <a:gd name="connsiteX6" fmla="*/ 448785 w 2025802"/>
              <a:gd name="connsiteY6" fmla="*/ 656349 h 3436871"/>
              <a:gd name="connsiteX7" fmla="*/ 263661 w 2025802"/>
              <a:gd name="connsiteY7" fmla="*/ 673178 h 3436871"/>
              <a:gd name="connsiteX8" fmla="*/ 218783 w 2025802"/>
              <a:gd name="connsiteY8" fmla="*/ 948059 h 3436871"/>
              <a:gd name="connsiteX9" fmla="*/ 168294 w 2025802"/>
              <a:gd name="connsiteY9" fmla="*/ 1082695 h 3436871"/>
              <a:gd name="connsiteX10" fmla="*/ 72927 w 2025802"/>
              <a:gd name="connsiteY10" fmla="*/ 1211721 h 3436871"/>
              <a:gd name="connsiteX11" fmla="*/ 0 w 2025802"/>
              <a:gd name="connsiteY11" fmla="*/ 1346356 h 3436871"/>
              <a:gd name="connsiteX12" fmla="*/ 134635 w 2025802"/>
              <a:gd name="connsiteY12" fmla="*/ 1705384 h 3436871"/>
              <a:gd name="connsiteX13" fmla="*/ 241222 w 2025802"/>
              <a:gd name="connsiteY13" fmla="*/ 1778312 h 3436871"/>
              <a:gd name="connsiteX14" fmla="*/ 291710 w 2025802"/>
              <a:gd name="connsiteY14" fmla="*/ 1744653 h 3436871"/>
              <a:gd name="connsiteX15" fmla="*/ 336589 w 2025802"/>
              <a:gd name="connsiteY15" fmla="*/ 1800751 h 3436871"/>
              <a:gd name="connsiteX16" fmla="*/ 387077 w 2025802"/>
              <a:gd name="connsiteY16" fmla="*/ 3326621 h 3436871"/>
              <a:gd name="connsiteX17" fmla="*/ 448785 w 2025802"/>
              <a:gd name="connsiteY17" fmla="*/ 3298572 h 3436871"/>
              <a:gd name="connsiteX18" fmla="*/ 431956 w 2025802"/>
              <a:gd name="connsiteY18" fmla="*/ 2423441 h 3436871"/>
              <a:gd name="connsiteX19" fmla="*/ 482444 w 2025802"/>
              <a:gd name="connsiteY19" fmla="*/ 2434660 h 3436871"/>
              <a:gd name="connsiteX20" fmla="*/ 516103 w 2025802"/>
              <a:gd name="connsiteY20" fmla="*/ 3119058 h 3436871"/>
              <a:gd name="connsiteX21" fmla="*/ 583421 w 2025802"/>
              <a:gd name="connsiteY21" fmla="*/ 3124668 h 3436871"/>
              <a:gd name="connsiteX22" fmla="*/ 572201 w 2025802"/>
              <a:gd name="connsiteY22" fmla="*/ 2457100 h 3436871"/>
              <a:gd name="connsiteX23" fmla="*/ 964888 w 2025802"/>
              <a:gd name="connsiteY23" fmla="*/ 2462710 h 3436871"/>
              <a:gd name="connsiteX24" fmla="*/ 970498 w 2025802"/>
              <a:gd name="connsiteY24" fmla="*/ 2866616 h 3436871"/>
              <a:gd name="connsiteX25" fmla="*/ 1026596 w 2025802"/>
              <a:gd name="connsiteY25" fmla="*/ 2877836 h 3436871"/>
              <a:gd name="connsiteX26" fmla="*/ 1020986 w 2025802"/>
              <a:gd name="connsiteY26" fmla="*/ 3051740 h 3436871"/>
              <a:gd name="connsiteX27" fmla="*/ 1009767 w 2025802"/>
              <a:gd name="connsiteY27" fmla="*/ 3175156 h 3436871"/>
              <a:gd name="connsiteX28" fmla="*/ 1020986 w 2025802"/>
              <a:gd name="connsiteY28" fmla="*/ 3393939 h 3436871"/>
              <a:gd name="connsiteX29" fmla="*/ 1217330 w 2025802"/>
              <a:gd name="connsiteY29" fmla="*/ 3410768 h 3436871"/>
              <a:gd name="connsiteX30" fmla="*/ 1211720 w 2025802"/>
              <a:gd name="connsiteY30" fmla="*/ 3225645 h 3436871"/>
              <a:gd name="connsiteX31" fmla="*/ 1228549 w 2025802"/>
              <a:gd name="connsiteY31" fmla="*/ 3051741 h 3436871"/>
              <a:gd name="connsiteX32" fmla="*/ 1211720 w 2025802"/>
              <a:gd name="connsiteY32" fmla="*/ 2922714 h 3436871"/>
              <a:gd name="connsiteX33" fmla="*/ 1234159 w 2025802"/>
              <a:gd name="connsiteY33" fmla="*/ 2883446 h 3436871"/>
              <a:gd name="connsiteX34" fmla="*/ 1250988 w 2025802"/>
              <a:gd name="connsiteY34" fmla="*/ 2664663 h 3436871"/>
              <a:gd name="connsiteX35" fmla="*/ 1256599 w 2025802"/>
              <a:gd name="connsiteY35" fmla="*/ 2552467 h 3436871"/>
              <a:gd name="connsiteX36" fmla="*/ 1262209 w 2025802"/>
              <a:gd name="connsiteY36" fmla="*/ 2417831 h 3436871"/>
              <a:gd name="connsiteX37" fmla="*/ 1357574 w 2025802"/>
              <a:gd name="connsiteY37" fmla="*/ 2569297 h 3436871"/>
              <a:gd name="connsiteX38" fmla="*/ 1368794 w 2025802"/>
              <a:gd name="connsiteY38" fmla="*/ 3107839 h 3436871"/>
              <a:gd name="connsiteX39" fmla="*/ 1413673 w 2025802"/>
              <a:gd name="connsiteY39" fmla="*/ 3113448 h 3436871"/>
              <a:gd name="connsiteX40" fmla="*/ 1419283 w 2025802"/>
              <a:gd name="connsiteY40" fmla="*/ 2625394 h 3436871"/>
              <a:gd name="connsiteX41" fmla="*/ 1469772 w 2025802"/>
              <a:gd name="connsiteY41" fmla="*/ 2636614 h 3436871"/>
              <a:gd name="connsiteX42" fmla="*/ 1480991 w 2025802"/>
              <a:gd name="connsiteY42" fmla="*/ 3292962 h 3436871"/>
              <a:gd name="connsiteX43" fmla="*/ 1531479 w 2025802"/>
              <a:gd name="connsiteY43" fmla="*/ 3276133 h 3436871"/>
              <a:gd name="connsiteX44" fmla="*/ 1537090 w 2025802"/>
              <a:gd name="connsiteY44" fmla="*/ 2804908 h 3436871"/>
              <a:gd name="connsiteX45" fmla="*/ 1604407 w 2025802"/>
              <a:gd name="connsiteY45" fmla="*/ 2961983 h 3436871"/>
              <a:gd name="connsiteX46" fmla="*/ 1991484 w 2025802"/>
              <a:gd name="connsiteY46" fmla="*/ 2765639 h 3436871"/>
              <a:gd name="connsiteX47" fmla="*/ 1997094 w 2025802"/>
              <a:gd name="connsiteY47" fmla="*/ 2653443 h 3436871"/>
              <a:gd name="connsiteX48" fmla="*/ 1823190 w 2025802"/>
              <a:gd name="connsiteY48" fmla="*/ 2642224 h 3436871"/>
              <a:gd name="connsiteX49" fmla="*/ 1694164 w 2025802"/>
              <a:gd name="connsiteY49" fmla="*/ 2546857 h 3436871"/>
              <a:gd name="connsiteX50" fmla="*/ 1621237 w 2025802"/>
              <a:gd name="connsiteY50" fmla="*/ 2451490 h 3436871"/>
              <a:gd name="connsiteX51" fmla="*/ 1694164 w 2025802"/>
              <a:gd name="connsiteY51" fmla="*/ 2328074 h 3436871"/>
              <a:gd name="connsiteX52" fmla="*/ 1514650 w 2025802"/>
              <a:gd name="connsiteY52" fmla="*/ 2030754 h 3436871"/>
              <a:gd name="connsiteX53" fmla="*/ 1531479 w 2025802"/>
              <a:gd name="connsiteY53" fmla="*/ 1610018 h 3436871"/>
              <a:gd name="connsiteX54" fmla="*/ 1301477 w 2025802"/>
              <a:gd name="connsiteY54" fmla="*/ 1615627 h 3436871"/>
              <a:gd name="connsiteX55" fmla="*/ 1323916 w 2025802"/>
              <a:gd name="connsiteY55" fmla="*/ 1486602 h 3436871"/>
              <a:gd name="connsiteX56" fmla="*/ 1262208 w 2025802"/>
              <a:gd name="connsiteY56" fmla="*/ 1301478 h 3436871"/>
              <a:gd name="connsiteX57" fmla="*/ 1301477 w 2025802"/>
              <a:gd name="connsiteY57" fmla="*/ 1228550 h 3436871"/>
              <a:gd name="connsiteX58" fmla="*/ 1234159 w 2025802"/>
              <a:gd name="connsiteY58" fmla="*/ 1043426 h 3436871"/>
              <a:gd name="connsiteX59" fmla="*/ 1250989 w 2025802"/>
              <a:gd name="connsiteY59" fmla="*/ 847083 h 3436871"/>
              <a:gd name="connsiteX60" fmla="*/ 970498 w 2025802"/>
              <a:gd name="connsiteY60" fmla="*/ 712447 h 3436871"/>
              <a:gd name="connsiteX61" fmla="*/ 1015376 w 2025802"/>
              <a:gd name="connsiteY61" fmla="*/ 622690 h 3436871"/>
              <a:gd name="connsiteX62" fmla="*/ 1150012 w 2025802"/>
              <a:gd name="connsiteY62" fmla="*/ 482445 h 3436871"/>
              <a:gd name="connsiteX63" fmla="*/ 1166841 w 2025802"/>
              <a:gd name="connsiteY63" fmla="*/ 314150 h 3436871"/>
              <a:gd name="connsiteX64" fmla="*/ 1161232 w 2025802"/>
              <a:gd name="connsiteY64" fmla="*/ 196344 h 3436871"/>
              <a:gd name="connsiteX65" fmla="*/ 1065865 w 2025802"/>
              <a:gd name="connsiteY65" fmla="*/ 117807 h 3436871"/>
              <a:gd name="connsiteX66" fmla="*/ 998547 w 2025802"/>
              <a:gd name="connsiteY66" fmla="*/ 72928 h 3436871"/>
              <a:gd name="connsiteX67" fmla="*/ 920010 w 2025802"/>
              <a:gd name="connsiteY67" fmla="*/ 0 h 3436871"/>
              <a:gd name="connsiteX0" fmla="*/ 920010 w 2038796"/>
              <a:gd name="connsiteY0" fmla="*/ 0 h 3436871"/>
              <a:gd name="connsiteX1" fmla="*/ 779764 w 2038796"/>
              <a:gd name="connsiteY1" fmla="*/ 117807 h 3436871"/>
              <a:gd name="connsiteX2" fmla="*/ 751715 w 2038796"/>
              <a:gd name="connsiteY2" fmla="*/ 224393 h 3436871"/>
              <a:gd name="connsiteX3" fmla="*/ 656348 w 2038796"/>
              <a:gd name="connsiteY3" fmla="*/ 403907 h 3436871"/>
              <a:gd name="connsiteX4" fmla="*/ 656348 w 2038796"/>
              <a:gd name="connsiteY4" fmla="*/ 460005 h 3436871"/>
              <a:gd name="connsiteX5" fmla="*/ 673178 w 2038796"/>
              <a:gd name="connsiteY5" fmla="*/ 544153 h 3436871"/>
              <a:gd name="connsiteX6" fmla="*/ 448785 w 2038796"/>
              <a:gd name="connsiteY6" fmla="*/ 656349 h 3436871"/>
              <a:gd name="connsiteX7" fmla="*/ 263661 w 2038796"/>
              <a:gd name="connsiteY7" fmla="*/ 673178 h 3436871"/>
              <a:gd name="connsiteX8" fmla="*/ 218783 w 2038796"/>
              <a:gd name="connsiteY8" fmla="*/ 948059 h 3436871"/>
              <a:gd name="connsiteX9" fmla="*/ 168294 w 2038796"/>
              <a:gd name="connsiteY9" fmla="*/ 1082695 h 3436871"/>
              <a:gd name="connsiteX10" fmla="*/ 72927 w 2038796"/>
              <a:gd name="connsiteY10" fmla="*/ 1211721 h 3436871"/>
              <a:gd name="connsiteX11" fmla="*/ 0 w 2038796"/>
              <a:gd name="connsiteY11" fmla="*/ 1346356 h 3436871"/>
              <a:gd name="connsiteX12" fmla="*/ 134635 w 2038796"/>
              <a:gd name="connsiteY12" fmla="*/ 1705384 h 3436871"/>
              <a:gd name="connsiteX13" fmla="*/ 241222 w 2038796"/>
              <a:gd name="connsiteY13" fmla="*/ 1778312 h 3436871"/>
              <a:gd name="connsiteX14" fmla="*/ 291710 w 2038796"/>
              <a:gd name="connsiteY14" fmla="*/ 1744653 h 3436871"/>
              <a:gd name="connsiteX15" fmla="*/ 336589 w 2038796"/>
              <a:gd name="connsiteY15" fmla="*/ 1800751 h 3436871"/>
              <a:gd name="connsiteX16" fmla="*/ 387077 w 2038796"/>
              <a:gd name="connsiteY16" fmla="*/ 3326621 h 3436871"/>
              <a:gd name="connsiteX17" fmla="*/ 448785 w 2038796"/>
              <a:gd name="connsiteY17" fmla="*/ 3298572 h 3436871"/>
              <a:gd name="connsiteX18" fmla="*/ 431956 w 2038796"/>
              <a:gd name="connsiteY18" fmla="*/ 2423441 h 3436871"/>
              <a:gd name="connsiteX19" fmla="*/ 482444 w 2038796"/>
              <a:gd name="connsiteY19" fmla="*/ 2434660 h 3436871"/>
              <a:gd name="connsiteX20" fmla="*/ 516103 w 2038796"/>
              <a:gd name="connsiteY20" fmla="*/ 3119058 h 3436871"/>
              <a:gd name="connsiteX21" fmla="*/ 583421 w 2038796"/>
              <a:gd name="connsiteY21" fmla="*/ 3124668 h 3436871"/>
              <a:gd name="connsiteX22" fmla="*/ 572201 w 2038796"/>
              <a:gd name="connsiteY22" fmla="*/ 2457100 h 3436871"/>
              <a:gd name="connsiteX23" fmla="*/ 964888 w 2038796"/>
              <a:gd name="connsiteY23" fmla="*/ 2462710 h 3436871"/>
              <a:gd name="connsiteX24" fmla="*/ 970498 w 2038796"/>
              <a:gd name="connsiteY24" fmla="*/ 2866616 h 3436871"/>
              <a:gd name="connsiteX25" fmla="*/ 1026596 w 2038796"/>
              <a:gd name="connsiteY25" fmla="*/ 2877836 h 3436871"/>
              <a:gd name="connsiteX26" fmla="*/ 1020986 w 2038796"/>
              <a:gd name="connsiteY26" fmla="*/ 3051740 h 3436871"/>
              <a:gd name="connsiteX27" fmla="*/ 1009767 w 2038796"/>
              <a:gd name="connsiteY27" fmla="*/ 3175156 h 3436871"/>
              <a:gd name="connsiteX28" fmla="*/ 1020986 w 2038796"/>
              <a:gd name="connsiteY28" fmla="*/ 3393939 h 3436871"/>
              <a:gd name="connsiteX29" fmla="*/ 1217330 w 2038796"/>
              <a:gd name="connsiteY29" fmla="*/ 3410768 h 3436871"/>
              <a:gd name="connsiteX30" fmla="*/ 1211720 w 2038796"/>
              <a:gd name="connsiteY30" fmla="*/ 3225645 h 3436871"/>
              <a:gd name="connsiteX31" fmla="*/ 1228549 w 2038796"/>
              <a:gd name="connsiteY31" fmla="*/ 3051741 h 3436871"/>
              <a:gd name="connsiteX32" fmla="*/ 1211720 w 2038796"/>
              <a:gd name="connsiteY32" fmla="*/ 2922714 h 3436871"/>
              <a:gd name="connsiteX33" fmla="*/ 1234159 w 2038796"/>
              <a:gd name="connsiteY33" fmla="*/ 2883446 h 3436871"/>
              <a:gd name="connsiteX34" fmla="*/ 1250988 w 2038796"/>
              <a:gd name="connsiteY34" fmla="*/ 2664663 h 3436871"/>
              <a:gd name="connsiteX35" fmla="*/ 1256599 w 2038796"/>
              <a:gd name="connsiteY35" fmla="*/ 2552467 h 3436871"/>
              <a:gd name="connsiteX36" fmla="*/ 1262209 w 2038796"/>
              <a:gd name="connsiteY36" fmla="*/ 2417831 h 3436871"/>
              <a:gd name="connsiteX37" fmla="*/ 1357574 w 2038796"/>
              <a:gd name="connsiteY37" fmla="*/ 2569297 h 3436871"/>
              <a:gd name="connsiteX38" fmla="*/ 1368794 w 2038796"/>
              <a:gd name="connsiteY38" fmla="*/ 3107839 h 3436871"/>
              <a:gd name="connsiteX39" fmla="*/ 1413673 w 2038796"/>
              <a:gd name="connsiteY39" fmla="*/ 3113448 h 3436871"/>
              <a:gd name="connsiteX40" fmla="*/ 1419283 w 2038796"/>
              <a:gd name="connsiteY40" fmla="*/ 2625394 h 3436871"/>
              <a:gd name="connsiteX41" fmla="*/ 1469772 w 2038796"/>
              <a:gd name="connsiteY41" fmla="*/ 2636614 h 3436871"/>
              <a:gd name="connsiteX42" fmla="*/ 1480991 w 2038796"/>
              <a:gd name="connsiteY42" fmla="*/ 3292962 h 3436871"/>
              <a:gd name="connsiteX43" fmla="*/ 1531479 w 2038796"/>
              <a:gd name="connsiteY43" fmla="*/ 3276133 h 3436871"/>
              <a:gd name="connsiteX44" fmla="*/ 1537090 w 2038796"/>
              <a:gd name="connsiteY44" fmla="*/ 2804908 h 3436871"/>
              <a:gd name="connsiteX45" fmla="*/ 1604407 w 2038796"/>
              <a:gd name="connsiteY45" fmla="*/ 2961983 h 3436871"/>
              <a:gd name="connsiteX46" fmla="*/ 1991484 w 2038796"/>
              <a:gd name="connsiteY46" fmla="*/ 2765639 h 3436871"/>
              <a:gd name="connsiteX47" fmla="*/ 1997094 w 2038796"/>
              <a:gd name="connsiteY47" fmla="*/ 2653443 h 3436871"/>
              <a:gd name="connsiteX48" fmla="*/ 1823190 w 2038796"/>
              <a:gd name="connsiteY48" fmla="*/ 2642224 h 3436871"/>
              <a:gd name="connsiteX49" fmla="*/ 1694164 w 2038796"/>
              <a:gd name="connsiteY49" fmla="*/ 2546857 h 3436871"/>
              <a:gd name="connsiteX50" fmla="*/ 1621237 w 2038796"/>
              <a:gd name="connsiteY50" fmla="*/ 2451490 h 3436871"/>
              <a:gd name="connsiteX51" fmla="*/ 1694164 w 2038796"/>
              <a:gd name="connsiteY51" fmla="*/ 2328074 h 3436871"/>
              <a:gd name="connsiteX52" fmla="*/ 1514650 w 2038796"/>
              <a:gd name="connsiteY52" fmla="*/ 2030754 h 3436871"/>
              <a:gd name="connsiteX53" fmla="*/ 1531479 w 2038796"/>
              <a:gd name="connsiteY53" fmla="*/ 1610018 h 3436871"/>
              <a:gd name="connsiteX54" fmla="*/ 1301477 w 2038796"/>
              <a:gd name="connsiteY54" fmla="*/ 1615627 h 3436871"/>
              <a:gd name="connsiteX55" fmla="*/ 1323916 w 2038796"/>
              <a:gd name="connsiteY55" fmla="*/ 1486602 h 3436871"/>
              <a:gd name="connsiteX56" fmla="*/ 1262208 w 2038796"/>
              <a:gd name="connsiteY56" fmla="*/ 1301478 h 3436871"/>
              <a:gd name="connsiteX57" fmla="*/ 1301477 w 2038796"/>
              <a:gd name="connsiteY57" fmla="*/ 1228550 h 3436871"/>
              <a:gd name="connsiteX58" fmla="*/ 1234159 w 2038796"/>
              <a:gd name="connsiteY58" fmla="*/ 1043426 h 3436871"/>
              <a:gd name="connsiteX59" fmla="*/ 1250989 w 2038796"/>
              <a:gd name="connsiteY59" fmla="*/ 847083 h 3436871"/>
              <a:gd name="connsiteX60" fmla="*/ 970498 w 2038796"/>
              <a:gd name="connsiteY60" fmla="*/ 712447 h 3436871"/>
              <a:gd name="connsiteX61" fmla="*/ 1015376 w 2038796"/>
              <a:gd name="connsiteY61" fmla="*/ 622690 h 3436871"/>
              <a:gd name="connsiteX62" fmla="*/ 1150012 w 2038796"/>
              <a:gd name="connsiteY62" fmla="*/ 482445 h 3436871"/>
              <a:gd name="connsiteX63" fmla="*/ 1166841 w 2038796"/>
              <a:gd name="connsiteY63" fmla="*/ 314150 h 3436871"/>
              <a:gd name="connsiteX64" fmla="*/ 1161232 w 2038796"/>
              <a:gd name="connsiteY64" fmla="*/ 196344 h 3436871"/>
              <a:gd name="connsiteX65" fmla="*/ 1065865 w 2038796"/>
              <a:gd name="connsiteY65" fmla="*/ 117807 h 3436871"/>
              <a:gd name="connsiteX66" fmla="*/ 998547 w 2038796"/>
              <a:gd name="connsiteY66" fmla="*/ 72928 h 3436871"/>
              <a:gd name="connsiteX67" fmla="*/ 920010 w 2038796"/>
              <a:gd name="connsiteY67" fmla="*/ 0 h 3436871"/>
              <a:gd name="connsiteX0" fmla="*/ 920010 w 2038796"/>
              <a:gd name="connsiteY0" fmla="*/ 0 h 3436871"/>
              <a:gd name="connsiteX1" fmla="*/ 779764 w 2038796"/>
              <a:gd name="connsiteY1" fmla="*/ 117807 h 3436871"/>
              <a:gd name="connsiteX2" fmla="*/ 751715 w 2038796"/>
              <a:gd name="connsiteY2" fmla="*/ 224393 h 3436871"/>
              <a:gd name="connsiteX3" fmla="*/ 656348 w 2038796"/>
              <a:gd name="connsiteY3" fmla="*/ 403907 h 3436871"/>
              <a:gd name="connsiteX4" fmla="*/ 656348 w 2038796"/>
              <a:gd name="connsiteY4" fmla="*/ 460005 h 3436871"/>
              <a:gd name="connsiteX5" fmla="*/ 673178 w 2038796"/>
              <a:gd name="connsiteY5" fmla="*/ 544153 h 3436871"/>
              <a:gd name="connsiteX6" fmla="*/ 448785 w 2038796"/>
              <a:gd name="connsiteY6" fmla="*/ 656349 h 3436871"/>
              <a:gd name="connsiteX7" fmla="*/ 263661 w 2038796"/>
              <a:gd name="connsiteY7" fmla="*/ 673178 h 3436871"/>
              <a:gd name="connsiteX8" fmla="*/ 218783 w 2038796"/>
              <a:gd name="connsiteY8" fmla="*/ 948059 h 3436871"/>
              <a:gd name="connsiteX9" fmla="*/ 168294 w 2038796"/>
              <a:gd name="connsiteY9" fmla="*/ 1082695 h 3436871"/>
              <a:gd name="connsiteX10" fmla="*/ 72927 w 2038796"/>
              <a:gd name="connsiteY10" fmla="*/ 1211721 h 3436871"/>
              <a:gd name="connsiteX11" fmla="*/ 0 w 2038796"/>
              <a:gd name="connsiteY11" fmla="*/ 1346356 h 3436871"/>
              <a:gd name="connsiteX12" fmla="*/ 134635 w 2038796"/>
              <a:gd name="connsiteY12" fmla="*/ 1705384 h 3436871"/>
              <a:gd name="connsiteX13" fmla="*/ 241222 w 2038796"/>
              <a:gd name="connsiteY13" fmla="*/ 1778312 h 3436871"/>
              <a:gd name="connsiteX14" fmla="*/ 291710 w 2038796"/>
              <a:gd name="connsiteY14" fmla="*/ 1744653 h 3436871"/>
              <a:gd name="connsiteX15" fmla="*/ 336589 w 2038796"/>
              <a:gd name="connsiteY15" fmla="*/ 1800751 h 3436871"/>
              <a:gd name="connsiteX16" fmla="*/ 387077 w 2038796"/>
              <a:gd name="connsiteY16" fmla="*/ 3326621 h 3436871"/>
              <a:gd name="connsiteX17" fmla="*/ 448785 w 2038796"/>
              <a:gd name="connsiteY17" fmla="*/ 3298572 h 3436871"/>
              <a:gd name="connsiteX18" fmla="*/ 431956 w 2038796"/>
              <a:gd name="connsiteY18" fmla="*/ 2423441 h 3436871"/>
              <a:gd name="connsiteX19" fmla="*/ 482444 w 2038796"/>
              <a:gd name="connsiteY19" fmla="*/ 2434660 h 3436871"/>
              <a:gd name="connsiteX20" fmla="*/ 516103 w 2038796"/>
              <a:gd name="connsiteY20" fmla="*/ 3119058 h 3436871"/>
              <a:gd name="connsiteX21" fmla="*/ 583421 w 2038796"/>
              <a:gd name="connsiteY21" fmla="*/ 3124668 h 3436871"/>
              <a:gd name="connsiteX22" fmla="*/ 572201 w 2038796"/>
              <a:gd name="connsiteY22" fmla="*/ 2457100 h 3436871"/>
              <a:gd name="connsiteX23" fmla="*/ 964888 w 2038796"/>
              <a:gd name="connsiteY23" fmla="*/ 2462710 h 3436871"/>
              <a:gd name="connsiteX24" fmla="*/ 970498 w 2038796"/>
              <a:gd name="connsiteY24" fmla="*/ 2866616 h 3436871"/>
              <a:gd name="connsiteX25" fmla="*/ 1026596 w 2038796"/>
              <a:gd name="connsiteY25" fmla="*/ 2877836 h 3436871"/>
              <a:gd name="connsiteX26" fmla="*/ 1020986 w 2038796"/>
              <a:gd name="connsiteY26" fmla="*/ 3051740 h 3436871"/>
              <a:gd name="connsiteX27" fmla="*/ 1009767 w 2038796"/>
              <a:gd name="connsiteY27" fmla="*/ 3175156 h 3436871"/>
              <a:gd name="connsiteX28" fmla="*/ 1020986 w 2038796"/>
              <a:gd name="connsiteY28" fmla="*/ 3393939 h 3436871"/>
              <a:gd name="connsiteX29" fmla="*/ 1217330 w 2038796"/>
              <a:gd name="connsiteY29" fmla="*/ 3410768 h 3436871"/>
              <a:gd name="connsiteX30" fmla="*/ 1211720 w 2038796"/>
              <a:gd name="connsiteY30" fmla="*/ 3225645 h 3436871"/>
              <a:gd name="connsiteX31" fmla="*/ 1228549 w 2038796"/>
              <a:gd name="connsiteY31" fmla="*/ 3051741 h 3436871"/>
              <a:gd name="connsiteX32" fmla="*/ 1211720 w 2038796"/>
              <a:gd name="connsiteY32" fmla="*/ 2922714 h 3436871"/>
              <a:gd name="connsiteX33" fmla="*/ 1234159 w 2038796"/>
              <a:gd name="connsiteY33" fmla="*/ 2883446 h 3436871"/>
              <a:gd name="connsiteX34" fmla="*/ 1250988 w 2038796"/>
              <a:gd name="connsiteY34" fmla="*/ 2664663 h 3436871"/>
              <a:gd name="connsiteX35" fmla="*/ 1256599 w 2038796"/>
              <a:gd name="connsiteY35" fmla="*/ 2552467 h 3436871"/>
              <a:gd name="connsiteX36" fmla="*/ 1262209 w 2038796"/>
              <a:gd name="connsiteY36" fmla="*/ 2417831 h 3436871"/>
              <a:gd name="connsiteX37" fmla="*/ 1357574 w 2038796"/>
              <a:gd name="connsiteY37" fmla="*/ 2569297 h 3436871"/>
              <a:gd name="connsiteX38" fmla="*/ 1368794 w 2038796"/>
              <a:gd name="connsiteY38" fmla="*/ 3107839 h 3436871"/>
              <a:gd name="connsiteX39" fmla="*/ 1413673 w 2038796"/>
              <a:gd name="connsiteY39" fmla="*/ 3113448 h 3436871"/>
              <a:gd name="connsiteX40" fmla="*/ 1419283 w 2038796"/>
              <a:gd name="connsiteY40" fmla="*/ 2625394 h 3436871"/>
              <a:gd name="connsiteX41" fmla="*/ 1469772 w 2038796"/>
              <a:gd name="connsiteY41" fmla="*/ 2636614 h 3436871"/>
              <a:gd name="connsiteX42" fmla="*/ 1480991 w 2038796"/>
              <a:gd name="connsiteY42" fmla="*/ 3292962 h 3436871"/>
              <a:gd name="connsiteX43" fmla="*/ 1531479 w 2038796"/>
              <a:gd name="connsiteY43" fmla="*/ 3276133 h 3436871"/>
              <a:gd name="connsiteX44" fmla="*/ 1537090 w 2038796"/>
              <a:gd name="connsiteY44" fmla="*/ 2804908 h 3436871"/>
              <a:gd name="connsiteX45" fmla="*/ 1604407 w 2038796"/>
              <a:gd name="connsiteY45" fmla="*/ 2961983 h 3436871"/>
              <a:gd name="connsiteX46" fmla="*/ 1991484 w 2038796"/>
              <a:gd name="connsiteY46" fmla="*/ 2765639 h 3436871"/>
              <a:gd name="connsiteX47" fmla="*/ 1997094 w 2038796"/>
              <a:gd name="connsiteY47" fmla="*/ 2653443 h 3436871"/>
              <a:gd name="connsiteX48" fmla="*/ 1806360 w 2038796"/>
              <a:gd name="connsiteY48" fmla="*/ 2664663 h 3436871"/>
              <a:gd name="connsiteX49" fmla="*/ 1694164 w 2038796"/>
              <a:gd name="connsiteY49" fmla="*/ 2546857 h 3436871"/>
              <a:gd name="connsiteX50" fmla="*/ 1621237 w 2038796"/>
              <a:gd name="connsiteY50" fmla="*/ 2451490 h 3436871"/>
              <a:gd name="connsiteX51" fmla="*/ 1694164 w 2038796"/>
              <a:gd name="connsiteY51" fmla="*/ 2328074 h 3436871"/>
              <a:gd name="connsiteX52" fmla="*/ 1514650 w 2038796"/>
              <a:gd name="connsiteY52" fmla="*/ 2030754 h 3436871"/>
              <a:gd name="connsiteX53" fmla="*/ 1531479 w 2038796"/>
              <a:gd name="connsiteY53" fmla="*/ 1610018 h 3436871"/>
              <a:gd name="connsiteX54" fmla="*/ 1301477 w 2038796"/>
              <a:gd name="connsiteY54" fmla="*/ 1615627 h 3436871"/>
              <a:gd name="connsiteX55" fmla="*/ 1323916 w 2038796"/>
              <a:gd name="connsiteY55" fmla="*/ 1486602 h 3436871"/>
              <a:gd name="connsiteX56" fmla="*/ 1262208 w 2038796"/>
              <a:gd name="connsiteY56" fmla="*/ 1301478 h 3436871"/>
              <a:gd name="connsiteX57" fmla="*/ 1301477 w 2038796"/>
              <a:gd name="connsiteY57" fmla="*/ 1228550 h 3436871"/>
              <a:gd name="connsiteX58" fmla="*/ 1234159 w 2038796"/>
              <a:gd name="connsiteY58" fmla="*/ 1043426 h 3436871"/>
              <a:gd name="connsiteX59" fmla="*/ 1250989 w 2038796"/>
              <a:gd name="connsiteY59" fmla="*/ 847083 h 3436871"/>
              <a:gd name="connsiteX60" fmla="*/ 970498 w 2038796"/>
              <a:gd name="connsiteY60" fmla="*/ 712447 h 3436871"/>
              <a:gd name="connsiteX61" fmla="*/ 1015376 w 2038796"/>
              <a:gd name="connsiteY61" fmla="*/ 622690 h 3436871"/>
              <a:gd name="connsiteX62" fmla="*/ 1150012 w 2038796"/>
              <a:gd name="connsiteY62" fmla="*/ 482445 h 3436871"/>
              <a:gd name="connsiteX63" fmla="*/ 1166841 w 2038796"/>
              <a:gd name="connsiteY63" fmla="*/ 314150 h 3436871"/>
              <a:gd name="connsiteX64" fmla="*/ 1161232 w 2038796"/>
              <a:gd name="connsiteY64" fmla="*/ 196344 h 3436871"/>
              <a:gd name="connsiteX65" fmla="*/ 1065865 w 2038796"/>
              <a:gd name="connsiteY65" fmla="*/ 117807 h 3436871"/>
              <a:gd name="connsiteX66" fmla="*/ 998547 w 2038796"/>
              <a:gd name="connsiteY66" fmla="*/ 72928 h 3436871"/>
              <a:gd name="connsiteX67" fmla="*/ 920010 w 2038796"/>
              <a:gd name="connsiteY67" fmla="*/ 0 h 3436871"/>
              <a:gd name="connsiteX0" fmla="*/ 920010 w 2038796"/>
              <a:gd name="connsiteY0" fmla="*/ 0 h 3436871"/>
              <a:gd name="connsiteX1" fmla="*/ 779764 w 2038796"/>
              <a:gd name="connsiteY1" fmla="*/ 117807 h 3436871"/>
              <a:gd name="connsiteX2" fmla="*/ 751715 w 2038796"/>
              <a:gd name="connsiteY2" fmla="*/ 224393 h 3436871"/>
              <a:gd name="connsiteX3" fmla="*/ 656348 w 2038796"/>
              <a:gd name="connsiteY3" fmla="*/ 403907 h 3436871"/>
              <a:gd name="connsiteX4" fmla="*/ 656348 w 2038796"/>
              <a:gd name="connsiteY4" fmla="*/ 460005 h 3436871"/>
              <a:gd name="connsiteX5" fmla="*/ 673178 w 2038796"/>
              <a:gd name="connsiteY5" fmla="*/ 544153 h 3436871"/>
              <a:gd name="connsiteX6" fmla="*/ 448785 w 2038796"/>
              <a:gd name="connsiteY6" fmla="*/ 656349 h 3436871"/>
              <a:gd name="connsiteX7" fmla="*/ 263661 w 2038796"/>
              <a:gd name="connsiteY7" fmla="*/ 673178 h 3436871"/>
              <a:gd name="connsiteX8" fmla="*/ 218783 w 2038796"/>
              <a:gd name="connsiteY8" fmla="*/ 948059 h 3436871"/>
              <a:gd name="connsiteX9" fmla="*/ 168294 w 2038796"/>
              <a:gd name="connsiteY9" fmla="*/ 1082695 h 3436871"/>
              <a:gd name="connsiteX10" fmla="*/ 72927 w 2038796"/>
              <a:gd name="connsiteY10" fmla="*/ 1211721 h 3436871"/>
              <a:gd name="connsiteX11" fmla="*/ 0 w 2038796"/>
              <a:gd name="connsiteY11" fmla="*/ 1346356 h 3436871"/>
              <a:gd name="connsiteX12" fmla="*/ 134635 w 2038796"/>
              <a:gd name="connsiteY12" fmla="*/ 1705384 h 3436871"/>
              <a:gd name="connsiteX13" fmla="*/ 241222 w 2038796"/>
              <a:gd name="connsiteY13" fmla="*/ 1778312 h 3436871"/>
              <a:gd name="connsiteX14" fmla="*/ 291710 w 2038796"/>
              <a:gd name="connsiteY14" fmla="*/ 1744653 h 3436871"/>
              <a:gd name="connsiteX15" fmla="*/ 336589 w 2038796"/>
              <a:gd name="connsiteY15" fmla="*/ 1800751 h 3436871"/>
              <a:gd name="connsiteX16" fmla="*/ 387077 w 2038796"/>
              <a:gd name="connsiteY16" fmla="*/ 3326621 h 3436871"/>
              <a:gd name="connsiteX17" fmla="*/ 448785 w 2038796"/>
              <a:gd name="connsiteY17" fmla="*/ 3298572 h 3436871"/>
              <a:gd name="connsiteX18" fmla="*/ 431956 w 2038796"/>
              <a:gd name="connsiteY18" fmla="*/ 2423441 h 3436871"/>
              <a:gd name="connsiteX19" fmla="*/ 482444 w 2038796"/>
              <a:gd name="connsiteY19" fmla="*/ 2434660 h 3436871"/>
              <a:gd name="connsiteX20" fmla="*/ 516103 w 2038796"/>
              <a:gd name="connsiteY20" fmla="*/ 3119058 h 3436871"/>
              <a:gd name="connsiteX21" fmla="*/ 583421 w 2038796"/>
              <a:gd name="connsiteY21" fmla="*/ 3124668 h 3436871"/>
              <a:gd name="connsiteX22" fmla="*/ 572201 w 2038796"/>
              <a:gd name="connsiteY22" fmla="*/ 2457100 h 3436871"/>
              <a:gd name="connsiteX23" fmla="*/ 964888 w 2038796"/>
              <a:gd name="connsiteY23" fmla="*/ 2462710 h 3436871"/>
              <a:gd name="connsiteX24" fmla="*/ 970498 w 2038796"/>
              <a:gd name="connsiteY24" fmla="*/ 2866616 h 3436871"/>
              <a:gd name="connsiteX25" fmla="*/ 1026596 w 2038796"/>
              <a:gd name="connsiteY25" fmla="*/ 2877836 h 3436871"/>
              <a:gd name="connsiteX26" fmla="*/ 1020986 w 2038796"/>
              <a:gd name="connsiteY26" fmla="*/ 3051740 h 3436871"/>
              <a:gd name="connsiteX27" fmla="*/ 1009767 w 2038796"/>
              <a:gd name="connsiteY27" fmla="*/ 3175156 h 3436871"/>
              <a:gd name="connsiteX28" fmla="*/ 1020986 w 2038796"/>
              <a:gd name="connsiteY28" fmla="*/ 3393939 h 3436871"/>
              <a:gd name="connsiteX29" fmla="*/ 1217330 w 2038796"/>
              <a:gd name="connsiteY29" fmla="*/ 3410768 h 3436871"/>
              <a:gd name="connsiteX30" fmla="*/ 1211720 w 2038796"/>
              <a:gd name="connsiteY30" fmla="*/ 3225645 h 3436871"/>
              <a:gd name="connsiteX31" fmla="*/ 1228549 w 2038796"/>
              <a:gd name="connsiteY31" fmla="*/ 3051741 h 3436871"/>
              <a:gd name="connsiteX32" fmla="*/ 1211720 w 2038796"/>
              <a:gd name="connsiteY32" fmla="*/ 2922714 h 3436871"/>
              <a:gd name="connsiteX33" fmla="*/ 1234159 w 2038796"/>
              <a:gd name="connsiteY33" fmla="*/ 2883446 h 3436871"/>
              <a:gd name="connsiteX34" fmla="*/ 1250988 w 2038796"/>
              <a:gd name="connsiteY34" fmla="*/ 2664663 h 3436871"/>
              <a:gd name="connsiteX35" fmla="*/ 1256599 w 2038796"/>
              <a:gd name="connsiteY35" fmla="*/ 2552467 h 3436871"/>
              <a:gd name="connsiteX36" fmla="*/ 1262209 w 2038796"/>
              <a:gd name="connsiteY36" fmla="*/ 2417831 h 3436871"/>
              <a:gd name="connsiteX37" fmla="*/ 1357574 w 2038796"/>
              <a:gd name="connsiteY37" fmla="*/ 2569297 h 3436871"/>
              <a:gd name="connsiteX38" fmla="*/ 1368794 w 2038796"/>
              <a:gd name="connsiteY38" fmla="*/ 3107839 h 3436871"/>
              <a:gd name="connsiteX39" fmla="*/ 1413673 w 2038796"/>
              <a:gd name="connsiteY39" fmla="*/ 3113448 h 3436871"/>
              <a:gd name="connsiteX40" fmla="*/ 1419283 w 2038796"/>
              <a:gd name="connsiteY40" fmla="*/ 2625394 h 3436871"/>
              <a:gd name="connsiteX41" fmla="*/ 1469772 w 2038796"/>
              <a:gd name="connsiteY41" fmla="*/ 2636614 h 3436871"/>
              <a:gd name="connsiteX42" fmla="*/ 1480991 w 2038796"/>
              <a:gd name="connsiteY42" fmla="*/ 3292962 h 3436871"/>
              <a:gd name="connsiteX43" fmla="*/ 1531479 w 2038796"/>
              <a:gd name="connsiteY43" fmla="*/ 3276133 h 3436871"/>
              <a:gd name="connsiteX44" fmla="*/ 1537090 w 2038796"/>
              <a:gd name="connsiteY44" fmla="*/ 2804908 h 3436871"/>
              <a:gd name="connsiteX45" fmla="*/ 1604407 w 2038796"/>
              <a:gd name="connsiteY45" fmla="*/ 2961983 h 3436871"/>
              <a:gd name="connsiteX46" fmla="*/ 1991484 w 2038796"/>
              <a:gd name="connsiteY46" fmla="*/ 2765639 h 3436871"/>
              <a:gd name="connsiteX47" fmla="*/ 1997094 w 2038796"/>
              <a:gd name="connsiteY47" fmla="*/ 2653443 h 3436871"/>
              <a:gd name="connsiteX48" fmla="*/ 1806360 w 2038796"/>
              <a:gd name="connsiteY48" fmla="*/ 2664663 h 3436871"/>
              <a:gd name="connsiteX49" fmla="*/ 1694164 w 2038796"/>
              <a:gd name="connsiteY49" fmla="*/ 2546857 h 3436871"/>
              <a:gd name="connsiteX50" fmla="*/ 1621237 w 2038796"/>
              <a:gd name="connsiteY50" fmla="*/ 2451490 h 3436871"/>
              <a:gd name="connsiteX51" fmla="*/ 1694164 w 2038796"/>
              <a:gd name="connsiteY51" fmla="*/ 2328074 h 3436871"/>
              <a:gd name="connsiteX52" fmla="*/ 1514650 w 2038796"/>
              <a:gd name="connsiteY52" fmla="*/ 2030754 h 3436871"/>
              <a:gd name="connsiteX53" fmla="*/ 1531479 w 2038796"/>
              <a:gd name="connsiteY53" fmla="*/ 1610018 h 3436871"/>
              <a:gd name="connsiteX54" fmla="*/ 1301477 w 2038796"/>
              <a:gd name="connsiteY54" fmla="*/ 1615627 h 3436871"/>
              <a:gd name="connsiteX55" fmla="*/ 1323916 w 2038796"/>
              <a:gd name="connsiteY55" fmla="*/ 1486602 h 3436871"/>
              <a:gd name="connsiteX56" fmla="*/ 1262208 w 2038796"/>
              <a:gd name="connsiteY56" fmla="*/ 1301478 h 3436871"/>
              <a:gd name="connsiteX57" fmla="*/ 1301477 w 2038796"/>
              <a:gd name="connsiteY57" fmla="*/ 1228550 h 3436871"/>
              <a:gd name="connsiteX58" fmla="*/ 1234159 w 2038796"/>
              <a:gd name="connsiteY58" fmla="*/ 1043426 h 3436871"/>
              <a:gd name="connsiteX59" fmla="*/ 1250989 w 2038796"/>
              <a:gd name="connsiteY59" fmla="*/ 847083 h 3436871"/>
              <a:gd name="connsiteX60" fmla="*/ 970498 w 2038796"/>
              <a:gd name="connsiteY60" fmla="*/ 712447 h 3436871"/>
              <a:gd name="connsiteX61" fmla="*/ 1015376 w 2038796"/>
              <a:gd name="connsiteY61" fmla="*/ 622690 h 3436871"/>
              <a:gd name="connsiteX62" fmla="*/ 1150012 w 2038796"/>
              <a:gd name="connsiteY62" fmla="*/ 482445 h 3436871"/>
              <a:gd name="connsiteX63" fmla="*/ 1166841 w 2038796"/>
              <a:gd name="connsiteY63" fmla="*/ 314150 h 3436871"/>
              <a:gd name="connsiteX64" fmla="*/ 1161232 w 2038796"/>
              <a:gd name="connsiteY64" fmla="*/ 196344 h 3436871"/>
              <a:gd name="connsiteX65" fmla="*/ 1065865 w 2038796"/>
              <a:gd name="connsiteY65" fmla="*/ 117807 h 3436871"/>
              <a:gd name="connsiteX66" fmla="*/ 998547 w 2038796"/>
              <a:gd name="connsiteY66" fmla="*/ 72928 h 3436871"/>
              <a:gd name="connsiteX67" fmla="*/ 920010 w 2038796"/>
              <a:gd name="connsiteY67" fmla="*/ 0 h 3436871"/>
              <a:gd name="connsiteX0" fmla="*/ 920010 w 2038796"/>
              <a:gd name="connsiteY0" fmla="*/ 0 h 3436871"/>
              <a:gd name="connsiteX1" fmla="*/ 779764 w 2038796"/>
              <a:gd name="connsiteY1" fmla="*/ 117807 h 3436871"/>
              <a:gd name="connsiteX2" fmla="*/ 751715 w 2038796"/>
              <a:gd name="connsiteY2" fmla="*/ 224393 h 3436871"/>
              <a:gd name="connsiteX3" fmla="*/ 656348 w 2038796"/>
              <a:gd name="connsiteY3" fmla="*/ 403907 h 3436871"/>
              <a:gd name="connsiteX4" fmla="*/ 656348 w 2038796"/>
              <a:gd name="connsiteY4" fmla="*/ 460005 h 3436871"/>
              <a:gd name="connsiteX5" fmla="*/ 673178 w 2038796"/>
              <a:gd name="connsiteY5" fmla="*/ 544153 h 3436871"/>
              <a:gd name="connsiteX6" fmla="*/ 448785 w 2038796"/>
              <a:gd name="connsiteY6" fmla="*/ 656349 h 3436871"/>
              <a:gd name="connsiteX7" fmla="*/ 263661 w 2038796"/>
              <a:gd name="connsiteY7" fmla="*/ 673178 h 3436871"/>
              <a:gd name="connsiteX8" fmla="*/ 218783 w 2038796"/>
              <a:gd name="connsiteY8" fmla="*/ 948059 h 3436871"/>
              <a:gd name="connsiteX9" fmla="*/ 168294 w 2038796"/>
              <a:gd name="connsiteY9" fmla="*/ 1082695 h 3436871"/>
              <a:gd name="connsiteX10" fmla="*/ 72927 w 2038796"/>
              <a:gd name="connsiteY10" fmla="*/ 1211721 h 3436871"/>
              <a:gd name="connsiteX11" fmla="*/ 0 w 2038796"/>
              <a:gd name="connsiteY11" fmla="*/ 1346356 h 3436871"/>
              <a:gd name="connsiteX12" fmla="*/ 134635 w 2038796"/>
              <a:gd name="connsiteY12" fmla="*/ 1705384 h 3436871"/>
              <a:gd name="connsiteX13" fmla="*/ 241222 w 2038796"/>
              <a:gd name="connsiteY13" fmla="*/ 1778312 h 3436871"/>
              <a:gd name="connsiteX14" fmla="*/ 291710 w 2038796"/>
              <a:gd name="connsiteY14" fmla="*/ 1744653 h 3436871"/>
              <a:gd name="connsiteX15" fmla="*/ 336589 w 2038796"/>
              <a:gd name="connsiteY15" fmla="*/ 1800751 h 3436871"/>
              <a:gd name="connsiteX16" fmla="*/ 387077 w 2038796"/>
              <a:gd name="connsiteY16" fmla="*/ 3326621 h 3436871"/>
              <a:gd name="connsiteX17" fmla="*/ 448785 w 2038796"/>
              <a:gd name="connsiteY17" fmla="*/ 3298572 h 3436871"/>
              <a:gd name="connsiteX18" fmla="*/ 431956 w 2038796"/>
              <a:gd name="connsiteY18" fmla="*/ 2423441 h 3436871"/>
              <a:gd name="connsiteX19" fmla="*/ 482444 w 2038796"/>
              <a:gd name="connsiteY19" fmla="*/ 2434660 h 3436871"/>
              <a:gd name="connsiteX20" fmla="*/ 516103 w 2038796"/>
              <a:gd name="connsiteY20" fmla="*/ 3119058 h 3436871"/>
              <a:gd name="connsiteX21" fmla="*/ 583421 w 2038796"/>
              <a:gd name="connsiteY21" fmla="*/ 3124668 h 3436871"/>
              <a:gd name="connsiteX22" fmla="*/ 572201 w 2038796"/>
              <a:gd name="connsiteY22" fmla="*/ 2457100 h 3436871"/>
              <a:gd name="connsiteX23" fmla="*/ 964888 w 2038796"/>
              <a:gd name="connsiteY23" fmla="*/ 2462710 h 3436871"/>
              <a:gd name="connsiteX24" fmla="*/ 970498 w 2038796"/>
              <a:gd name="connsiteY24" fmla="*/ 2866616 h 3436871"/>
              <a:gd name="connsiteX25" fmla="*/ 1026596 w 2038796"/>
              <a:gd name="connsiteY25" fmla="*/ 2877836 h 3436871"/>
              <a:gd name="connsiteX26" fmla="*/ 1020986 w 2038796"/>
              <a:gd name="connsiteY26" fmla="*/ 3051740 h 3436871"/>
              <a:gd name="connsiteX27" fmla="*/ 1009767 w 2038796"/>
              <a:gd name="connsiteY27" fmla="*/ 3175156 h 3436871"/>
              <a:gd name="connsiteX28" fmla="*/ 1020986 w 2038796"/>
              <a:gd name="connsiteY28" fmla="*/ 3393939 h 3436871"/>
              <a:gd name="connsiteX29" fmla="*/ 1217330 w 2038796"/>
              <a:gd name="connsiteY29" fmla="*/ 3410768 h 3436871"/>
              <a:gd name="connsiteX30" fmla="*/ 1211720 w 2038796"/>
              <a:gd name="connsiteY30" fmla="*/ 3225645 h 3436871"/>
              <a:gd name="connsiteX31" fmla="*/ 1228549 w 2038796"/>
              <a:gd name="connsiteY31" fmla="*/ 3051741 h 3436871"/>
              <a:gd name="connsiteX32" fmla="*/ 1211720 w 2038796"/>
              <a:gd name="connsiteY32" fmla="*/ 2922714 h 3436871"/>
              <a:gd name="connsiteX33" fmla="*/ 1234159 w 2038796"/>
              <a:gd name="connsiteY33" fmla="*/ 2883446 h 3436871"/>
              <a:gd name="connsiteX34" fmla="*/ 1250988 w 2038796"/>
              <a:gd name="connsiteY34" fmla="*/ 2664663 h 3436871"/>
              <a:gd name="connsiteX35" fmla="*/ 1256599 w 2038796"/>
              <a:gd name="connsiteY35" fmla="*/ 2552467 h 3436871"/>
              <a:gd name="connsiteX36" fmla="*/ 1262209 w 2038796"/>
              <a:gd name="connsiteY36" fmla="*/ 2417831 h 3436871"/>
              <a:gd name="connsiteX37" fmla="*/ 1357574 w 2038796"/>
              <a:gd name="connsiteY37" fmla="*/ 2569297 h 3436871"/>
              <a:gd name="connsiteX38" fmla="*/ 1368794 w 2038796"/>
              <a:gd name="connsiteY38" fmla="*/ 3107839 h 3436871"/>
              <a:gd name="connsiteX39" fmla="*/ 1413673 w 2038796"/>
              <a:gd name="connsiteY39" fmla="*/ 3113448 h 3436871"/>
              <a:gd name="connsiteX40" fmla="*/ 1419283 w 2038796"/>
              <a:gd name="connsiteY40" fmla="*/ 2625394 h 3436871"/>
              <a:gd name="connsiteX41" fmla="*/ 1469772 w 2038796"/>
              <a:gd name="connsiteY41" fmla="*/ 2636614 h 3436871"/>
              <a:gd name="connsiteX42" fmla="*/ 1480991 w 2038796"/>
              <a:gd name="connsiteY42" fmla="*/ 3292962 h 3436871"/>
              <a:gd name="connsiteX43" fmla="*/ 1531479 w 2038796"/>
              <a:gd name="connsiteY43" fmla="*/ 3276133 h 3436871"/>
              <a:gd name="connsiteX44" fmla="*/ 1537090 w 2038796"/>
              <a:gd name="connsiteY44" fmla="*/ 2804908 h 3436871"/>
              <a:gd name="connsiteX45" fmla="*/ 1604407 w 2038796"/>
              <a:gd name="connsiteY45" fmla="*/ 2961983 h 3436871"/>
              <a:gd name="connsiteX46" fmla="*/ 1991484 w 2038796"/>
              <a:gd name="connsiteY46" fmla="*/ 2765639 h 3436871"/>
              <a:gd name="connsiteX47" fmla="*/ 1997094 w 2038796"/>
              <a:gd name="connsiteY47" fmla="*/ 2653443 h 3436871"/>
              <a:gd name="connsiteX48" fmla="*/ 1828800 w 2038796"/>
              <a:gd name="connsiteY48" fmla="*/ 2636614 h 3436871"/>
              <a:gd name="connsiteX49" fmla="*/ 1694164 w 2038796"/>
              <a:gd name="connsiteY49" fmla="*/ 2546857 h 3436871"/>
              <a:gd name="connsiteX50" fmla="*/ 1621237 w 2038796"/>
              <a:gd name="connsiteY50" fmla="*/ 2451490 h 3436871"/>
              <a:gd name="connsiteX51" fmla="*/ 1694164 w 2038796"/>
              <a:gd name="connsiteY51" fmla="*/ 2328074 h 3436871"/>
              <a:gd name="connsiteX52" fmla="*/ 1514650 w 2038796"/>
              <a:gd name="connsiteY52" fmla="*/ 2030754 h 3436871"/>
              <a:gd name="connsiteX53" fmla="*/ 1531479 w 2038796"/>
              <a:gd name="connsiteY53" fmla="*/ 1610018 h 3436871"/>
              <a:gd name="connsiteX54" fmla="*/ 1301477 w 2038796"/>
              <a:gd name="connsiteY54" fmla="*/ 1615627 h 3436871"/>
              <a:gd name="connsiteX55" fmla="*/ 1323916 w 2038796"/>
              <a:gd name="connsiteY55" fmla="*/ 1486602 h 3436871"/>
              <a:gd name="connsiteX56" fmla="*/ 1262208 w 2038796"/>
              <a:gd name="connsiteY56" fmla="*/ 1301478 h 3436871"/>
              <a:gd name="connsiteX57" fmla="*/ 1301477 w 2038796"/>
              <a:gd name="connsiteY57" fmla="*/ 1228550 h 3436871"/>
              <a:gd name="connsiteX58" fmla="*/ 1234159 w 2038796"/>
              <a:gd name="connsiteY58" fmla="*/ 1043426 h 3436871"/>
              <a:gd name="connsiteX59" fmla="*/ 1250989 w 2038796"/>
              <a:gd name="connsiteY59" fmla="*/ 847083 h 3436871"/>
              <a:gd name="connsiteX60" fmla="*/ 970498 w 2038796"/>
              <a:gd name="connsiteY60" fmla="*/ 712447 h 3436871"/>
              <a:gd name="connsiteX61" fmla="*/ 1015376 w 2038796"/>
              <a:gd name="connsiteY61" fmla="*/ 622690 h 3436871"/>
              <a:gd name="connsiteX62" fmla="*/ 1150012 w 2038796"/>
              <a:gd name="connsiteY62" fmla="*/ 482445 h 3436871"/>
              <a:gd name="connsiteX63" fmla="*/ 1166841 w 2038796"/>
              <a:gd name="connsiteY63" fmla="*/ 314150 h 3436871"/>
              <a:gd name="connsiteX64" fmla="*/ 1161232 w 2038796"/>
              <a:gd name="connsiteY64" fmla="*/ 196344 h 3436871"/>
              <a:gd name="connsiteX65" fmla="*/ 1065865 w 2038796"/>
              <a:gd name="connsiteY65" fmla="*/ 117807 h 3436871"/>
              <a:gd name="connsiteX66" fmla="*/ 998547 w 2038796"/>
              <a:gd name="connsiteY66" fmla="*/ 72928 h 3436871"/>
              <a:gd name="connsiteX67" fmla="*/ 920010 w 2038796"/>
              <a:gd name="connsiteY67" fmla="*/ 0 h 3436871"/>
              <a:gd name="connsiteX0" fmla="*/ 920010 w 2038796"/>
              <a:gd name="connsiteY0" fmla="*/ 0 h 3436871"/>
              <a:gd name="connsiteX1" fmla="*/ 779764 w 2038796"/>
              <a:gd name="connsiteY1" fmla="*/ 117807 h 3436871"/>
              <a:gd name="connsiteX2" fmla="*/ 751715 w 2038796"/>
              <a:gd name="connsiteY2" fmla="*/ 224393 h 3436871"/>
              <a:gd name="connsiteX3" fmla="*/ 656348 w 2038796"/>
              <a:gd name="connsiteY3" fmla="*/ 403907 h 3436871"/>
              <a:gd name="connsiteX4" fmla="*/ 656348 w 2038796"/>
              <a:gd name="connsiteY4" fmla="*/ 460005 h 3436871"/>
              <a:gd name="connsiteX5" fmla="*/ 673178 w 2038796"/>
              <a:gd name="connsiteY5" fmla="*/ 544153 h 3436871"/>
              <a:gd name="connsiteX6" fmla="*/ 448785 w 2038796"/>
              <a:gd name="connsiteY6" fmla="*/ 656349 h 3436871"/>
              <a:gd name="connsiteX7" fmla="*/ 263661 w 2038796"/>
              <a:gd name="connsiteY7" fmla="*/ 673178 h 3436871"/>
              <a:gd name="connsiteX8" fmla="*/ 218783 w 2038796"/>
              <a:gd name="connsiteY8" fmla="*/ 948059 h 3436871"/>
              <a:gd name="connsiteX9" fmla="*/ 168294 w 2038796"/>
              <a:gd name="connsiteY9" fmla="*/ 1082695 h 3436871"/>
              <a:gd name="connsiteX10" fmla="*/ 72927 w 2038796"/>
              <a:gd name="connsiteY10" fmla="*/ 1211721 h 3436871"/>
              <a:gd name="connsiteX11" fmla="*/ 0 w 2038796"/>
              <a:gd name="connsiteY11" fmla="*/ 1346356 h 3436871"/>
              <a:gd name="connsiteX12" fmla="*/ 134635 w 2038796"/>
              <a:gd name="connsiteY12" fmla="*/ 1705384 h 3436871"/>
              <a:gd name="connsiteX13" fmla="*/ 241222 w 2038796"/>
              <a:gd name="connsiteY13" fmla="*/ 1778312 h 3436871"/>
              <a:gd name="connsiteX14" fmla="*/ 291710 w 2038796"/>
              <a:gd name="connsiteY14" fmla="*/ 1744653 h 3436871"/>
              <a:gd name="connsiteX15" fmla="*/ 336589 w 2038796"/>
              <a:gd name="connsiteY15" fmla="*/ 1800751 h 3436871"/>
              <a:gd name="connsiteX16" fmla="*/ 387077 w 2038796"/>
              <a:gd name="connsiteY16" fmla="*/ 3326621 h 3436871"/>
              <a:gd name="connsiteX17" fmla="*/ 448785 w 2038796"/>
              <a:gd name="connsiteY17" fmla="*/ 3298572 h 3436871"/>
              <a:gd name="connsiteX18" fmla="*/ 431956 w 2038796"/>
              <a:gd name="connsiteY18" fmla="*/ 2423441 h 3436871"/>
              <a:gd name="connsiteX19" fmla="*/ 482444 w 2038796"/>
              <a:gd name="connsiteY19" fmla="*/ 2434660 h 3436871"/>
              <a:gd name="connsiteX20" fmla="*/ 516103 w 2038796"/>
              <a:gd name="connsiteY20" fmla="*/ 3119058 h 3436871"/>
              <a:gd name="connsiteX21" fmla="*/ 583421 w 2038796"/>
              <a:gd name="connsiteY21" fmla="*/ 3124668 h 3436871"/>
              <a:gd name="connsiteX22" fmla="*/ 572201 w 2038796"/>
              <a:gd name="connsiteY22" fmla="*/ 2457100 h 3436871"/>
              <a:gd name="connsiteX23" fmla="*/ 964888 w 2038796"/>
              <a:gd name="connsiteY23" fmla="*/ 2462710 h 3436871"/>
              <a:gd name="connsiteX24" fmla="*/ 970498 w 2038796"/>
              <a:gd name="connsiteY24" fmla="*/ 2866616 h 3436871"/>
              <a:gd name="connsiteX25" fmla="*/ 1026596 w 2038796"/>
              <a:gd name="connsiteY25" fmla="*/ 2877836 h 3436871"/>
              <a:gd name="connsiteX26" fmla="*/ 1020986 w 2038796"/>
              <a:gd name="connsiteY26" fmla="*/ 3051740 h 3436871"/>
              <a:gd name="connsiteX27" fmla="*/ 1009767 w 2038796"/>
              <a:gd name="connsiteY27" fmla="*/ 3175156 h 3436871"/>
              <a:gd name="connsiteX28" fmla="*/ 1020986 w 2038796"/>
              <a:gd name="connsiteY28" fmla="*/ 3393939 h 3436871"/>
              <a:gd name="connsiteX29" fmla="*/ 1217330 w 2038796"/>
              <a:gd name="connsiteY29" fmla="*/ 3410768 h 3436871"/>
              <a:gd name="connsiteX30" fmla="*/ 1211720 w 2038796"/>
              <a:gd name="connsiteY30" fmla="*/ 3225645 h 3436871"/>
              <a:gd name="connsiteX31" fmla="*/ 1228549 w 2038796"/>
              <a:gd name="connsiteY31" fmla="*/ 3051741 h 3436871"/>
              <a:gd name="connsiteX32" fmla="*/ 1211720 w 2038796"/>
              <a:gd name="connsiteY32" fmla="*/ 2922714 h 3436871"/>
              <a:gd name="connsiteX33" fmla="*/ 1234159 w 2038796"/>
              <a:gd name="connsiteY33" fmla="*/ 2883446 h 3436871"/>
              <a:gd name="connsiteX34" fmla="*/ 1250988 w 2038796"/>
              <a:gd name="connsiteY34" fmla="*/ 2664663 h 3436871"/>
              <a:gd name="connsiteX35" fmla="*/ 1256599 w 2038796"/>
              <a:gd name="connsiteY35" fmla="*/ 2552467 h 3436871"/>
              <a:gd name="connsiteX36" fmla="*/ 1262209 w 2038796"/>
              <a:gd name="connsiteY36" fmla="*/ 2417831 h 3436871"/>
              <a:gd name="connsiteX37" fmla="*/ 1357574 w 2038796"/>
              <a:gd name="connsiteY37" fmla="*/ 2569297 h 3436871"/>
              <a:gd name="connsiteX38" fmla="*/ 1368794 w 2038796"/>
              <a:gd name="connsiteY38" fmla="*/ 3107839 h 3436871"/>
              <a:gd name="connsiteX39" fmla="*/ 1413673 w 2038796"/>
              <a:gd name="connsiteY39" fmla="*/ 3113448 h 3436871"/>
              <a:gd name="connsiteX40" fmla="*/ 1419283 w 2038796"/>
              <a:gd name="connsiteY40" fmla="*/ 2625394 h 3436871"/>
              <a:gd name="connsiteX41" fmla="*/ 1469772 w 2038796"/>
              <a:gd name="connsiteY41" fmla="*/ 2636614 h 3436871"/>
              <a:gd name="connsiteX42" fmla="*/ 1480991 w 2038796"/>
              <a:gd name="connsiteY42" fmla="*/ 3292962 h 3436871"/>
              <a:gd name="connsiteX43" fmla="*/ 1531479 w 2038796"/>
              <a:gd name="connsiteY43" fmla="*/ 3276133 h 3436871"/>
              <a:gd name="connsiteX44" fmla="*/ 1537090 w 2038796"/>
              <a:gd name="connsiteY44" fmla="*/ 2804908 h 3436871"/>
              <a:gd name="connsiteX45" fmla="*/ 1604407 w 2038796"/>
              <a:gd name="connsiteY45" fmla="*/ 2961983 h 3436871"/>
              <a:gd name="connsiteX46" fmla="*/ 1991484 w 2038796"/>
              <a:gd name="connsiteY46" fmla="*/ 2765639 h 3436871"/>
              <a:gd name="connsiteX47" fmla="*/ 1997094 w 2038796"/>
              <a:gd name="connsiteY47" fmla="*/ 2653443 h 3436871"/>
              <a:gd name="connsiteX48" fmla="*/ 1828800 w 2038796"/>
              <a:gd name="connsiteY48" fmla="*/ 2636614 h 3436871"/>
              <a:gd name="connsiteX49" fmla="*/ 1705383 w 2038796"/>
              <a:gd name="connsiteY49" fmla="*/ 2563686 h 3436871"/>
              <a:gd name="connsiteX50" fmla="*/ 1621237 w 2038796"/>
              <a:gd name="connsiteY50" fmla="*/ 2451490 h 3436871"/>
              <a:gd name="connsiteX51" fmla="*/ 1694164 w 2038796"/>
              <a:gd name="connsiteY51" fmla="*/ 2328074 h 3436871"/>
              <a:gd name="connsiteX52" fmla="*/ 1514650 w 2038796"/>
              <a:gd name="connsiteY52" fmla="*/ 2030754 h 3436871"/>
              <a:gd name="connsiteX53" fmla="*/ 1531479 w 2038796"/>
              <a:gd name="connsiteY53" fmla="*/ 1610018 h 3436871"/>
              <a:gd name="connsiteX54" fmla="*/ 1301477 w 2038796"/>
              <a:gd name="connsiteY54" fmla="*/ 1615627 h 3436871"/>
              <a:gd name="connsiteX55" fmla="*/ 1323916 w 2038796"/>
              <a:gd name="connsiteY55" fmla="*/ 1486602 h 3436871"/>
              <a:gd name="connsiteX56" fmla="*/ 1262208 w 2038796"/>
              <a:gd name="connsiteY56" fmla="*/ 1301478 h 3436871"/>
              <a:gd name="connsiteX57" fmla="*/ 1301477 w 2038796"/>
              <a:gd name="connsiteY57" fmla="*/ 1228550 h 3436871"/>
              <a:gd name="connsiteX58" fmla="*/ 1234159 w 2038796"/>
              <a:gd name="connsiteY58" fmla="*/ 1043426 h 3436871"/>
              <a:gd name="connsiteX59" fmla="*/ 1250989 w 2038796"/>
              <a:gd name="connsiteY59" fmla="*/ 847083 h 3436871"/>
              <a:gd name="connsiteX60" fmla="*/ 970498 w 2038796"/>
              <a:gd name="connsiteY60" fmla="*/ 712447 h 3436871"/>
              <a:gd name="connsiteX61" fmla="*/ 1015376 w 2038796"/>
              <a:gd name="connsiteY61" fmla="*/ 622690 h 3436871"/>
              <a:gd name="connsiteX62" fmla="*/ 1150012 w 2038796"/>
              <a:gd name="connsiteY62" fmla="*/ 482445 h 3436871"/>
              <a:gd name="connsiteX63" fmla="*/ 1166841 w 2038796"/>
              <a:gd name="connsiteY63" fmla="*/ 314150 h 3436871"/>
              <a:gd name="connsiteX64" fmla="*/ 1161232 w 2038796"/>
              <a:gd name="connsiteY64" fmla="*/ 196344 h 3436871"/>
              <a:gd name="connsiteX65" fmla="*/ 1065865 w 2038796"/>
              <a:gd name="connsiteY65" fmla="*/ 117807 h 3436871"/>
              <a:gd name="connsiteX66" fmla="*/ 998547 w 2038796"/>
              <a:gd name="connsiteY66" fmla="*/ 72928 h 3436871"/>
              <a:gd name="connsiteX67" fmla="*/ 920010 w 2038796"/>
              <a:gd name="connsiteY67" fmla="*/ 0 h 3436871"/>
              <a:gd name="connsiteX0" fmla="*/ 920010 w 2038796"/>
              <a:gd name="connsiteY0" fmla="*/ 0 h 3436871"/>
              <a:gd name="connsiteX1" fmla="*/ 779764 w 2038796"/>
              <a:gd name="connsiteY1" fmla="*/ 117807 h 3436871"/>
              <a:gd name="connsiteX2" fmla="*/ 751715 w 2038796"/>
              <a:gd name="connsiteY2" fmla="*/ 224393 h 3436871"/>
              <a:gd name="connsiteX3" fmla="*/ 656348 w 2038796"/>
              <a:gd name="connsiteY3" fmla="*/ 403907 h 3436871"/>
              <a:gd name="connsiteX4" fmla="*/ 656348 w 2038796"/>
              <a:gd name="connsiteY4" fmla="*/ 460005 h 3436871"/>
              <a:gd name="connsiteX5" fmla="*/ 673178 w 2038796"/>
              <a:gd name="connsiteY5" fmla="*/ 544153 h 3436871"/>
              <a:gd name="connsiteX6" fmla="*/ 448785 w 2038796"/>
              <a:gd name="connsiteY6" fmla="*/ 656349 h 3436871"/>
              <a:gd name="connsiteX7" fmla="*/ 263661 w 2038796"/>
              <a:gd name="connsiteY7" fmla="*/ 673178 h 3436871"/>
              <a:gd name="connsiteX8" fmla="*/ 218783 w 2038796"/>
              <a:gd name="connsiteY8" fmla="*/ 948059 h 3436871"/>
              <a:gd name="connsiteX9" fmla="*/ 168294 w 2038796"/>
              <a:gd name="connsiteY9" fmla="*/ 1082695 h 3436871"/>
              <a:gd name="connsiteX10" fmla="*/ 72927 w 2038796"/>
              <a:gd name="connsiteY10" fmla="*/ 1211721 h 3436871"/>
              <a:gd name="connsiteX11" fmla="*/ 0 w 2038796"/>
              <a:gd name="connsiteY11" fmla="*/ 1346356 h 3436871"/>
              <a:gd name="connsiteX12" fmla="*/ 134635 w 2038796"/>
              <a:gd name="connsiteY12" fmla="*/ 1705384 h 3436871"/>
              <a:gd name="connsiteX13" fmla="*/ 241222 w 2038796"/>
              <a:gd name="connsiteY13" fmla="*/ 1778312 h 3436871"/>
              <a:gd name="connsiteX14" fmla="*/ 291710 w 2038796"/>
              <a:gd name="connsiteY14" fmla="*/ 1744653 h 3436871"/>
              <a:gd name="connsiteX15" fmla="*/ 336589 w 2038796"/>
              <a:gd name="connsiteY15" fmla="*/ 1800751 h 3436871"/>
              <a:gd name="connsiteX16" fmla="*/ 387077 w 2038796"/>
              <a:gd name="connsiteY16" fmla="*/ 3326621 h 3436871"/>
              <a:gd name="connsiteX17" fmla="*/ 448785 w 2038796"/>
              <a:gd name="connsiteY17" fmla="*/ 3298572 h 3436871"/>
              <a:gd name="connsiteX18" fmla="*/ 431956 w 2038796"/>
              <a:gd name="connsiteY18" fmla="*/ 2423441 h 3436871"/>
              <a:gd name="connsiteX19" fmla="*/ 482444 w 2038796"/>
              <a:gd name="connsiteY19" fmla="*/ 2434660 h 3436871"/>
              <a:gd name="connsiteX20" fmla="*/ 516103 w 2038796"/>
              <a:gd name="connsiteY20" fmla="*/ 3119058 h 3436871"/>
              <a:gd name="connsiteX21" fmla="*/ 583421 w 2038796"/>
              <a:gd name="connsiteY21" fmla="*/ 3124668 h 3436871"/>
              <a:gd name="connsiteX22" fmla="*/ 572201 w 2038796"/>
              <a:gd name="connsiteY22" fmla="*/ 2457100 h 3436871"/>
              <a:gd name="connsiteX23" fmla="*/ 964888 w 2038796"/>
              <a:gd name="connsiteY23" fmla="*/ 2462710 h 3436871"/>
              <a:gd name="connsiteX24" fmla="*/ 970498 w 2038796"/>
              <a:gd name="connsiteY24" fmla="*/ 2866616 h 3436871"/>
              <a:gd name="connsiteX25" fmla="*/ 1026596 w 2038796"/>
              <a:gd name="connsiteY25" fmla="*/ 2877836 h 3436871"/>
              <a:gd name="connsiteX26" fmla="*/ 1020986 w 2038796"/>
              <a:gd name="connsiteY26" fmla="*/ 3051740 h 3436871"/>
              <a:gd name="connsiteX27" fmla="*/ 1009767 w 2038796"/>
              <a:gd name="connsiteY27" fmla="*/ 3175156 h 3436871"/>
              <a:gd name="connsiteX28" fmla="*/ 1020986 w 2038796"/>
              <a:gd name="connsiteY28" fmla="*/ 3393939 h 3436871"/>
              <a:gd name="connsiteX29" fmla="*/ 1217330 w 2038796"/>
              <a:gd name="connsiteY29" fmla="*/ 3410768 h 3436871"/>
              <a:gd name="connsiteX30" fmla="*/ 1211720 w 2038796"/>
              <a:gd name="connsiteY30" fmla="*/ 3225645 h 3436871"/>
              <a:gd name="connsiteX31" fmla="*/ 1228549 w 2038796"/>
              <a:gd name="connsiteY31" fmla="*/ 3051741 h 3436871"/>
              <a:gd name="connsiteX32" fmla="*/ 1211720 w 2038796"/>
              <a:gd name="connsiteY32" fmla="*/ 2922714 h 3436871"/>
              <a:gd name="connsiteX33" fmla="*/ 1234159 w 2038796"/>
              <a:gd name="connsiteY33" fmla="*/ 2883446 h 3436871"/>
              <a:gd name="connsiteX34" fmla="*/ 1250988 w 2038796"/>
              <a:gd name="connsiteY34" fmla="*/ 2664663 h 3436871"/>
              <a:gd name="connsiteX35" fmla="*/ 1256599 w 2038796"/>
              <a:gd name="connsiteY35" fmla="*/ 2552467 h 3436871"/>
              <a:gd name="connsiteX36" fmla="*/ 1262209 w 2038796"/>
              <a:gd name="connsiteY36" fmla="*/ 2417831 h 3436871"/>
              <a:gd name="connsiteX37" fmla="*/ 1357574 w 2038796"/>
              <a:gd name="connsiteY37" fmla="*/ 2569297 h 3436871"/>
              <a:gd name="connsiteX38" fmla="*/ 1368794 w 2038796"/>
              <a:gd name="connsiteY38" fmla="*/ 3107839 h 3436871"/>
              <a:gd name="connsiteX39" fmla="*/ 1413673 w 2038796"/>
              <a:gd name="connsiteY39" fmla="*/ 3113448 h 3436871"/>
              <a:gd name="connsiteX40" fmla="*/ 1419283 w 2038796"/>
              <a:gd name="connsiteY40" fmla="*/ 2625394 h 3436871"/>
              <a:gd name="connsiteX41" fmla="*/ 1469772 w 2038796"/>
              <a:gd name="connsiteY41" fmla="*/ 2636614 h 3436871"/>
              <a:gd name="connsiteX42" fmla="*/ 1480991 w 2038796"/>
              <a:gd name="connsiteY42" fmla="*/ 3292962 h 3436871"/>
              <a:gd name="connsiteX43" fmla="*/ 1531479 w 2038796"/>
              <a:gd name="connsiteY43" fmla="*/ 3276133 h 3436871"/>
              <a:gd name="connsiteX44" fmla="*/ 1537090 w 2038796"/>
              <a:gd name="connsiteY44" fmla="*/ 2804908 h 3436871"/>
              <a:gd name="connsiteX45" fmla="*/ 1604407 w 2038796"/>
              <a:gd name="connsiteY45" fmla="*/ 2961983 h 3436871"/>
              <a:gd name="connsiteX46" fmla="*/ 1991484 w 2038796"/>
              <a:gd name="connsiteY46" fmla="*/ 2765639 h 3436871"/>
              <a:gd name="connsiteX47" fmla="*/ 1997094 w 2038796"/>
              <a:gd name="connsiteY47" fmla="*/ 2653443 h 3436871"/>
              <a:gd name="connsiteX48" fmla="*/ 1828800 w 2038796"/>
              <a:gd name="connsiteY48" fmla="*/ 2636614 h 3436871"/>
              <a:gd name="connsiteX49" fmla="*/ 1705383 w 2038796"/>
              <a:gd name="connsiteY49" fmla="*/ 2563686 h 3436871"/>
              <a:gd name="connsiteX50" fmla="*/ 1621237 w 2038796"/>
              <a:gd name="connsiteY50" fmla="*/ 2451490 h 3436871"/>
              <a:gd name="connsiteX51" fmla="*/ 1694164 w 2038796"/>
              <a:gd name="connsiteY51" fmla="*/ 2328074 h 3436871"/>
              <a:gd name="connsiteX52" fmla="*/ 1514650 w 2038796"/>
              <a:gd name="connsiteY52" fmla="*/ 2030754 h 3436871"/>
              <a:gd name="connsiteX53" fmla="*/ 1503430 w 2038796"/>
              <a:gd name="connsiteY53" fmla="*/ 1626847 h 3436871"/>
              <a:gd name="connsiteX54" fmla="*/ 1301477 w 2038796"/>
              <a:gd name="connsiteY54" fmla="*/ 1615627 h 3436871"/>
              <a:gd name="connsiteX55" fmla="*/ 1323916 w 2038796"/>
              <a:gd name="connsiteY55" fmla="*/ 1486602 h 3436871"/>
              <a:gd name="connsiteX56" fmla="*/ 1262208 w 2038796"/>
              <a:gd name="connsiteY56" fmla="*/ 1301478 h 3436871"/>
              <a:gd name="connsiteX57" fmla="*/ 1301477 w 2038796"/>
              <a:gd name="connsiteY57" fmla="*/ 1228550 h 3436871"/>
              <a:gd name="connsiteX58" fmla="*/ 1234159 w 2038796"/>
              <a:gd name="connsiteY58" fmla="*/ 1043426 h 3436871"/>
              <a:gd name="connsiteX59" fmla="*/ 1250989 w 2038796"/>
              <a:gd name="connsiteY59" fmla="*/ 847083 h 3436871"/>
              <a:gd name="connsiteX60" fmla="*/ 970498 w 2038796"/>
              <a:gd name="connsiteY60" fmla="*/ 712447 h 3436871"/>
              <a:gd name="connsiteX61" fmla="*/ 1015376 w 2038796"/>
              <a:gd name="connsiteY61" fmla="*/ 622690 h 3436871"/>
              <a:gd name="connsiteX62" fmla="*/ 1150012 w 2038796"/>
              <a:gd name="connsiteY62" fmla="*/ 482445 h 3436871"/>
              <a:gd name="connsiteX63" fmla="*/ 1166841 w 2038796"/>
              <a:gd name="connsiteY63" fmla="*/ 314150 h 3436871"/>
              <a:gd name="connsiteX64" fmla="*/ 1161232 w 2038796"/>
              <a:gd name="connsiteY64" fmla="*/ 196344 h 3436871"/>
              <a:gd name="connsiteX65" fmla="*/ 1065865 w 2038796"/>
              <a:gd name="connsiteY65" fmla="*/ 117807 h 3436871"/>
              <a:gd name="connsiteX66" fmla="*/ 998547 w 2038796"/>
              <a:gd name="connsiteY66" fmla="*/ 72928 h 3436871"/>
              <a:gd name="connsiteX67" fmla="*/ 920010 w 2038796"/>
              <a:gd name="connsiteY67" fmla="*/ 0 h 3436871"/>
              <a:gd name="connsiteX0" fmla="*/ 920010 w 2038796"/>
              <a:gd name="connsiteY0" fmla="*/ 0 h 3436871"/>
              <a:gd name="connsiteX1" fmla="*/ 779764 w 2038796"/>
              <a:gd name="connsiteY1" fmla="*/ 117807 h 3436871"/>
              <a:gd name="connsiteX2" fmla="*/ 751715 w 2038796"/>
              <a:gd name="connsiteY2" fmla="*/ 224393 h 3436871"/>
              <a:gd name="connsiteX3" fmla="*/ 656348 w 2038796"/>
              <a:gd name="connsiteY3" fmla="*/ 403907 h 3436871"/>
              <a:gd name="connsiteX4" fmla="*/ 656348 w 2038796"/>
              <a:gd name="connsiteY4" fmla="*/ 460005 h 3436871"/>
              <a:gd name="connsiteX5" fmla="*/ 673178 w 2038796"/>
              <a:gd name="connsiteY5" fmla="*/ 544153 h 3436871"/>
              <a:gd name="connsiteX6" fmla="*/ 448785 w 2038796"/>
              <a:gd name="connsiteY6" fmla="*/ 656349 h 3436871"/>
              <a:gd name="connsiteX7" fmla="*/ 263661 w 2038796"/>
              <a:gd name="connsiteY7" fmla="*/ 673178 h 3436871"/>
              <a:gd name="connsiteX8" fmla="*/ 218783 w 2038796"/>
              <a:gd name="connsiteY8" fmla="*/ 948059 h 3436871"/>
              <a:gd name="connsiteX9" fmla="*/ 168294 w 2038796"/>
              <a:gd name="connsiteY9" fmla="*/ 1082695 h 3436871"/>
              <a:gd name="connsiteX10" fmla="*/ 72927 w 2038796"/>
              <a:gd name="connsiteY10" fmla="*/ 1211721 h 3436871"/>
              <a:gd name="connsiteX11" fmla="*/ 0 w 2038796"/>
              <a:gd name="connsiteY11" fmla="*/ 1346356 h 3436871"/>
              <a:gd name="connsiteX12" fmla="*/ 134635 w 2038796"/>
              <a:gd name="connsiteY12" fmla="*/ 1705384 h 3436871"/>
              <a:gd name="connsiteX13" fmla="*/ 241222 w 2038796"/>
              <a:gd name="connsiteY13" fmla="*/ 1778312 h 3436871"/>
              <a:gd name="connsiteX14" fmla="*/ 291710 w 2038796"/>
              <a:gd name="connsiteY14" fmla="*/ 1744653 h 3436871"/>
              <a:gd name="connsiteX15" fmla="*/ 336589 w 2038796"/>
              <a:gd name="connsiteY15" fmla="*/ 1800751 h 3436871"/>
              <a:gd name="connsiteX16" fmla="*/ 387077 w 2038796"/>
              <a:gd name="connsiteY16" fmla="*/ 3326621 h 3436871"/>
              <a:gd name="connsiteX17" fmla="*/ 448785 w 2038796"/>
              <a:gd name="connsiteY17" fmla="*/ 3298572 h 3436871"/>
              <a:gd name="connsiteX18" fmla="*/ 431956 w 2038796"/>
              <a:gd name="connsiteY18" fmla="*/ 2423441 h 3436871"/>
              <a:gd name="connsiteX19" fmla="*/ 482444 w 2038796"/>
              <a:gd name="connsiteY19" fmla="*/ 2434660 h 3436871"/>
              <a:gd name="connsiteX20" fmla="*/ 516103 w 2038796"/>
              <a:gd name="connsiteY20" fmla="*/ 3119058 h 3436871"/>
              <a:gd name="connsiteX21" fmla="*/ 583421 w 2038796"/>
              <a:gd name="connsiteY21" fmla="*/ 3124668 h 3436871"/>
              <a:gd name="connsiteX22" fmla="*/ 572201 w 2038796"/>
              <a:gd name="connsiteY22" fmla="*/ 2457100 h 3436871"/>
              <a:gd name="connsiteX23" fmla="*/ 964888 w 2038796"/>
              <a:gd name="connsiteY23" fmla="*/ 2462710 h 3436871"/>
              <a:gd name="connsiteX24" fmla="*/ 970498 w 2038796"/>
              <a:gd name="connsiteY24" fmla="*/ 2866616 h 3436871"/>
              <a:gd name="connsiteX25" fmla="*/ 1026596 w 2038796"/>
              <a:gd name="connsiteY25" fmla="*/ 2877836 h 3436871"/>
              <a:gd name="connsiteX26" fmla="*/ 1020986 w 2038796"/>
              <a:gd name="connsiteY26" fmla="*/ 3051740 h 3436871"/>
              <a:gd name="connsiteX27" fmla="*/ 1009767 w 2038796"/>
              <a:gd name="connsiteY27" fmla="*/ 3175156 h 3436871"/>
              <a:gd name="connsiteX28" fmla="*/ 1020986 w 2038796"/>
              <a:gd name="connsiteY28" fmla="*/ 3393939 h 3436871"/>
              <a:gd name="connsiteX29" fmla="*/ 1217330 w 2038796"/>
              <a:gd name="connsiteY29" fmla="*/ 3410768 h 3436871"/>
              <a:gd name="connsiteX30" fmla="*/ 1211720 w 2038796"/>
              <a:gd name="connsiteY30" fmla="*/ 3225645 h 3436871"/>
              <a:gd name="connsiteX31" fmla="*/ 1228549 w 2038796"/>
              <a:gd name="connsiteY31" fmla="*/ 3051741 h 3436871"/>
              <a:gd name="connsiteX32" fmla="*/ 1211720 w 2038796"/>
              <a:gd name="connsiteY32" fmla="*/ 2922714 h 3436871"/>
              <a:gd name="connsiteX33" fmla="*/ 1234159 w 2038796"/>
              <a:gd name="connsiteY33" fmla="*/ 2883446 h 3436871"/>
              <a:gd name="connsiteX34" fmla="*/ 1250988 w 2038796"/>
              <a:gd name="connsiteY34" fmla="*/ 2664663 h 3436871"/>
              <a:gd name="connsiteX35" fmla="*/ 1256599 w 2038796"/>
              <a:gd name="connsiteY35" fmla="*/ 2552467 h 3436871"/>
              <a:gd name="connsiteX36" fmla="*/ 1262209 w 2038796"/>
              <a:gd name="connsiteY36" fmla="*/ 2417831 h 3436871"/>
              <a:gd name="connsiteX37" fmla="*/ 1357574 w 2038796"/>
              <a:gd name="connsiteY37" fmla="*/ 2569297 h 3436871"/>
              <a:gd name="connsiteX38" fmla="*/ 1368794 w 2038796"/>
              <a:gd name="connsiteY38" fmla="*/ 3107839 h 3436871"/>
              <a:gd name="connsiteX39" fmla="*/ 1413673 w 2038796"/>
              <a:gd name="connsiteY39" fmla="*/ 3113448 h 3436871"/>
              <a:gd name="connsiteX40" fmla="*/ 1419283 w 2038796"/>
              <a:gd name="connsiteY40" fmla="*/ 2625394 h 3436871"/>
              <a:gd name="connsiteX41" fmla="*/ 1469772 w 2038796"/>
              <a:gd name="connsiteY41" fmla="*/ 2636614 h 3436871"/>
              <a:gd name="connsiteX42" fmla="*/ 1480991 w 2038796"/>
              <a:gd name="connsiteY42" fmla="*/ 3292962 h 3436871"/>
              <a:gd name="connsiteX43" fmla="*/ 1531479 w 2038796"/>
              <a:gd name="connsiteY43" fmla="*/ 3276133 h 3436871"/>
              <a:gd name="connsiteX44" fmla="*/ 1537090 w 2038796"/>
              <a:gd name="connsiteY44" fmla="*/ 2804908 h 3436871"/>
              <a:gd name="connsiteX45" fmla="*/ 1604407 w 2038796"/>
              <a:gd name="connsiteY45" fmla="*/ 2961983 h 3436871"/>
              <a:gd name="connsiteX46" fmla="*/ 1991484 w 2038796"/>
              <a:gd name="connsiteY46" fmla="*/ 2765639 h 3436871"/>
              <a:gd name="connsiteX47" fmla="*/ 1997094 w 2038796"/>
              <a:gd name="connsiteY47" fmla="*/ 2653443 h 3436871"/>
              <a:gd name="connsiteX48" fmla="*/ 1828800 w 2038796"/>
              <a:gd name="connsiteY48" fmla="*/ 2636614 h 3436871"/>
              <a:gd name="connsiteX49" fmla="*/ 1705383 w 2038796"/>
              <a:gd name="connsiteY49" fmla="*/ 2563686 h 3436871"/>
              <a:gd name="connsiteX50" fmla="*/ 1621237 w 2038796"/>
              <a:gd name="connsiteY50" fmla="*/ 2451490 h 3436871"/>
              <a:gd name="connsiteX51" fmla="*/ 1694164 w 2038796"/>
              <a:gd name="connsiteY51" fmla="*/ 2328074 h 3436871"/>
              <a:gd name="connsiteX52" fmla="*/ 1514650 w 2038796"/>
              <a:gd name="connsiteY52" fmla="*/ 2030754 h 3436871"/>
              <a:gd name="connsiteX53" fmla="*/ 1503430 w 2038796"/>
              <a:gd name="connsiteY53" fmla="*/ 1626847 h 3436871"/>
              <a:gd name="connsiteX54" fmla="*/ 1301477 w 2038796"/>
              <a:gd name="connsiteY54" fmla="*/ 1615627 h 3436871"/>
              <a:gd name="connsiteX55" fmla="*/ 1323916 w 2038796"/>
              <a:gd name="connsiteY55" fmla="*/ 1486602 h 3436871"/>
              <a:gd name="connsiteX56" fmla="*/ 1262208 w 2038796"/>
              <a:gd name="connsiteY56" fmla="*/ 1301478 h 3436871"/>
              <a:gd name="connsiteX57" fmla="*/ 1301477 w 2038796"/>
              <a:gd name="connsiteY57" fmla="*/ 1228550 h 3436871"/>
              <a:gd name="connsiteX58" fmla="*/ 1234159 w 2038796"/>
              <a:gd name="connsiteY58" fmla="*/ 1043426 h 3436871"/>
              <a:gd name="connsiteX59" fmla="*/ 1250989 w 2038796"/>
              <a:gd name="connsiteY59" fmla="*/ 847083 h 3436871"/>
              <a:gd name="connsiteX60" fmla="*/ 970498 w 2038796"/>
              <a:gd name="connsiteY60" fmla="*/ 712447 h 3436871"/>
              <a:gd name="connsiteX61" fmla="*/ 1015376 w 2038796"/>
              <a:gd name="connsiteY61" fmla="*/ 622690 h 3436871"/>
              <a:gd name="connsiteX62" fmla="*/ 1150012 w 2038796"/>
              <a:gd name="connsiteY62" fmla="*/ 482445 h 3436871"/>
              <a:gd name="connsiteX63" fmla="*/ 1166841 w 2038796"/>
              <a:gd name="connsiteY63" fmla="*/ 314150 h 3436871"/>
              <a:gd name="connsiteX64" fmla="*/ 1161232 w 2038796"/>
              <a:gd name="connsiteY64" fmla="*/ 196344 h 3436871"/>
              <a:gd name="connsiteX65" fmla="*/ 1065865 w 2038796"/>
              <a:gd name="connsiteY65" fmla="*/ 117807 h 3436871"/>
              <a:gd name="connsiteX66" fmla="*/ 998547 w 2038796"/>
              <a:gd name="connsiteY66" fmla="*/ 72928 h 3436871"/>
              <a:gd name="connsiteX67" fmla="*/ 920010 w 2038796"/>
              <a:gd name="connsiteY67" fmla="*/ 0 h 3436871"/>
              <a:gd name="connsiteX0" fmla="*/ 920010 w 2038796"/>
              <a:gd name="connsiteY0" fmla="*/ 0 h 3436871"/>
              <a:gd name="connsiteX1" fmla="*/ 779764 w 2038796"/>
              <a:gd name="connsiteY1" fmla="*/ 117807 h 3436871"/>
              <a:gd name="connsiteX2" fmla="*/ 751715 w 2038796"/>
              <a:gd name="connsiteY2" fmla="*/ 224393 h 3436871"/>
              <a:gd name="connsiteX3" fmla="*/ 656348 w 2038796"/>
              <a:gd name="connsiteY3" fmla="*/ 403907 h 3436871"/>
              <a:gd name="connsiteX4" fmla="*/ 656348 w 2038796"/>
              <a:gd name="connsiteY4" fmla="*/ 460005 h 3436871"/>
              <a:gd name="connsiteX5" fmla="*/ 673178 w 2038796"/>
              <a:gd name="connsiteY5" fmla="*/ 544153 h 3436871"/>
              <a:gd name="connsiteX6" fmla="*/ 448785 w 2038796"/>
              <a:gd name="connsiteY6" fmla="*/ 656349 h 3436871"/>
              <a:gd name="connsiteX7" fmla="*/ 263661 w 2038796"/>
              <a:gd name="connsiteY7" fmla="*/ 673178 h 3436871"/>
              <a:gd name="connsiteX8" fmla="*/ 218783 w 2038796"/>
              <a:gd name="connsiteY8" fmla="*/ 948059 h 3436871"/>
              <a:gd name="connsiteX9" fmla="*/ 168294 w 2038796"/>
              <a:gd name="connsiteY9" fmla="*/ 1082695 h 3436871"/>
              <a:gd name="connsiteX10" fmla="*/ 72927 w 2038796"/>
              <a:gd name="connsiteY10" fmla="*/ 1211721 h 3436871"/>
              <a:gd name="connsiteX11" fmla="*/ 0 w 2038796"/>
              <a:gd name="connsiteY11" fmla="*/ 1346356 h 3436871"/>
              <a:gd name="connsiteX12" fmla="*/ 134635 w 2038796"/>
              <a:gd name="connsiteY12" fmla="*/ 1705384 h 3436871"/>
              <a:gd name="connsiteX13" fmla="*/ 241222 w 2038796"/>
              <a:gd name="connsiteY13" fmla="*/ 1778312 h 3436871"/>
              <a:gd name="connsiteX14" fmla="*/ 291710 w 2038796"/>
              <a:gd name="connsiteY14" fmla="*/ 1744653 h 3436871"/>
              <a:gd name="connsiteX15" fmla="*/ 336589 w 2038796"/>
              <a:gd name="connsiteY15" fmla="*/ 1800751 h 3436871"/>
              <a:gd name="connsiteX16" fmla="*/ 387077 w 2038796"/>
              <a:gd name="connsiteY16" fmla="*/ 3326621 h 3436871"/>
              <a:gd name="connsiteX17" fmla="*/ 448785 w 2038796"/>
              <a:gd name="connsiteY17" fmla="*/ 3298572 h 3436871"/>
              <a:gd name="connsiteX18" fmla="*/ 431956 w 2038796"/>
              <a:gd name="connsiteY18" fmla="*/ 2423441 h 3436871"/>
              <a:gd name="connsiteX19" fmla="*/ 482444 w 2038796"/>
              <a:gd name="connsiteY19" fmla="*/ 2434660 h 3436871"/>
              <a:gd name="connsiteX20" fmla="*/ 516103 w 2038796"/>
              <a:gd name="connsiteY20" fmla="*/ 3119058 h 3436871"/>
              <a:gd name="connsiteX21" fmla="*/ 583421 w 2038796"/>
              <a:gd name="connsiteY21" fmla="*/ 3124668 h 3436871"/>
              <a:gd name="connsiteX22" fmla="*/ 572201 w 2038796"/>
              <a:gd name="connsiteY22" fmla="*/ 2457100 h 3436871"/>
              <a:gd name="connsiteX23" fmla="*/ 964888 w 2038796"/>
              <a:gd name="connsiteY23" fmla="*/ 2462710 h 3436871"/>
              <a:gd name="connsiteX24" fmla="*/ 970498 w 2038796"/>
              <a:gd name="connsiteY24" fmla="*/ 2866616 h 3436871"/>
              <a:gd name="connsiteX25" fmla="*/ 1026596 w 2038796"/>
              <a:gd name="connsiteY25" fmla="*/ 2877836 h 3436871"/>
              <a:gd name="connsiteX26" fmla="*/ 1020986 w 2038796"/>
              <a:gd name="connsiteY26" fmla="*/ 3051740 h 3436871"/>
              <a:gd name="connsiteX27" fmla="*/ 1009767 w 2038796"/>
              <a:gd name="connsiteY27" fmla="*/ 3175156 h 3436871"/>
              <a:gd name="connsiteX28" fmla="*/ 1020986 w 2038796"/>
              <a:gd name="connsiteY28" fmla="*/ 3393939 h 3436871"/>
              <a:gd name="connsiteX29" fmla="*/ 1217330 w 2038796"/>
              <a:gd name="connsiteY29" fmla="*/ 3410768 h 3436871"/>
              <a:gd name="connsiteX30" fmla="*/ 1211720 w 2038796"/>
              <a:gd name="connsiteY30" fmla="*/ 3225645 h 3436871"/>
              <a:gd name="connsiteX31" fmla="*/ 1228549 w 2038796"/>
              <a:gd name="connsiteY31" fmla="*/ 3051741 h 3436871"/>
              <a:gd name="connsiteX32" fmla="*/ 1211720 w 2038796"/>
              <a:gd name="connsiteY32" fmla="*/ 2922714 h 3436871"/>
              <a:gd name="connsiteX33" fmla="*/ 1234159 w 2038796"/>
              <a:gd name="connsiteY33" fmla="*/ 2883446 h 3436871"/>
              <a:gd name="connsiteX34" fmla="*/ 1250988 w 2038796"/>
              <a:gd name="connsiteY34" fmla="*/ 2664663 h 3436871"/>
              <a:gd name="connsiteX35" fmla="*/ 1256599 w 2038796"/>
              <a:gd name="connsiteY35" fmla="*/ 2552467 h 3436871"/>
              <a:gd name="connsiteX36" fmla="*/ 1262209 w 2038796"/>
              <a:gd name="connsiteY36" fmla="*/ 2417831 h 3436871"/>
              <a:gd name="connsiteX37" fmla="*/ 1357574 w 2038796"/>
              <a:gd name="connsiteY37" fmla="*/ 2569297 h 3436871"/>
              <a:gd name="connsiteX38" fmla="*/ 1368794 w 2038796"/>
              <a:gd name="connsiteY38" fmla="*/ 3107839 h 3436871"/>
              <a:gd name="connsiteX39" fmla="*/ 1413673 w 2038796"/>
              <a:gd name="connsiteY39" fmla="*/ 3113448 h 3436871"/>
              <a:gd name="connsiteX40" fmla="*/ 1419283 w 2038796"/>
              <a:gd name="connsiteY40" fmla="*/ 2625394 h 3436871"/>
              <a:gd name="connsiteX41" fmla="*/ 1469772 w 2038796"/>
              <a:gd name="connsiteY41" fmla="*/ 2636614 h 3436871"/>
              <a:gd name="connsiteX42" fmla="*/ 1480991 w 2038796"/>
              <a:gd name="connsiteY42" fmla="*/ 3292962 h 3436871"/>
              <a:gd name="connsiteX43" fmla="*/ 1531479 w 2038796"/>
              <a:gd name="connsiteY43" fmla="*/ 3276133 h 3436871"/>
              <a:gd name="connsiteX44" fmla="*/ 1537090 w 2038796"/>
              <a:gd name="connsiteY44" fmla="*/ 2804908 h 3436871"/>
              <a:gd name="connsiteX45" fmla="*/ 1604407 w 2038796"/>
              <a:gd name="connsiteY45" fmla="*/ 2961983 h 3436871"/>
              <a:gd name="connsiteX46" fmla="*/ 1991484 w 2038796"/>
              <a:gd name="connsiteY46" fmla="*/ 2765639 h 3436871"/>
              <a:gd name="connsiteX47" fmla="*/ 1997094 w 2038796"/>
              <a:gd name="connsiteY47" fmla="*/ 2653443 h 3436871"/>
              <a:gd name="connsiteX48" fmla="*/ 1828800 w 2038796"/>
              <a:gd name="connsiteY48" fmla="*/ 2636614 h 3436871"/>
              <a:gd name="connsiteX49" fmla="*/ 1705383 w 2038796"/>
              <a:gd name="connsiteY49" fmla="*/ 2563686 h 3436871"/>
              <a:gd name="connsiteX50" fmla="*/ 1621237 w 2038796"/>
              <a:gd name="connsiteY50" fmla="*/ 2451490 h 3436871"/>
              <a:gd name="connsiteX51" fmla="*/ 1694164 w 2038796"/>
              <a:gd name="connsiteY51" fmla="*/ 2328074 h 3436871"/>
              <a:gd name="connsiteX52" fmla="*/ 1514650 w 2038796"/>
              <a:gd name="connsiteY52" fmla="*/ 2030754 h 3436871"/>
              <a:gd name="connsiteX53" fmla="*/ 1503430 w 2038796"/>
              <a:gd name="connsiteY53" fmla="*/ 1626847 h 3436871"/>
              <a:gd name="connsiteX54" fmla="*/ 1312696 w 2038796"/>
              <a:gd name="connsiteY54" fmla="*/ 1649285 h 3436871"/>
              <a:gd name="connsiteX55" fmla="*/ 1323916 w 2038796"/>
              <a:gd name="connsiteY55" fmla="*/ 1486602 h 3436871"/>
              <a:gd name="connsiteX56" fmla="*/ 1262208 w 2038796"/>
              <a:gd name="connsiteY56" fmla="*/ 1301478 h 3436871"/>
              <a:gd name="connsiteX57" fmla="*/ 1301477 w 2038796"/>
              <a:gd name="connsiteY57" fmla="*/ 1228550 h 3436871"/>
              <a:gd name="connsiteX58" fmla="*/ 1234159 w 2038796"/>
              <a:gd name="connsiteY58" fmla="*/ 1043426 h 3436871"/>
              <a:gd name="connsiteX59" fmla="*/ 1250989 w 2038796"/>
              <a:gd name="connsiteY59" fmla="*/ 847083 h 3436871"/>
              <a:gd name="connsiteX60" fmla="*/ 970498 w 2038796"/>
              <a:gd name="connsiteY60" fmla="*/ 712447 h 3436871"/>
              <a:gd name="connsiteX61" fmla="*/ 1015376 w 2038796"/>
              <a:gd name="connsiteY61" fmla="*/ 622690 h 3436871"/>
              <a:gd name="connsiteX62" fmla="*/ 1150012 w 2038796"/>
              <a:gd name="connsiteY62" fmla="*/ 482445 h 3436871"/>
              <a:gd name="connsiteX63" fmla="*/ 1166841 w 2038796"/>
              <a:gd name="connsiteY63" fmla="*/ 314150 h 3436871"/>
              <a:gd name="connsiteX64" fmla="*/ 1161232 w 2038796"/>
              <a:gd name="connsiteY64" fmla="*/ 196344 h 3436871"/>
              <a:gd name="connsiteX65" fmla="*/ 1065865 w 2038796"/>
              <a:gd name="connsiteY65" fmla="*/ 117807 h 3436871"/>
              <a:gd name="connsiteX66" fmla="*/ 998547 w 2038796"/>
              <a:gd name="connsiteY66" fmla="*/ 72928 h 3436871"/>
              <a:gd name="connsiteX67" fmla="*/ 920010 w 2038796"/>
              <a:gd name="connsiteY67" fmla="*/ 0 h 3436871"/>
              <a:gd name="connsiteX0" fmla="*/ 920010 w 2038796"/>
              <a:gd name="connsiteY0" fmla="*/ 0 h 3436871"/>
              <a:gd name="connsiteX1" fmla="*/ 779764 w 2038796"/>
              <a:gd name="connsiteY1" fmla="*/ 117807 h 3436871"/>
              <a:gd name="connsiteX2" fmla="*/ 751715 w 2038796"/>
              <a:gd name="connsiteY2" fmla="*/ 224393 h 3436871"/>
              <a:gd name="connsiteX3" fmla="*/ 656348 w 2038796"/>
              <a:gd name="connsiteY3" fmla="*/ 403907 h 3436871"/>
              <a:gd name="connsiteX4" fmla="*/ 656348 w 2038796"/>
              <a:gd name="connsiteY4" fmla="*/ 460005 h 3436871"/>
              <a:gd name="connsiteX5" fmla="*/ 673178 w 2038796"/>
              <a:gd name="connsiteY5" fmla="*/ 544153 h 3436871"/>
              <a:gd name="connsiteX6" fmla="*/ 448785 w 2038796"/>
              <a:gd name="connsiteY6" fmla="*/ 656349 h 3436871"/>
              <a:gd name="connsiteX7" fmla="*/ 263661 w 2038796"/>
              <a:gd name="connsiteY7" fmla="*/ 673178 h 3436871"/>
              <a:gd name="connsiteX8" fmla="*/ 218783 w 2038796"/>
              <a:gd name="connsiteY8" fmla="*/ 948059 h 3436871"/>
              <a:gd name="connsiteX9" fmla="*/ 168294 w 2038796"/>
              <a:gd name="connsiteY9" fmla="*/ 1082695 h 3436871"/>
              <a:gd name="connsiteX10" fmla="*/ 72927 w 2038796"/>
              <a:gd name="connsiteY10" fmla="*/ 1211721 h 3436871"/>
              <a:gd name="connsiteX11" fmla="*/ 0 w 2038796"/>
              <a:gd name="connsiteY11" fmla="*/ 1346356 h 3436871"/>
              <a:gd name="connsiteX12" fmla="*/ 134635 w 2038796"/>
              <a:gd name="connsiteY12" fmla="*/ 1705384 h 3436871"/>
              <a:gd name="connsiteX13" fmla="*/ 241222 w 2038796"/>
              <a:gd name="connsiteY13" fmla="*/ 1778312 h 3436871"/>
              <a:gd name="connsiteX14" fmla="*/ 291710 w 2038796"/>
              <a:gd name="connsiteY14" fmla="*/ 1744653 h 3436871"/>
              <a:gd name="connsiteX15" fmla="*/ 336589 w 2038796"/>
              <a:gd name="connsiteY15" fmla="*/ 1800751 h 3436871"/>
              <a:gd name="connsiteX16" fmla="*/ 387077 w 2038796"/>
              <a:gd name="connsiteY16" fmla="*/ 3326621 h 3436871"/>
              <a:gd name="connsiteX17" fmla="*/ 448785 w 2038796"/>
              <a:gd name="connsiteY17" fmla="*/ 3298572 h 3436871"/>
              <a:gd name="connsiteX18" fmla="*/ 431956 w 2038796"/>
              <a:gd name="connsiteY18" fmla="*/ 2423441 h 3436871"/>
              <a:gd name="connsiteX19" fmla="*/ 482444 w 2038796"/>
              <a:gd name="connsiteY19" fmla="*/ 2434660 h 3436871"/>
              <a:gd name="connsiteX20" fmla="*/ 516103 w 2038796"/>
              <a:gd name="connsiteY20" fmla="*/ 3119058 h 3436871"/>
              <a:gd name="connsiteX21" fmla="*/ 583421 w 2038796"/>
              <a:gd name="connsiteY21" fmla="*/ 3124668 h 3436871"/>
              <a:gd name="connsiteX22" fmla="*/ 572201 w 2038796"/>
              <a:gd name="connsiteY22" fmla="*/ 2457100 h 3436871"/>
              <a:gd name="connsiteX23" fmla="*/ 964888 w 2038796"/>
              <a:gd name="connsiteY23" fmla="*/ 2462710 h 3436871"/>
              <a:gd name="connsiteX24" fmla="*/ 970498 w 2038796"/>
              <a:gd name="connsiteY24" fmla="*/ 2866616 h 3436871"/>
              <a:gd name="connsiteX25" fmla="*/ 1026596 w 2038796"/>
              <a:gd name="connsiteY25" fmla="*/ 2877836 h 3436871"/>
              <a:gd name="connsiteX26" fmla="*/ 1020986 w 2038796"/>
              <a:gd name="connsiteY26" fmla="*/ 3051740 h 3436871"/>
              <a:gd name="connsiteX27" fmla="*/ 1009767 w 2038796"/>
              <a:gd name="connsiteY27" fmla="*/ 3175156 h 3436871"/>
              <a:gd name="connsiteX28" fmla="*/ 1020986 w 2038796"/>
              <a:gd name="connsiteY28" fmla="*/ 3393939 h 3436871"/>
              <a:gd name="connsiteX29" fmla="*/ 1217330 w 2038796"/>
              <a:gd name="connsiteY29" fmla="*/ 3410768 h 3436871"/>
              <a:gd name="connsiteX30" fmla="*/ 1211720 w 2038796"/>
              <a:gd name="connsiteY30" fmla="*/ 3225645 h 3436871"/>
              <a:gd name="connsiteX31" fmla="*/ 1228549 w 2038796"/>
              <a:gd name="connsiteY31" fmla="*/ 3051741 h 3436871"/>
              <a:gd name="connsiteX32" fmla="*/ 1211720 w 2038796"/>
              <a:gd name="connsiteY32" fmla="*/ 2922714 h 3436871"/>
              <a:gd name="connsiteX33" fmla="*/ 1234159 w 2038796"/>
              <a:gd name="connsiteY33" fmla="*/ 2883446 h 3436871"/>
              <a:gd name="connsiteX34" fmla="*/ 1250988 w 2038796"/>
              <a:gd name="connsiteY34" fmla="*/ 2664663 h 3436871"/>
              <a:gd name="connsiteX35" fmla="*/ 1256599 w 2038796"/>
              <a:gd name="connsiteY35" fmla="*/ 2552467 h 3436871"/>
              <a:gd name="connsiteX36" fmla="*/ 1262209 w 2038796"/>
              <a:gd name="connsiteY36" fmla="*/ 2417831 h 3436871"/>
              <a:gd name="connsiteX37" fmla="*/ 1357574 w 2038796"/>
              <a:gd name="connsiteY37" fmla="*/ 2569297 h 3436871"/>
              <a:gd name="connsiteX38" fmla="*/ 1368794 w 2038796"/>
              <a:gd name="connsiteY38" fmla="*/ 3107839 h 3436871"/>
              <a:gd name="connsiteX39" fmla="*/ 1413673 w 2038796"/>
              <a:gd name="connsiteY39" fmla="*/ 3113448 h 3436871"/>
              <a:gd name="connsiteX40" fmla="*/ 1419283 w 2038796"/>
              <a:gd name="connsiteY40" fmla="*/ 2625394 h 3436871"/>
              <a:gd name="connsiteX41" fmla="*/ 1469772 w 2038796"/>
              <a:gd name="connsiteY41" fmla="*/ 2636614 h 3436871"/>
              <a:gd name="connsiteX42" fmla="*/ 1480991 w 2038796"/>
              <a:gd name="connsiteY42" fmla="*/ 3292962 h 3436871"/>
              <a:gd name="connsiteX43" fmla="*/ 1531479 w 2038796"/>
              <a:gd name="connsiteY43" fmla="*/ 3276133 h 3436871"/>
              <a:gd name="connsiteX44" fmla="*/ 1537090 w 2038796"/>
              <a:gd name="connsiteY44" fmla="*/ 2804908 h 3436871"/>
              <a:gd name="connsiteX45" fmla="*/ 1604407 w 2038796"/>
              <a:gd name="connsiteY45" fmla="*/ 2961983 h 3436871"/>
              <a:gd name="connsiteX46" fmla="*/ 1991484 w 2038796"/>
              <a:gd name="connsiteY46" fmla="*/ 2765639 h 3436871"/>
              <a:gd name="connsiteX47" fmla="*/ 1997094 w 2038796"/>
              <a:gd name="connsiteY47" fmla="*/ 2653443 h 3436871"/>
              <a:gd name="connsiteX48" fmla="*/ 1828800 w 2038796"/>
              <a:gd name="connsiteY48" fmla="*/ 2636614 h 3436871"/>
              <a:gd name="connsiteX49" fmla="*/ 1705383 w 2038796"/>
              <a:gd name="connsiteY49" fmla="*/ 2563686 h 3436871"/>
              <a:gd name="connsiteX50" fmla="*/ 1621237 w 2038796"/>
              <a:gd name="connsiteY50" fmla="*/ 2451490 h 3436871"/>
              <a:gd name="connsiteX51" fmla="*/ 1694164 w 2038796"/>
              <a:gd name="connsiteY51" fmla="*/ 2328074 h 3436871"/>
              <a:gd name="connsiteX52" fmla="*/ 1514650 w 2038796"/>
              <a:gd name="connsiteY52" fmla="*/ 2030754 h 3436871"/>
              <a:gd name="connsiteX53" fmla="*/ 1503430 w 2038796"/>
              <a:gd name="connsiteY53" fmla="*/ 1626847 h 3436871"/>
              <a:gd name="connsiteX54" fmla="*/ 1312696 w 2038796"/>
              <a:gd name="connsiteY54" fmla="*/ 1649285 h 3436871"/>
              <a:gd name="connsiteX55" fmla="*/ 1323916 w 2038796"/>
              <a:gd name="connsiteY55" fmla="*/ 1486602 h 3436871"/>
              <a:gd name="connsiteX56" fmla="*/ 1262208 w 2038796"/>
              <a:gd name="connsiteY56" fmla="*/ 1346357 h 3436871"/>
              <a:gd name="connsiteX57" fmla="*/ 1301477 w 2038796"/>
              <a:gd name="connsiteY57" fmla="*/ 1228550 h 3436871"/>
              <a:gd name="connsiteX58" fmla="*/ 1234159 w 2038796"/>
              <a:gd name="connsiteY58" fmla="*/ 1043426 h 3436871"/>
              <a:gd name="connsiteX59" fmla="*/ 1250989 w 2038796"/>
              <a:gd name="connsiteY59" fmla="*/ 847083 h 3436871"/>
              <a:gd name="connsiteX60" fmla="*/ 970498 w 2038796"/>
              <a:gd name="connsiteY60" fmla="*/ 712447 h 3436871"/>
              <a:gd name="connsiteX61" fmla="*/ 1015376 w 2038796"/>
              <a:gd name="connsiteY61" fmla="*/ 622690 h 3436871"/>
              <a:gd name="connsiteX62" fmla="*/ 1150012 w 2038796"/>
              <a:gd name="connsiteY62" fmla="*/ 482445 h 3436871"/>
              <a:gd name="connsiteX63" fmla="*/ 1166841 w 2038796"/>
              <a:gd name="connsiteY63" fmla="*/ 314150 h 3436871"/>
              <a:gd name="connsiteX64" fmla="*/ 1161232 w 2038796"/>
              <a:gd name="connsiteY64" fmla="*/ 196344 h 3436871"/>
              <a:gd name="connsiteX65" fmla="*/ 1065865 w 2038796"/>
              <a:gd name="connsiteY65" fmla="*/ 117807 h 3436871"/>
              <a:gd name="connsiteX66" fmla="*/ 998547 w 2038796"/>
              <a:gd name="connsiteY66" fmla="*/ 72928 h 3436871"/>
              <a:gd name="connsiteX67" fmla="*/ 920010 w 2038796"/>
              <a:gd name="connsiteY67" fmla="*/ 0 h 3436871"/>
              <a:gd name="connsiteX0" fmla="*/ 920010 w 2038796"/>
              <a:gd name="connsiteY0" fmla="*/ 0 h 3436871"/>
              <a:gd name="connsiteX1" fmla="*/ 779764 w 2038796"/>
              <a:gd name="connsiteY1" fmla="*/ 117807 h 3436871"/>
              <a:gd name="connsiteX2" fmla="*/ 751715 w 2038796"/>
              <a:gd name="connsiteY2" fmla="*/ 224393 h 3436871"/>
              <a:gd name="connsiteX3" fmla="*/ 656348 w 2038796"/>
              <a:gd name="connsiteY3" fmla="*/ 403907 h 3436871"/>
              <a:gd name="connsiteX4" fmla="*/ 656348 w 2038796"/>
              <a:gd name="connsiteY4" fmla="*/ 460005 h 3436871"/>
              <a:gd name="connsiteX5" fmla="*/ 673178 w 2038796"/>
              <a:gd name="connsiteY5" fmla="*/ 544153 h 3436871"/>
              <a:gd name="connsiteX6" fmla="*/ 448785 w 2038796"/>
              <a:gd name="connsiteY6" fmla="*/ 656349 h 3436871"/>
              <a:gd name="connsiteX7" fmla="*/ 263661 w 2038796"/>
              <a:gd name="connsiteY7" fmla="*/ 673178 h 3436871"/>
              <a:gd name="connsiteX8" fmla="*/ 218783 w 2038796"/>
              <a:gd name="connsiteY8" fmla="*/ 948059 h 3436871"/>
              <a:gd name="connsiteX9" fmla="*/ 168294 w 2038796"/>
              <a:gd name="connsiteY9" fmla="*/ 1082695 h 3436871"/>
              <a:gd name="connsiteX10" fmla="*/ 72927 w 2038796"/>
              <a:gd name="connsiteY10" fmla="*/ 1211721 h 3436871"/>
              <a:gd name="connsiteX11" fmla="*/ 0 w 2038796"/>
              <a:gd name="connsiteY11" fmla="*/ 1346356 h 3436871"/>
              <a:gd name="connsiteX12" fmla="*/ 134635 w 2038796"/>
              <a:gd name="connsiteY12" fmla="*/ 1705384 h 3436871"/>
              <a:gd name="connsiteX13" fmla="*/ 241222 w 2038796"/>
              <a:gd name="connsiteY13" fmla="*/ 1778312 h 3436871"/>
              <a:gd name="connsiteX14" fmla="*/ 291710 w 2038796"/>
              <a:gd name="connsiteY14" fmla="*/ 1744653 h 3436871"/>
              <a:gd name="connsiteX15" fmla="*/ 336589 w 2038796"/>
              <a:gd name="connsiteY15" fmla="*/ 1800751 h 3436871"/>
              <a:gd name="connsiteX16" fmla="*/ 387077 w 2038796"/>
              <a:gd name="connsiteY16" fmla="*/ 3326621 h 3436871"/>
              <a:gd name="connsiteX17" fmla="*/ 448785 w 2038796"/>
              <a:gd name="connsiteY17" fmla="*/ 3298572 h 3436871"/>
              <a:gd name="connsiteX18" fmla="*/ 431956 w 2038796"/>
              <a:gd name="connsiteY18" fmla="*/ 2423441 h 3436871"/>
              <a:gd name="connsiteX19" fmla="*/ 482444 w 2038796"/>
              <a:gd name="connsiteY19" fmla="*/ 2434660 h 3436871"/>
              <a:gd name="connsiteX20" fmla="*/ 516103 w 2038796"/>
              <a:gd name="connsiteY20" fmla="*/ 3119058 h 3436871"/>
              <a:gd name="connsiteX21" fmla="*/ 583421 w 2038796"/>
              <a:gd name="connsiteY21" fmla="*/ 3124668 h 3436871"/>
              <a:gd name="connsiteX22" fmla="*/ 572201 w 2038796"/>
              <a:gd name="connsiteY22" fmla="*/ 2457100 h 3436871"/>
              <a:gd name="connsiteX23" fmla="*/ 964888 w 2038796"/>
              <a:gd name="connsiteY23" fmla="*/ 2462710 h 3436871"/>
              <a:gd name="connsiteX24" fmla="*/ 970498 w 2038796"/>
              <a:gd name="connsiteY24" fmla="*/ 2866616 h 3436871"/>
              <a:gd name="connsiteX25" fmla="*/ 1026596 w 2038796"/>
              <a:gd name="connsiteY25" fmla="*/ 2877836 h 3436871"/>
              <a:gd name="connsiteX26" fmla="*/ 1020986 w 2038796"/>
              <a:gd name="connsiteY26" fmla="*/ 3051740 h 3436871"/>
              <a:gd name="connsiteX27" fmla="*/ 1009767 w 2038796"/>
              <a:gd name="connsiteY27" fmla="*/ 3175156 h 3436871"/>
              <a:gd name="connsiteX28" fmla="*/ 1020986 w 2038796"/>
              <a:gd name="connsiteY28" fmla="*/ 3393939 h 3436871"/>
              <a:gd name="connsiteX29" fmla="*/ 1217330 w 2038796"/>
              <a:gd name="connsiteY29" fmla="*/ 3410768 h 3436871"/>
              <a:gd name="connsiteX30" fmla="*/ 1211720 w 2038796"/>
              <a:gd name="connsiteY30" fmla="*/ 3225645 h 3436871"/>
              <a:gd name="connsiteX31" fmla="*/ 1228549 w 2038796"/>
              <a:gd name="connsiteY31" fmla="*/ 3051741 h 3436871"/>
              <a:gd name="connsiteX32" fmla="*/ 1211720 w 2038796"/>
              <a:gd name="connsiteY32" fmla="*/ 2922714 h 3436871"/>
              <a:gd name="connsiteX33" fmla="*/ 1234159 w 2038796"/>
              <a:gd name="connsiteY33" fmla="*/ 2883446 h 3436871"/>
              <a:gd name="connsiteX34" fmla="*/ 1250988 w 2038796"/>
              <a:gd name="connsiteY34" fmla="*/ 2664663 h 3436871"/>
              <a:gd name="connsiteX35" fmla="*/ 1256599 w 2038796"/>
              <a:gd name="connsiteY35" fmla="*/ 2552467 h 3436871"/>
              <a:gd name="connsiteX36" fmla="*/ 1262209 w 2038796"/>
              <a:gd name="connsiteY36" fmla="*/ 2417831 h 3436871"/>
              <a:gd name="connsiteX37" fmla="*/ 1357574 w 2038796"/>
              <a:gd name="connsiteY37" fmla="*/ 2569297 h 3436871"/>
              <a:gd name="connsiteX38" fmla="*/ 1368794 w 2038796"/>
              <a:gd name="connsiteY38" fmla="*/ 3107839 h 3436871"/>
              <a:gd name="connsiteX39" fmla="*/ 1413673 w 2038796"/>
              <a:gd name="connsiteY39" fmla="*/ 3113448 h 3436871"/>
              <a:gd name="connsiteX40" fmla="*/ 1419283 w 2038796"/>
              <a:gd name="connsiteY40" fmla="*/ 2625394 h 3436871"/>
              <a:gd name="connsiteX41" fmla="*/ 1469772 w 2038796"/>
              <a:gd name="connsiteY41" fmla="*/ 2636614 h 3436871"/>
              <a:gd name="connsiteX42" fmla="*/ 1480991 w 2038796"/>
              <a:gd name="connsiteY42" fmla="*/ 3292962 h 3436871"/>
              <a:gd name="connsiteX43" fmla="*/ 1531479 w 2038796"/>
              <a:gd name="connsiteY43" fmla="*/ 3276133 h 3436871"/>
              <a:gd name="connsiteX44" fmla="*/ 1537090 w 2038796"/>
              <a:gd name="connsiteY44" fmla="*/ 2804908 h 3436871"/>
              <a:gd name="connsiteX45" fmla="*/ 1604407 w 2038796"/>
              <a:gd name="connsiteY45" fmla="*/ 2961983 h 3436871"/>
              <a:gd name="connsiteX46" fmla="*/ 1991484 w 2038796"/>
              <a:gd name="connsiteY46" fmla="*/ 2765639 h 3436871"/>
              <a:gd name="connsiteX47" fmla="*/ 1997094 w 2038796"/>
              <a:gd name="connsiteY47" fmla="*/ 2653443 h 3436871"/>
              <a:gd name="connsiteX48" fmla="*/ 1828800 w 2038796"/>
              <a:gd name="connsiteY48" fmla="*/ 2636614 h 3436871"/>
              <a:gd name="connsiteX49" fmla="*/ 1705383 w 2038796"/>
              <a:gd name="connsiteY49" fmla="*/ 2563686 h 3436871"/>
              <a:gd name="connsiteX50" fmla="*/ 1621237 w 2038796"/>
              <a:gd name="connsiteY50" fmla="*/ 2451490 h 3436871"/>
              <a:gd name="connsiteX51" fmla="*/ 1694164 w 2038796"/>
              <a:gd name="connsiteY51" fmla="*/ 2328074 h 3436871"/>
              <a:gd name="connsiteX52" fmla="*/ 1514650 w 2038796"/>
              <a:gd name="connsiteY52" fmla="*/ 2030754 h 3436871"/>
              <a:gd name="connsiteX53" fmla="*/ 1503430 w 2038796"/>
              <a:gd name="connsiteY53" fmla="*/ 1626847 h 3436871"/>
              <a:gd name="connsiteX54" fmla="*/ 1312696 w 2038796"/>
              <a:gd name="connsiteY54" fmla="*/ 1649285 h 3436871"/>
              <a:gd name="connsiteX55" fmla="*/ 1323916 w 2038796"/>
              <a:gd name="connsiteY55" fmla="*/ 1486602 h 3436871"/>
              <a:gd name="connsiteX56" fmla="*/ 1262208 w 2038796"/>
              <a:gd name="connsiteY56" fmla="*/ 1346357 h 3436871"/>
              <a:gd name="connsiteX57" fmla="*/ 1284648 w 2038796"/>
              <a:gd name="connsiteY57" fmla="*/ 1239770 h 3436871"/>
              <a:gd name="connsiteX58" fmla="*/ 1234159 w 2038796"/>
              <a:gd name="connsiteY58" fmla="*/ 1043426 h 3436871"/>
              <a:gd name="connsiteX59" fmla="*/ 1250989 w 2038796"/>
              <a:gd name="connsiteY59" fmla="*/ 847083 h 3436871"/>
              <a:gd name="connsiteX60" fmla="*/ 970498 w 2038796"/>
              <a:gd name="connsiteY60" fmla="*/ 712447 h 3436871"/>
              <a:gd name="connsiteX61" fmla="*/ 1015376 w 2038796"/>
              <a:gd name="connsiteY61" fmla="*/ 622690 h 3436871"/>
              <a:gd name="connsiteX62" fmla="*/ 1150012 w 2038796"/>
              <a:gd name="connsiteY62" fmla="*/ 482445 h 3436871"/>
              <a:gd name="connsiteX63" fmla="*/ 1166841 w 2038796"/>
              <a:gd name="connsiteY63" fmla="*/ 314150 h 3436871"/>
              <a:gd name="connsiteX64" fmla="*/ 1161232 w 2038796"/>
              <a:gd name="connsiteY64" fmla="*/ 196344 h 3436871"/>
              <a:gd name="connsiteX65" fmla="*/ 1065865 w 2038796"/>
              <a:gd name="connsiteY65" fmla="*/ 117807 h 3436871"/>
              <a:gd name="connsiteX66" fmla="*/ 998547 w 2038796"/>
              <a:gd name="connsiteY66" fmla="*/ 72928 h 3436871"/>
              <a:gd name="connsiteX67" fmla="*/ 920010 w 2038796"/>
              <a:gd name="connsiteY67" fmla="*/ 0 h 3436871"/>
              <a:gd name="connsiteX0" fmla="*/ 920010 w 2038796"/>
              <a:gd name="connsiteY0" fmla="*/ 0 h 3436871"/>
              <a:gd name="connsiteX1" fmla="*/ 779764 w 2038796"/>
              <a:gd name="connsiteY1" fmla="*/ 117807 h 3436871"/>
              <a:gd name="connsiteX2" fmla="*/ 751715 w 2038796"/>
              <a:gd name="connsiteY2" fmla="*/ 224393 h 3436871"/>
              <a:gd name="connsiteX3" fmla="*/ 656348 w 2038796"/>
              <a:gd name="connsiteY3" fmla="*/ 403907 h 3436871"/>
              <a:gd name="connsiteX4" fmla="*/ 656348 w 2038796"/>
              <a:gd name="connsiteY4" fmla="*/ 460005 h 3436871"/>
              <a:gd name="connsiteX5" fmla="*/ 673178 w 2038796"/>
              <a:gd name="connsiteY5" fmla="*/ 544153 h 3436871"/>
              <a:gd name="connsiteX6" fmla="*/ 448785 w 2038796"/>
              <a:gd name="connsiteY6" fmla="*/ 656349 h 3436871"/>
              <a:gd name="connsiteX7" fmla="*/ 263661 w 2038796"/>
              <a:gd name="connsiteY7" fmla="*/ 673178 h 3436871"/>
              <a:gd name="connsiteX8" fmla="*/ 218783 w 2038796"/>
              <a:gd name="connsiteY8" fmla="*/ 948059 h 3436871"/>
              <a:gd name="connsiteX9" fmla="*/ 168294 w 2038796"/>
              <a:gd name="connsiteY9" fmla="*/ 1082695 h 3436871"/>
              <a:gd name="connsiteX10" fmla="*/ 72927 w 2038796"/>
              <a:gd name="connsiteY10" fmla="*/ 1211721 h 3436871"/>
              <a:gd name="connsiteX11" fmla="*/ 0 w 2038796"/>
              <a:gd name="connsiteY11" fmla="*/ 1346356 h 3436871"/>
              <a:gd name="connsiteX12" fmla="*/ 134635 w 2038796"/>
              <a:gd name="connsiteY12" fmla="*/ 1705384 h 3436871"/>
              <a:gd name="connsiteX13" fmla="*/ 241222 w 2038796"/>
              <a:gd name="connsiteY13" fmla="*/ 1778312 h 3436871"/>
              <a:gd name="connsiteX14" fmla="*/ 291710 w 2038796"/>
              <a:gd name="connsiteY14" fmla="*/ 1744653 h 3436871"/>
              <a:gd name="connsiteX15" fmla="*/ 336589 w 2038796"/>
              <a:gd name="connsiteY15" fmla="*/ 1800751 h 3436871"/>
              <a:gd name="connsiteX16" fmla="*/ 387077 w 2038796"/>
              <a:gd name="connsiteY16" fmla="*/ 3326621 h 3436871"/>
              <a:gd name="connsiteX17" fmla="*/ 448785 w 2038796"/>
              <a:gd name="connsiteY17" fmla="*/ 3298572 h 3436871"/>
              <a:gd name="connsiteX18" fmla="*/ 431956 w 2038796"/>
              <a:gd name="connsiteY18" fmla="*/ 2423441 h 3436871"/>
              <a:gd name="connsiteX19" fmla="*/ 482444 w 2038796"/>
              <a:gd name="connsiteY19" fmla="*/ 2434660 h 3436871"/>
              <a:gd name="connsiteX20" fmla="*/ 516103 w 2038796"/>
              <a:gd name="connsiteY20" fmla="*/ 3119058 h 3436871"/>
              <a:gd name="connsiteX21" fmla="*/ 583421 w 2038796"/>
              <a:gd name="connsiteY21" fmla="*/ 3124668 h 3436871"/>
              <a:gd name="connsiteX22" fmla="*/ 572201 w 2038796"/>
              <a:gd name="connsiteY22" fmla="*/ 2457100 h 3436871"/>
              <a:gd name="connsiteX23" fmla="*/ 964888 w 2038796"/>
              <a:gd name="connsiteY23" fmla="*/ 2462710 h 3436871"/>
              <a:gd name="connsiteX24" fmla="*/ 970498 w 2038796"/>
              <a:gd name="connsiteY24" fmla="*/ 2866616 h 3436871"/>
              <a:gd name="connsiteX25" fmla="*/ 1026596 w 2038796"/>
              <a:gd name="connsiteY25" fmla="*/ 2877836 h 3436871"/>
              <a:gd name="connsiteX26" fmla="*/ 1020986 w 2038796"/>
              <a:gd name="connsiteY26" fmla="*/ 3051740 h 3436871"/>
              <a:gd name="connsiteX27" fmla="*/ 1009767 w 2038796"/>
              <a:gd name="connsiteY27" fmla="*/ 3175156 h 3436871"/>
              <a:gd name="connsiteX28" fmla="*/ 1020986 w 2038796"/>
              <a:gd name="connsiteY28" fmla="*/ 3393939 h 3436871"/>
              <a:gd name="connsiteX29" fmla="*/ 1217330 w 2038796"/>
              <a:gd name="connsiteY29" fmla="*/ 3410768 h 3436871"/>
              <a:gd name="connsiteX30" fmla="*/ 1211720 w 2038796"/>
              <a:gd name="connsiteY30" fmla="*/ 3225645 h 3436871"/>
              <a:gd name="connsiteX31" fmla="*/ 1228549 w 2038796"/>
              <a:gd name="connsiteY31" fmla="*/ 3051741 h 3436871"/>
              <a:gd name="connsiteX32" fmla="*/ 1211720 w 2038796"/>
              <a:gd name="connsiteY32" fmla="*/ 2922714 h 3436871"/>
              <a:gd name="connsiteX33" fmla="*/ 1234159 w 2038796"/>
              <a:gd name="connsiteY33" fmla="*/ 2883446 h 3436871"/>
              <a:gd name="connsiteX34" fmla="*/ 1250988 w 2038796"/>
              <a:gd name="connsiteY34" fmla="*/ 2664663 h 3436871"/>
              <a:gd name="connsiteX35" fmla="*/ 1256599 w 2038796"/>
              <a:gd name="connsiteY35" fmla="*/ 2552467 h 3436871"/>
              <a:gd name="connsiteX36" fmla="*/ 1262209 w 2038796"/>
              <a:gd name="connsiteY36" fmla="*/ 2417831 h 3436871"/>
              <a:gd name="connsiteX37" fmla="*/ 1357574 w 2038796"/>
              <a:gd name="connsiteY37" fmla="*/ 2569297 h 3436871"/>
              <a:gd name="connsiteX38" fmla="*/ 1368794 w 2038796"/>
              <a:gd name="connsiteY38" fmla="*/ 3107839 h 3436871"/>
              <a:gd name="connsiteX39" fmla="*/ 1413673 w 2038796"/>
              <a:gd name="connsiteY39" fmla="*/ 3113448 h 3436871"/>
              <a:gd name="connsiteX40" fmla="*/ 1419283 w 2038796"/>
              <a:gd name="connsiteY40" fmla="*/ 2625394 h 3436871"/>
              <a:gd name="connsiteX41" fmla="*/ 1469772 w 2038796"/>
              <a:gd name="connsiteY41" fmla="*/ 2636614 h 3436871"/>
              <a:gd name="connsiteX42" fmla="*/ 1480991 w 2038796"/>
              <a:gd name="connsiteY42" fmla="*/ 3292962 h 3436871"/>
              <a:gd name="connsiteX43" fmla="*/ 1531479 w 2038796"/>
              <a:gd name="connsiteY43" fmla="*/ 3276133 h 3436871"/>
              <a:gd name="connsiteX44" fmla="*/ 1537090 w 2038796"/>
              <a:gd name="connsiteY44" fmla="*/ 2804908 h 3436871"/>
              <a:gd name="connsiteX45" fmla="*/ 1604407 w 2038796"/>
              <a:gd name="connsiteY45" fmla="*/ 2961983 h 3436871"/>
              <a:gd name="connsiteX46" fmla="*/ 1991484 w 2038796"/>
              <a:gd name="connsiteY46" fmla="*/ 2765639 h 3436871"/>
              <a:gd name="connsiteX47" fmla="*/ 1997094 w 2038796"/>
              <a:gd name="connsiteY47" fmla="*/ 2653443 h 3436871"/>
              <a:gd name="connsiteX48" fmla="*/ 1828800 w 2038796"/>
              <a:gd name="connsiteY48" fmla="*/ 2636614 h 3436871"/>
              <a:gd name="connsiteX49" fmla="*/ 1705383 w 2038796"/>
              <a:gd name="connsiteY49" fmla="*/ 2563686 h 3436871"/>
              <a:gd name="connsiteX50" fmla="*/ 1621237 w 2038796"/>
              <a:gd name="connsiteY50" fmla="*/ 2451490 h 3436871"/>
              <a:gd name="connsiteX51" fmla="*/ 1694164 w 2038796"/>
              <a:gd name="connsiteY51" fmla="*/ 2328074 h 3436871"/>
              <a:gd name="connsiteX52" fmla="*/ 1514650 w 2038796"/>
              <a:gd name="connsiteY52" fmla="*/ 2030754 h 3436871"/>
              <a:gd name="connsiteX53" fmla="*/ 1503430 w 2038796"/>
              <a:gd name="connsiteY53" fmla="*/ 1626847 h 3436871"/>
              <a:gd name="connsiteX54" fmla="*/ 1312696 w 2038796"/>
              <a:gd name="connsiteY54" fmla="*/ 1649285 h 3436871"/>
              <a:gd name="connsiteX55" fmla="*/ 1323916 w 2038796"/>
              <a:gd name="connsiteY55" fmla="*/ 1486602 h 3436871"/>
              <a:gd name="connsiteX56" fmla="*/ 1262208 w 2038796"/>
              <a:gd name="connsiteY56" fmla="*/ 1346357 h 3436871"/>
              <a:gd name="connsiteX57" fmla="*/ 1284648 w 2038796"/>
              <a:gd name="connsiteY57" fmla="*/ 1239770 h 3436871"/>
              <a:gd name="connsiteX58" fmla="*/ 1256599 w 2038796"/>
              <a:gd name="connsiteY58" fmla="*/ 1077085 h 3436871"/>
              <a:gd name="connsiteX59" fmla="*/ 1250989 w 2038796"/>
              <a:gd name="connsiteY59" fmla="*/ 847083 h 3436871"/>
              <a:gd name="connsiteX60" fmla="*/ 970498 w 2038796"/>
              <a:gd name="connsiteY60" fmla="*/ 712447 h 3436871"/>
              <a:gd name="connsiteX61" fmla="*/ 1015376 w 2038796"/>
              <a:gd name="connsiteY61" fmla="*/ 622690 h 3436871"/>
              <a:gd name="connsiteX62" fmla="*/ 1150012 w 2038796"/>
              <a:gd name="connsiteY62" fmla="*/ 482445 h 3436871"/>
              <a:gd name="connsiteX63" fmla="*/ 1166841 w 2038796"/>
              <a:gd name="connsiteY63" fmla="*/ 314150 h 3436871"/>
              <a:gd name="connsiteX64" fmla="*/ 1161232 w 2038796"/>
              <a:gd name="connsiteY64" fmla="*/ 196344 h 3436871"/>
              <a:gd name="connsiteX65" fmla="*/ 1065865 w 2038796"/>
              <a:gd name="connsiteY65" fmla="*/ 117807 h 3436871"/>
              <a:gd name="connsiteX66" fmla="*/ 998547 w 2038796"/>
              <a:gd name="connsiteY66" fmla="*/ 72928 h 3436871"/>
              <a:gd name="connsiteX67" fmla="*/ 920010 w 2038796"/>
              <a:gd name="connsiteY67" fmla="*/ 0 h 3436871"/>
              <a:gd name="connsiteX0" fmla="*/ 920010 w 2038796"/>
              <a:gd name="connsiteY0" fmla="*/ 0 h 3436871"/>
              <a:gd name="connsiteX1" fmla="*/ 779764 w 2038796"/>
              <a:gd name="connsiteY1" fmla="*/ 117807 h 3436871"/>
              <a:gd name="connsiteX2" fmla="*/ 751715 w 2038796"/>
              <a:gd name="connsiteY2" fmla="*/ 224393 h 3436871"/>
              <a:gd name="connsiteX3" fmla="*/ 656348 w 2038796"/>
              <a:gd name="connsiteY3" fmla="*/ 403907 h 3436871"/>
              <a:gd name="connsiteX4" fmla="*/ 656348 w 2038796"/>
              <a:gd name="connsiteY4" fmla="*/ 460005 h 3436871"/>
              <a:gd name="connsiteX5" fmla="*/ 673178 w 2038796"/>
              <a:gd name="connsiteY5" fmla="*/ 544153 h 3436871"/>
              <a:gd name="connsiteX6" fmla="*/ 448785 w 2038796"/>
              <a:gd name="connsiteY6" fmla="*/ 656349 h 3436871"/>
              <a:gd name="connsiteX7" fmla="*/ 263661 w 2038796"/>
              <a:gd name="connsiteY7" fmla="*/ 673178 h 3436871"/>
              <a:gd name="connsiteX8" fmla="*/ 218783 w 2038796"/>
              <a:gd name="connsiteY8" fmla="*/ 948059 h 3436871"/>
              <a:gd name="connsiteX9" fmla="*/ 168294 w 2038796"/>
              <a:gd name="connsiteY9" fmla="*/ 1082695 h 3436871"/>
              <a:gd name="connsiteX10" fmla="*/ 72927 w 2038796"/>
              <a:gd name="connsiteY10" fmla="*/ 1211721 h 3436871"/>
              <a:gd name="connsiteX11" fmla="*/ 0 w 2038796"/>
              <a:gd name="connsiteY11" fmla="*/ 1346356 h 3436871"/>
              <a:gd name="connsiteX12" fmla="*/ 134635 w 2038796"/>
              <a:gd name="connsiteY12" fmla="*/ 1705384 h 3436871"/>
              <a:gd name="connsiteX13" fmla="*/ 241222 w 2038796"/>
              <a:gd name="connsiteY13" fmla="*/ 1778312 h 3436871"/>
              <a:gd name="connsiteX14" fmla="*/ 291710 w 2038796"/>
              <a:gd name="connsiteY14" fmla="*/ 1744653 h 3436871"/>
              <a:gd name="connsiteX15" fmla="*/ 336589 w 2038796"/>
              <a:gd name="connsiteY15" fmla="*/ 1800751 h 3436871"/>
              <a:gd name="connsiteX16" fmla="*/ 387077 w 2038796"/>
              <a:gd name="connsiteY16" fmla="*/ 3326621 h 3436871"/>
              <a:gd name="connsiteX17" fmla="*/ 448785 w 2038796"/>
              <a:gd name="connsiteY17" fmla="*/ 3298572 h 3436871"/>
              <a:gd name="connsiteX18" fmla="*/ 431956 w 2038796"/>
              <a:gd name="connsiteY18" fmla="*/ 2423441 h 3436871"/>
              <a:gd name="connsiteX19" fmla="*/ 482444 w 2038796"/>
              <a:gd name="connsiteY19" fmla="*/ 2434660 h 3436871"/>
              <a:gd name="connsiteX20" fmla="*/ 516103 w 2038796"/>
              <a:gd name="connsiteY20" fmla="*/ 3119058 h 3436871"/>
              <a:gd name="connsiteX21" fmla="*/ 583421 w 2038796"/>
              <a:gd name="connsiteY21" fmla="*/ 3124668 h 3436871"/>
              <a:gd name="connsiteX22" fmla="*/ 572201 w 2038796"/>
              <a:gd name="connsiteY22" fmla="*/ 2457100 h 3436871"/>
              <a:gd name="connsiteX23" fmla="*/ 964888 w 2038796"/>
              <a:gd name="connsiteY23" fmla="*/ 2462710 h 3436871"/>
              <a:gd name="connsiteX24" fmla="*/ 970498 w 2038796"/>
              <a:gd name="connsiteY24" fmla="*/ 2866616 h 3436871"/>
              <a:gd name="connsiteX25" fmla="*/ 1026596 w 2038796"/>
              <a:gd name="connsiteY25" fmla="*/ 2877836 h 3436871"/>
              <a:gd name="connsiteX26" fmla="*/ 1020986 w 2038796"/>
              <a:gd name="connsiteY26" fmla="*/ 3051740 h 3436871"/>
              <a:gd name="connsiteX27" fmla="*/ 1009767 w 2038796"/>
              <a:gd name="connsiteY27" fmla="*/ 3175156 h 3436871"/>
              <a:gd name="connsiteX28" fmla="*/ 1020986 w 2038796"/>
              <a:gd name="connsiteY28" fmla="*/ 3393939 h 3436871"/>
              <a:gd name="connsiteX29" fmla="*/ 1217330 w 2038796"/>
              <a:gd name="connsiteY29" fmla="*/ 3410768 h 3436871"/>
              <a:gd name="connsiteX30" fmla="*/ 1211720 w 2038796"/>
              <a:gd name="connsiteY30" fmla="*/ 3225645 h 3436871"/>
              <a:gd name="connsiteX31" fmla="*/ 1228549 w 2038796"/>
              <a:gd name="connsiteY31" fmla="*/ 3051741 h 3436871"/>
              <a:gd name="connsiteX32" fmla="*/ 1211720 w 2038796"/>
              <a:gd name="connsiteY32" fmla="*/ 2922714 h 3436871"/>
              <a:gd name="connsiteX33" fmla="*/ 1234159 w 2038796"/>
              <a:gd name="connsiteY33" fmla="*/ 2883446 h 3436871"/>
              <a:gd name="connsiteX34" fmla="*/ 1250988 w 2038796"/>
              <a:gd name="connsiteY34" fmla="*/ 2664663 h 3436871"/>
              <a:gd name="connsiteX35" fmla="*/ 1256599 w 2038796"/>
              <a:gd name="connsiteY35" fmla="*/ 2552467 h 3436871"/>
              <a:gd name="connsiteX36" fmla="*/ 1262209 w 2038796"/>
              <a:gd name="connsiteY36" fmla="*/ 2417831 h 3436871"/>
              <a:gd name="connsiteX37" fmla="*/ 1357574 w 2038796"/>
              <a:gd name="connsiteY37" fmla="*/ 2569297 h 3436871"/>
              <a:gd name="connsiteX38" fmla="*/ 1368794 w 2038796"/>
              <a:gd name="connsiteY38" fmla="*/ 3107839 h 3436871"/>
              <a:gd name="connsiteX39" fmla="*/ 1413673 w 2038796"/>
              <a:gd name="connsiteY39" fmla="*/ 3113448 h 3436871"/>
              <a:gd name="connsiteX40" fmla="*/ 1419283 w 2038796"/>
              <a:gd name="connsiteY40" fmla="*/ 2625394 h 3436871"/>
              <a:gd name="connsiteX41" fmla="*/ 1469772 w 2038796"/>
              <a:gd name="connsiteY41" fmla="*/ 2636614 h 3436871"/>
              <a:gd name="connsiteX42" fmla="*/ 1480991 w 2038796"/>
              <a:gd name="connsiteY42" fmla="*/ 3292962 h 3436871"/>
              <a:gd name="connsiteX43" fmla="*/ 1531479 w 2038796"/>
              <a:gd name="connsiteY43" fmla="*/ 3276133 h 3436871"/>
              <a:gd name="connsiteX44" fmla="*/ 1537090 w 2038796"/>
              <a:gd name="connsiteY44" fmla="*/ 2804908 h 3436871"/>
              <a:gd name="connsiteX45" fmla="*/ 1604407 w 2038796"/>
              <a:gd name="connsiteY45" fmla="*/ 2961983 h 3436871"/>
              <a:gd name="connsiteX46" fmla="*/ 1991484 w 2038796"/>
              <a:gd name="connsiteY46" fmla="*/ 2765639 h 3436871"/>
              <a:gd name="connsiteX47" fmla="*/ 1997094 w 2038796"/>
              <a:gd name="connsiteY47" fmla="*/ 2653443 h 3436871"/>
              <a:gd name="connsiteX48" fmla="*/ 1828800 w 2038796"/>
              <a:gd name="connsiteY48" fmla="*/ 2636614 h 3436871"/>
              <a:gd name="connsiteX49" fmla="*/ 1705383 w 2038796"/>
              <a:gd name="connsiteY49" fmla="*/ 2563686 h 3436871"/>
              <a:gd name="connsiteX50" fmla="*/ 1621237 w 2038796"/>
              <a:gd name="connsiteY50" fmla="*/ 2451490 h 3436871"/>
              <a:gd name="connsiteX51" fmla="*/ 1694164 w 2038796"/>
              <a:gd name="connsiteY51" fmla="*/ 2328074 h 3436871"/>
              <a:gd name="connsiteX52" fmla="*/ 1514650 w 2038796"/>
              <a:gd name="connsiteY52" fmla="*/ 2030754 h 3436871"/>
              <a:gd name="connsiteX53" fmla="*/ 1503430 w 2038796"/>
              <a:gd name="connsiteY53" fmla="*/ 1626847 h 3436871"/>
              <a:gd name="connsiteX54" fmla="*/ 1312696 w 2038796"/>
              <a:gd name="connsiteY54" fmla="*/ 1649285 h 3436871"/>
              <a:gd name="connsiteX55" fmla="*/ 1323916 w 2038796"/>
              <a:gd name="connsiteY55" fmla="*/ 1486602 h 3436871"/>
              <a:gd name="connsiteX56" fmla="*/ 1262208 w 2038796"/>
              <a:gd name="connsiteY56" fmla="*/ 1346357 h 3436871"/>
              <a:gd name="connsiteX57" fmla="*/ 1284648 w 2038796"/>
              <a:gd name="connsiteY57" fmla="*/ 1239770 h 3436871"/>
              <a:gd name="connsiteX58" fmla="*/ 1256599 w 2038796"/>
              <a:gd name="connsiteY58" fmla="*/ 1077085 h 3436871"/>
              <a:gd name="connsiteX59" fmla="*/ 1256599 w 2038796"/>
              <a:gd name="connsiteY59" fmla="*/ 880742 h 3436871"/>
              <a:gd name="connsiteX60" fmla="*/ 970498 w 2038796"/>
              <a:gd name="connsiteY60" fmla="*/ 712447 h 3436871"/>
              <a:gd name="connsiteX61" fmla="*/ 1015376 w 2038796"/>
              <a:gd name="connsiteY61" fmla="*/ 622690 h 3436871"/>
              <a:gd name="connsiteX62" fmla="*/ 1150012 w 2038796"/>
              <a:gd name="connsiteY62" fmla="*/ 482445 h 3436871"/>
              <a:gd name="connsiteX63" fmla="*/ 1166841 w 2038796"/>
              <a:gd name="connsiteY63" fmla="*/ 314150 h 3436871"/>
              <a:gd name="connsiteX64" fmla="*/ 1161232 w 2038796"/>
              <a:gd name="connsiteY64" fmla="*/ 196344 h 3436871"/>
              <a:gd name="connsiteX65" fmla="*/ 1065865 w 2038796"/>
              <a:gd name="connsiteY65" fmla="*/ 117807 h 3436871"/>
              <a:gd name="connsiteX66" fmla="*/ 998547 w 2038796"/>
              <a:gd name="connsiteY66" fmla="*/ 72928 h 3436871"/>
              <a:gd name="connsiteX67" fmla="*/ 920010 w 2038796"/>
              <a:gd name="connsiteY67" fmla="*/ 0 h 3436871"/>
              <a:gd name="connsiteX0" fmla="*/ 920010 w 2038796"/>
              <a:gd name="connsiteY0" fmla="*/ 0 h 3436871"/>
              <a:gd name="connsiteX1" fmla="*/ 779764 w 2038796"/>
              <a:gd name="connsiteY1" fmla="*/ 117807 h 3436871"/>
              <a:gd name="connsiteX2" fmla="*/ 751715 w 2038796"/>
              <a:gd name="connsiteY2" fmla="*/ 224393 h 3436871"/>
              <a:gd name="connsiteX3" fmla="*/ 656348 w 2038796"/>
              <a:gd name="connsiteY3" fmla="*/ 403907 h 3436871"/>
              <a:gd name="connsiteX4" fmla="*/ 656348 w 2038796"/>
              <a:gd name="connsiteY4" fmla="*/ 460005 h 3436871"/>
              <a:gd name="connsiteX5" fmla="*/ 673178 w 2038796"/>
              <a:gd name="connsiteY5" fmla="*/ 544153 h 3436871"/>
              <a:gd name="connsiteX6" fmla="*/ 448785 w 2038796"/>
              <a:gd name="connsiteY6" fmla="*/ 656349 h 3436871"/>
              <a:gd name="connsiteX7" fmla="*/ 263661 w 2038796"/>
              <a:gd name="connsiteY7" fmla="*/ 673178 h 3436871"/>
              <a:gd name="connsiteX8" fmla="*/ 218783 w 2038796"/>
              <a:gd name="connsiteY8" fmla="*/ 948059 h 3436871"/>
              <a:gd name="connsiteX9" fmla="*/ 168294 w 2038796"/>
              <a:gd name="connsiteY9" fmla="*/ 1082695 h 3436871"/>
              <a:gd name="connsiteX10" fmla="*/ 72927 w 2038796"/>
              <a:gd name="connsiteY10" fmla="*/ 1211721 h 3436871"/>
              <a:gd name="connsiteX11" fmla="*/ 0 w 2038796"/>
              <a:gd name="connsiteY11" fmla="*/ 1346356 h 3436871"/>
              <a:gd name="connsiteX12" fmla="*/ 134635 w 2038796"/>
              <a:gd name="connsiteY12" fmla="*/ 1705384 h 3436871"/>
              <a:gd name="connsiteX13" fmla="*/ 241222 w 2038796"/>
              <a:gd name="connsiteY13" fmla="*/ 1778312 h 3436871"/>
              <a:gd name="connsiteX14" fmla="*/ 291710 w 2038796"/>
              <a:gd name="connsiteY14" fmla="*/ 1744653 h 3436871"/>
              <a:gd name="connsiteX15" fmla="*/ 336589 w 2038796"/>
              <a:gd name="connsiteY15" fmla="*/ 1800751 h 3436871"/>
              <a:gd name="connsiteX16" fmla="*/ 387077 w 2038796"/>
              <a:gd name="connsiteY16" fmla="*/ 3326621 h 3436871"/>
              <a:gd name="connsiteX17" fmla="*/ 448785 w 2038796"/>
              <a:gd name="connsiteY17" fmla="*/ 3298572 h 3436871"/>
              <a:gd name="connsiteX18" fmla="*/ 431956 w 2038796"/>
              <a:gd name="connsiteY18" fmla="*/ 2423441 h 3436871"/>
              <a:gd name="connsiteX19" fmla="*/ 482444 w 2038796"/>
              <a:gd name="connsiteY19" fmla="*/ 2434660 h 3436871"/>
              <a:gd name="connsiteX20" fmla="*/ 516103 w 2038796"/>
              <a:gd name="connsiteY20" fmla="*/ 3119058 h 3436871"/>
              <a:gd name="connsiteX21" fmla="*/ 583421 w 2038796"/>
              <a:gd name="connsiteY21" fmla="*/ 3124668 h 3436871"/>
              <a:gd name="connsiteX22" fmla="*/ 572201 w 2038796"/>
              <a:gd name="connsiteY22" fmla="*/ 2457100 h 3436871"/>
              <a:gd name="connsiteX23" fmla="*/ 964888 w 2038796"/>
              <a:gd name="connsiteY23" fmla="*/ 2462710 h 3436871"/>
              <a:gd name="connsiteX24" fmla="*/ 970498 w 2038796"/>
              <a:gd name="connsiteY24" fmla="*/ 2866616 h 3436871"/>
              <a:gd name="connsiteX25" fmla="*/ 1026596 w 2038796"/>
              <a:gd name="connsiteY25" fmla="*/ 2877836 h 3436871"/>
              <a:gd name="connsiteX26" fmla="*/ 1020986 w 2038796"/>
              <a:gd name="connsiteY26" fmla="*/ 3051740 h 3436871"/>
              <a:gd name="connsiteX27" fmla="*/ 1009767 w 2038796"/>
              <a:gd name="connsiteY27" fmla="*/ 3175156 h 3436871"/>
              <a:gd name="connsiteX28" fmla="*/ 1020986 w 2038796"/>
              <a:gd name="connsiteY28" fmla="*/ 3393939 h 3436871"/>
              <a:gd name="connsiteX29" fmla="*/ 1217330 w 2038796"/>
              <a:gd name="connsiteY29" fmla="*/ 3410768 h 3436871"/>
              <a:gd name="connsiteX30" fmla="*/ 1211720 w 2038796"/>
              <a:gd name="connsiteY30" fmla="*/ 3225645 h 3436871"/>
              <a:gd name="connsiteX31" fmla="*/ 1228549 w 2038796"/>
              <a:gd name="connsiteY31" fmla="*/ 3051741 h 3436871"/>
              <a:gd name="connsiteX32" fmla="*/ 1211720 w 2038796"/>
              <a:gd name="connsiteY32" fmla="*/ 2922714 h 3436871"/>
              <a:gd name="connsiteX33" fmla="*/ 1234159 w 2038796"/>
              <a:gd name="connsiteY33" fmla="*/ 2883446 h 3436871"/>
              <a:gd name="connsiteX34" fmla="*/ 1250988 w 2038796"/>
              <a:gd name="connsiteY34" fmla="*/ 2664663 h 3436871"/>
              <a:gd name="connsiteX35" fmla="*/ 1256599 w 2038796"/>
              <a:gd name="connsiteY35" fmla="*/ 2552467 h 3436871"/>
              <a:gd name="connsiteX36" fmla="*/ 1262209 w 2038796"/>
              <a:gd name="connsiteY36" fmla="*/ 2417831 h 3436871"/>
              <a:gd name="connsiteX37" fmla="*/ 1357574 w 2038796"/>
              <a:gd name="connsiteY37" fmla="*/ 2569297 h 3436871"/>
              <a:gd name="connsiteX38" fmla="*/ 1368794 w 2038796"/>
              <a:gd name="connsiteY38" fmla="*/ 3107839 h 3436871"/>
              <a:gd name="connsiteX39" fmla="*/ 1413673 w 2038796"/>
              <a:gd name="connsiteY39" fmla="*/ 3113448 h 3436871"/>
              <a:gd name="connsiteX40" fmla="*/ 1419283 w 2038796"/>
              <a:gd name="connsiteY40" fmla="*/ 2625394 h 3436871"/>
              <a:gd name="connsiteX41" fmla="*/ 1469772 w 2038796"/>
              <a:gd name="connsiteY41" fmla="*/ 2636614 h 3436871"/>
              <a:gd name="connsiteX42" fmla="*/ 1480991 w 2038796"/>
              <a:gd name="connsiteY42" fmla="*/ 3292962 h 3436871"/>
              <a:gd name="connsiteX43" fmla="*/ 1531479 w 2038796"/>
              <a:gd name="connsiteY43" fmla="*/ 3276133 h 3436871"/>
              <a:gd name="connsiteX44" fmla="*/ 1537090 w 2038796"/>
              <a:gd name="connsiteY44" fmla="*/ 2804908 h 3436871"/>
              <a:gd name="connsiteX45" fmla="*/ 1604407 w 2038796"/>
              <a:gd name="connsiteY45" fmla="*/ 2961983 h 3436871"/>
              <a:gd name="connsiteX46" fmla="*/ 1991484 w 2038796"/>
              <a:gd name="connsiteY46" fmla="*/ 2765639 h 3436871"/>
              <a:gd name="connsiteX47" fmla="*/ 1997094 w 2038796"/>
              <a:gd name="connsiteY47" fmla="*/ 2653443 h 3436871"/>
              <a:gd name="connsiteX48" fmla="*/ 1828800 w 2038796"/>
              <a:gd name="connsiteY48" fmla="*/ 2636614 h 3436871"/>
              <a:gd name="connsiteX49" fmla="*/ 1705383 w 2038796"/>
              <a:gd name="connsiteY49" fmla="*/ 2563686 h 3436871"/>
              <a:gd name="connsiteX50" fmla="*/ 1621237 w 2038796"/>
              <a:gd name="connsiteY50" fmla="*/ 2451490 h 3436871"/>
              <a:gd name="connsiteX51" fmla="*/ 1694164 w 2038796"/>
              <a:gd name="connsiteY51" fmla="*/ 2328074 h 3436871"/>
              <a:gd name="connsiteX52" fmla="*/ 1514650 w 2038796"/>
              <a:gd name="connsiteY52" fmla="*/ 2030754 h 3436871"/>
              <a:gd name="connsiteX53" fmla="*/ 1503430 w 2038796"/>
              <a:gd name="connsiteY53" fmla="*/ 1626847 h 3436871"/>
              <a:gd name="connsiteX54" fmla="*/ 1312696 w 2038796"/>
              <a:gd name="connsiteY54" fmla="*/ 1649285 h 3436871"/>
              <a:gd name="connsiteX55" fmla="*/ 1323916 w 2038796"/>
              <a:gd name="connsiteY55" fmla="*/ 1486602 h 3436871"/>
              <a:gd name="connsiteX56" fmla="*/ 1262208 w 2038796"/>
              <a:gd name="connsiteY56" fmla="*/ 1346357 h 3436871"/>
              <a:gd name="connsiteX57" fmla="*/ 1284648 w 2038796"/>
              <a:gd name="connsiteY57" fmla="*/ 1239770 h 3436871"/>
              <a:gd name="connsiteX58" fmla="*/ 1256599 w 2038796"/>
              <a:gd name="connsiteY58" fmla="*/ 1077085 h 3436871"/>
              <a:gd name="connsiteX59" fmla="*/ 1256599 w 2038796"/>
              <a:gd name="connsiteY59" fmla="*/ 880742 h 3436871"/>
              <a:gd name="connsiteX60" fmla="*/ 970498 w 2038796"/>
              <a:gd name="connsiteY60" fmla="*/ 712447 h 3436871"/>
              <a:gd name="connsiteX61" fmla="*/ 1015376 w 2038796"/>
              <a:gd name="connsiteY61" fmla="*/ 622690 h 3436871"/>
              <a:gd name="connsiteX62" fmla="*/ 1150012 w 2038796"/>
              <a:gd name="connsiteY62" fmla="*/ 482445 h 3436871"/>
              <a:gd name="connsiteX63" fmla="*/ 1166841 w 2038796"/>
              <a:gd name="connsiteY63" fmla="*/ 314150 h 3436871"/>
              <a:gd name="connsiteX64" fmla="*/ 1161232 w 2038796"/>
              <a:gd name="connsiteY64" fmla="*/ 196344 h 3436871"/>
              <a:gd name="connsiteX65" fmla="*/ 1065865 w 2038796"/>
              <a:gd name="connsiteY65" fmla="*/ 117807 h 3436871"/>
              <a:gd name="connsiteX66" fmla="*/ 998547 w 2038796"/>
              <a:gd name="connsiteY66" fmla="*/ 72928 h 3436871"/>
              <a:gd name="connsiteX67" fmla="*/ 920010 w 2038796"/>
              <a:gd name="connsiteY67" fmla="*/ 0 h 3436871"/>
              <a:gd name="connsiteX0" fmla="*/ 920010 w 2038796"/>
              <a:gd name="connsiteY0" fmla="*/ 0 h 3436871"/>
              <a:gd name="connsiteX1" fmla="*/ 779764 w 2038796"/>
              <a:gd name="connsiteY1" fmla="*/ 117807 h 3436871"/>
              <a:gd name="connsiteX2" fmla="*/ 751715 w 2038796"/>
              <a:gd name="connsiteY2" fmla="*/ 224393 h 3436871"/>
              <a:gd name="connsiteX3" fmla="*/ 656348 w 2038796"/>
              <a:gd name="connsiteY3" fmla="*/ 403907 h 3436871"/>
              <a:gd name="connsiteX4" fmla="*/ 656348 w 2038796"/>
              <a:gd name="connsiteY4" fmla="*/ 460005 h 3436871"/>
              <a:gd name="connsiteX5" fmla="*/ 673178 w 2038796"/>
              <a:gd name="connsiteY5" fmla="*/ 544153 h 3436871"/>
              <a:gd name="connsiteX6" fmla="*/ 448785 w 2038796"/>
              <a:gd name="connsiteY6" fmla="*/ 656349 h 3436871"/>
              <a:gd name="connsiteX7" fmla="*/ 263661 w 2038796"/>
              <a:gd name="connsiteY7" fmla="*/ 673178 h 3436871"/>
              <a:gd name="connsiteX8" fmla="*/ 218783 w 2038796"/>
              <a:gd name="connsiteY8" fmla="*/ 948059 h 3436871"/>
              <a:gd name="connsiteX9" fmla="*/ 168294 w 2038796"/>
              <a:gd name="connsiteY9" fmla="*/ 1082695 h 3436871"/>
              <a:gd name="connsiteX10" fmla="*/ 72927 w 2038796"/>
              <a:gd name="connsiteY10" fmla="*/ 1211721 h 3436871"/>
              <a:gd name="connsiteX11" fmla="*/ 0 w 2038796"/>
              <a:gd name="connsiteY11" fmla="*/ 1346356 h 3436871"/>
              <a:gd name="connsiteX12" fmla="*/ 134635 w 2038796"/>
              <a:gd name="connsiteY12" fmla="*/ 1705384 h 3436871"/>
              <a:gd name="connsiteX13" fmla="*/ 241222 w 2038796"/>
              <a:gd name="connsiteY13" fmla="*/ 1778312 h 3436871"/>
              <a:gd name="connsiteX14" fmla="*/ 291710 w 2038796"/>
              <a:gd name="connsiteY14" fmla="*/ 1744653 h 3436871"/>
              <a:gd name="connsiteX15" fmla="*/ 336589 w 2038796"/>
              <a:gd name="connsiteY15" fmla="*/ 1800751 h 3436871"/>
              <a:gd name="connsiteX16" fmla="*/ 387077 w 2038796"/>
              <a:gd name="connsiteY16" fmla="*/ 3326621 h 3436871"/>
              <a:gd name="connsiteX17" fmla="*/ 448785 w 2038796"/>
              <a:gd name="connsiteY17" fmla="*/ 3298572 h 3436871"/>
              <a:gd name="connsiteX18" fmla="*/ 431956 w 2038796"/>
              <a:gd name="connsiteY18" fmla="*/ 2423441 h 3436871"/>
              <a:gd name="connsiteX19" fmla="*/ 482444 w 2038796"/>
              <a:gd name="connsiteY19" fmla="*/ 2434660 h 3436871"/>
              <a:gd name="connsiteX20" fmla="*/ 516103 w 2038796"/>
              <a:gd name="connsiteY20" fmla="*/ 3119058 h 3436871"/>
              <a:gd name="connsiteX21" fmla="*/ 583421 w 2038796"/>
              <a:gd name="connsiteY21" fmla="*/ 3124668 h 3436871"/>
              <a:gd name="connsiteX22" fmla="*/ 572201 w 2038796"/>
              <a:gd name="connsiteY22" fmla="*/ 2457100 h 3436871"/>
              <a:gd name="connsiteX23" fmla="*/ 964888 w 2038796"/>
              <a:gd name="connsiteY23" fmla="*/ 2462710 h 3436871"/>
              <a:gd name="connsiteX24" fmla="*/ 970498 w 2038796"/>
              <a:gd name="connsiteY24" fmla="*/ 2866616 h 3436871"/>
              <a:gd name="connsiteX25" fmla="*/ 1026596 w 2038796"/>
              <a:gd name="connsiteY25" fmla="*/ 2877836 h 3436871"/>
              <a:gd name="connsiteX26" fmla="*/ 1020986 w 2038796"/>
              <a:gd name="connsiteY26" fmla="*/ 3051740 h 3436871"/>
              <a:gd name="connsiteX27" fmla="*/ 1009767 w 2038796"/>
              <a:gd name="connsiteY27" fmla="*/ 3175156 h 3436871"/>
              <a:gd name="connsiteX28" fmla="*/ 1020986 w 2038796"/>
              <a:gd name="connsiteY28" fmla="*/ 3393939 h 3436871"/>
              <a:gd name="connsiteX29" fmla="*/ 1217330 w 2038796"/>
              <a:gd name="connsiteY29" fmla="*/ 3410768 h 3436871"/>
              <a:gd name="connsiteX30" fmla="*/ 1211720 w 2038796"/>
              <a:gd name="connsiteY30" fmla="*/ 3225645 h 3436871"/>
              <a:gd name="connsiteX31" fmla="*/ 1228549 w 2038796"/>
              <a:gd name="connsiteY31" fmla="*/ 3051741 h 3436871"/>
              <a:gd name="connsiteX32" fmla="*/ 1211720 w 2038796"/>
              <a:gd name="connsiteY32" fmla="*/ 2922714 h 3436871"/>
              <a:gd name="connsiteX33" fmla="*/ 1234159 w 2038796"/>
              <a:gd name="connsiteY33" fmla="*/ 2883446 h 3436871"/>
              <a:gd name="connsiteX34" fmla="*/ 1250988 w 2038796"/>
              <a:gd name="connsiteY34" fmla="*/ 2664663 h 3436871"/>
              <a:gd name="connsiteX35" fmla="*/ 1256599 w 2038796"/>
              <a:gd name="connsiteY35" fmla="*/ 2552467 h 3436871"/>
              <a:gd name="connsiteX36" fmla="*/ 1262209 w 2038796"/>
              <a:gd name="connsiteY36" fmla="*/ 2417831 h 3436871"/>
              <a:gd name="connsiteX37" fmla="*/ 1357574 w 2038796"/>
              <a:gd name="connsiteY37" fmla="*/ 2569297 h 3436871"/>
              <a:gd name="connsiteX38" fmla="*/ 1368794 w 2038796"/>
              <a:gd name="connsiteY38" fmla="*/ 3107839 h 3436871"/>
              <a:gd name="connsiteX39" fmla="*/ 1413673 w 2038796"/>
              <a:gd name="connsiteY39" fmla="*/ 3113448 h 3436871"/>
              <a:gd name="connsiteX40" fmla="*/ 1419283 w 2038796"/>
              <a:gd name="connsiteY40" fmla="*/ 2625394 h 3436871"/>
              <a:gd name="connsiteX41" fmla="*/ 1469772 w 2038796"/>
              <a:gd name="connsiteY41" fmla="*/ 2636614 h 3436871"/>
              <a:gd name="connsiteX42" fmla="*/ 1480991 w 2038796"/>
              <a:gd name="connsiteY42" fmla="*/ 3292962 h 3436871"/>
              <a:gd name="connsiteX43" fmla="*/ 1531479 w 2038796"/>
              <a:gd name="connsiteY43" fmla="*/ 3276133 h 3436871"/>
              <a:gd name="connsiteX44" fmla="*/ 1537090 w 2038796"/>
              <a:gd name="connsiteY44" fmla="*/ 2804908 h 3436871"/>
              <a:gd name="connsiteX45" fmla="*/ 1604407 w 2038796"/>
              <a:gd name="connsiteY45" fmla="*/ 2961983 h 3436871"/>
              <a:gd name="connsiteX46" fmla="*/ 1991484 w 2038796"/>
              <a:gd name="connsiteY46" fmla="*/ 2765639 h 3436871"/>
              <a:gd name="connsiteX47" fmla="*/ 1997094 w 2038796"/>
              <a:gd name="connsiteY47" fmla="*/ 2653443 h 3436871"/>
              <a:gd name="connsiteX48" fmla="*/ 1828800 w 2038796"/>
              <a:gd name="connsiteY48" fmla="*/ 2636614 h 3436871"/>
              <a:gd name="connsiteX49" fmla="*/ 1705383 w 2038796"/>
              <a:gd name="connsiteY49" fmla="*/ 2563686 h 3436871"/>
              <a:gd name="connsiteX50" fmla="*/ 1621237 w 2038796"/>
              <a:gd name="connsiteY50" fmla="*/ 2451490 h 3436871"/>
              <a:gd name="connsiteX51" fmla="*/ 1694164 w 2038796"/>
              <a:gd name="connsiteY51" fmla="*/ 2328074 h 3436871"/>
              <a:gd name="connsiteX52" fmla="*/ 1514650 w 2038796"/>
              <a:gd name="connsiteY52" fmla="*/ 2030754 h 3436871"/>
              <a:gd name="connsiteX53" fmla="*/ 1503430 w 2038796"/>
              <a:gd name="connsiteY53" fmla="*/ 1626847 h 3436871"/>
              <a:gd name="connsiteX54" fmla="*/ 1312696 w 2038796"/>
              <a:gd name="connsiteY54" fmla="*/ 1649285 h 3436871"/>
              <a:gd name="connsiteX55" fmla="*/ 1323916 w 2038796"/>
              <a:gd name="connsiteY55" fmla="*/ 1486602 h 3436871"/>
              <a:gd name="connsiteX56" fmla="*/ 1262208 w 2038796"/>
              <a:gd name="connsiteY56" fmla="*/ 1346357 h 3436871"/>
              <a:gd name="connsiteX57" fmla="*/ 1284648 w 2038796"/>
              <a:gd name="connsiteY57" fmla="*/ 1239770 h 3436871"/>
              <a:gd name="connsiteX58" fmla="*/ 1256599 w 2038796"/>
              <a:gd name="connsiteY58" fmla="*/ 1077085 h 3436871"/>
              <a:gd name="connsiteX59" fmla="*/ 1256599 w 2038796"/>
              <a:gd name="connsiteY59" fmla="*/ 880742 h 3436871"/>
              <a:gd name="connsiteX60" fmla="*/ 970498 w 2038796"/>
              <a:gd name="connsiteY60" fmla="*/ 712447 h 3436871"/>
              <a:gd name="connsiteX61" fmla="*/ 1015376 w 2038796"/>
              <a:gd name="connsiteY61" fmla="*/ 622690 h 3436871"/>
              <a:gd name="connsiteX62" fmla="*/ 1150012 w 2038796"/>
              <a:gd name="connsiteY62" fmla="*/ 482445 h 3436871"/>
              <a:gd name="connsiteX63" fmla="*/ 1166841 w 2038796"/>
              <a:gd name="connsiteY63" fmla="*/ 314150 h 3436871"/>
              <a:gd name="connsiteX64" fmla="*/ 1161232 w 2038796"/>
              <a:gd name="connsiteY64" fmla="*/ 196344 h 3436871"/>
              <a:gd name="connsiteX65" fmla="*/ 1065865 w 2038796"/>
              <a:gd name="connsiteY65" fmla="*/ 117807 h 3436871"/>
              <a:gd name="connsiteX66" fmla="*/ 998547 w 2038796"/>
              <a:gd name="connsiteY66" fmla="*/ 72928 h 3436871"/>
              <a:gd name="connsiteX67" fmla="*/ 920010 w 2038796"/>
              <a:gd name="connsiteY67" fmla="*/ 0 h 3436871"/>
              <a:gd name="connsiteX0" fmla="*/ 920010 w 2038796"/>
              <a:gd name="connsiteY0" fmla="*/ 0 h 3436871"/>
              <a:gd name="connsiteX1" fmla="*/ 779764 w 2038796"/>
              <a:gd name="connsiteY1" fmla="*/ 117807 h 3436871"/>
              <a:gd name="connsiteX2" fmla="*/ 751715 w 2038796"/>
              <a:gd name="connsiteY2" fmla="*/ 224393 h 3436871"/>
              <a:gd name="connsiteX3" fmla="*/ 656348 w 2038796"/>
              <a:gd name="connsiteY3" fmla="*/ 403907 h 3436871"/>
              <a:gd name="connsiteX4" fmla="*/ 656348 w 2038796"/>
              <a:gd name="connsiteY4" fmla="*/ 460005 h 3436871"/>
              <a:gd name="connsiteX5" fmla="*/ 673178 w 2038796"/>
              <a:gd name="connsiteY5" fmla="*/ 544153 h 3436871"/>
              <a:gd name="connsiteX6" fmla="*/ 448785 w 2038796"/>
              <a:gd name="connsiteY6" fmla="*/ 656349 h 3436871"/>
              <a:gd name="connsiteX7" fmla="*/ 263661 w 2038796"/>
              <a:gd name="connsiteY7" fmla="*/ 673178 h 3436871"/>
              <a:gd name="connsiteX8" fmla="*/ 218783 w 2038796"/>
              <a:gd name="connsiteY8" fmla="*/ 948059 h 3436871"/>
              <a:gd name="connsiteX9" fmla="*/ 168294 w 2038796"/>
              <a:gd name="connsiteY9" fmla="*/ 1082695 h 3436871"/>
              <a:gd name="connsiteX10" fmla="*/ 72927 w 2038796"/>
              <a:gd name="connsiteY10" fmla="*/ 1211721 h 3436871"/>
              <a:gd name="connsiteX11" fmla="*/ 0 w 2038796"/>
              <a:gd name="connsiteY11" fmla="*/ 1346356 h 3436871"/>
              <a:gd name="connsiteX12" fmla="*/ 134635 w 2038796"/>
              <a:gd name="connsiteY12" fmla="*/ 1705384 h 3436871"/>
              <a:gd name="connsiteX13" fmla="*/ 241222 w 2038796"/>
              <a:gd name="connsiteY13" fmla="*/ 1778312 h 3436871"/>
              <a:gd name="connsiteX14" fmla="*/ 291710 w 2038796"/>
              <a:gd name="connsiteY14" fmla="*/ 1744653 h 3436871"/>
              <a:gd name="connsiteX15" fmla="*/ 336589 w 2038796"/>
              <a:gd name="connsiteY15" fmla="*/ 1800751 h 3436871"/>
              <a:gd name="connsiteX16" fmla="*/ 387077 w 2038796"/>
              <a:gd name="connsiteY16" fmla="*/ 3326621 h 3436871"/>
              <a:gd name="connsiteX17" fmla="*/ 448785 w 2038796"/>
              <a:gd name="connsiteY17" fmla="*/ 3298572 h 3436871"/>
              <a:gd name="connsiteX18" fmla="*/ 431956 w 2038796"/>
              <a:gd name="connsiteY18" fmla="*/ 2423441 h 3436871"/>
              <a:gd name="connsiteX19" fmla="*/ 482444 w 2038796"/>
              <a:gd name="connsiteY19" fmla="*/ 2434660 h 3436871"/>
              <a:gd name="connsiteX20" fmla="*/ 516103 w 2038796"/>
              <a:gd name="connsiteY20" fmla="*/ 3119058 h 3436871"/>
              <a:gd name="connsiteX21" fmla="*/ 583421 w 2038796"/>
              <a:gd name="connsiteY21" fmla="*/ 3124668 h 3436871"/>
              <a:gd name="connsiteX22" fmla="*/ 572201 w 2038796"/>
              <a:gd name="connsiteY22" fmla="*/ 2457100 h 3436871"/>
              <a:gd name="connsiteX23" fmla="*/ 964888 w 2038796"/>
              <a:gd name="connsiteY23" fmla="*/ 2462710 h 3436871"/>
              <a:gd name="connsiteX24" fmla="*/ 970498 w 2038796"/>
              <a:gd name="connsiteY24" fmla="*/ 2866616 h 3436871"/>
              <a:gd name="connsiteX25" fmla="*/ 1026596 w 2038796"/>
              <a:gd name="connsiteY25" fmla="*/ 2877836 h 3436871"/>
              <a:gd name="connsiteX26" fmla="*/ 1020986 w 2038796"/>
              <a:gd name="connsiteY26" fmla="*/ 3051740 h 3436871"/>
              <a:gd name="connsiteX27" fmla="*/ 1009767 w 2038796"/>
              <a:gd name="connsiteY27" fmla="*/ 3175156 h 3436871"/>
              <a:gd name="connsiteX28" fmla="*/ 1020986 w 2038796"/>
              <a:gd name="connsiteY28" fmla="*/ 3393939 h 3436871"/>
              <a:gd name="connsiteX29" fmla="*/ 1217330 w 2038796"/>
              <a:gd name="connsiteY29" fmla="*/ 3410768 h 3436871"/>
              <a:gd name="connsiteX30" fmla="*/ 1211720 w 2038796"/>
              <a:gd name="connsiteY30" fmla="*/ 3225645 h 3436871"/>
              <a:gd name="connsiteX31" fmla="*/ 1228549 w 2038796"/>
              <a:gd name="connsiteY31" fmla="*/ 3051741 h 3436871"/>
              <a:gd name="connsiteX32" fmla="*/ 1211720 w 2038796"/>
              <a:gd name="connsiteY32" fmla="*/ 2922714 h 3436871"/>
              <a:gd name="connsiteX33" fmla="*/ 1234159 w 2038796"/>
              <a:gd name="connsiteY33" fmla="*/ 2883446 h 3436871"/>
              <a:gd name="connsiteX34" fmla="*/ 1250988 w 2038796"/>
              <a:gd name="connsiteY34" fmla="*/ 2664663 h 3436871"/>
              <a:gd name="connsiteX35" fmla="*/ 1256599 w 2038796"/>
              <a:gd name="connsiteY35" fmla="*/ 2552467 h 3436871"/>
              <a:gd name="connsiteX36" fmla="*/ 1262209 w 2038796"/>
              <a:gd name="connsiteY36" fmla="*/ 2417831 h 3436871"/>
              <a:gd name="connsiteX37" fmla="*/ 1357574 w 2038796"/>
              <a:gd name="connsiteY37" fmla="*/ 2569297 h 3436871"/>
              <a:gd name="connsiteX38" fmla="*/ 1368794 w 2038796"/>
              <a:gd name="connsiteY38" fmla="*/ 3107839 h 3436871"/>
              <a:gd name="connsiteX39" fmla="*/ 1413673 w 2038796"/>
              <a:gd name="connsiteY39" fmla="*/ 3113448 h 3436871"/>
              <a:gd name="connsiteX40" fmla="*/ 1419283 w 2038796"/>
              <a:gd name="connsiteY40" fmla="*/ 2625394 h 3436871"/>
              <a:gd name="connsiteX41" fmla="*/ 1469772 w 2038796"/>
              <a:gd name="connsiteY41" fmla="*/ 2636614 h 3436871"/>
              <a:gd name="connsiteX42" fmla="*/ 1480991 w 2038796"/>
              <a:gd name="connsiteY42" fmla="*/ 3292962 h 3436871"/>
              <a:gd name="connsiteX43" fmla="*/ 1531479 w 2038796"/>
              <a:gd name="connsiteY43" fmla="*/ 3276133 h 3436871"/>
              <a:gd name="connsiteX44" fmla="*/ 1537090 w 2038796"/>
              <a:gd name="connsiteY44" fmla="*/ 2804908 h 3436871"/>
              <a:gd name="connsiteX45" fmla="*/ 1604407 w 2038796"/>
              <a:gd name="connsiteY45" fmla="*/ 2961983 h 3436871"/>
              <a:gd name="connsiteX46" fmla="*/ 1991484 w 2038796"/>
              <a:gd name="connsiteY46" fmla="*/ 2765639 h 3436871"/>
              <a:gd name="connsiteX47" fmla="*/ 1997094 w 2038796"/>
              <a:gd name="connsiteY47" fmla="*/ 2653443 h 3436871"/>
              <a:gd name="connsiteX48" fmla="*/ 1828800 w 2038796"/>
              <a:gd name="connsiteY48" fmla="*/ 2636614 h 3436871"/>
              <a:gd name="connsiteX49" fmla="*/ 1705383 w 2038796"/>
              <a:gd name="connsiteY49" fmla="*/ 2563686 h 3436871"/>
              <a:gd name="connsiteX50" fmla="*/ 1621237 w 2038796"/>
              <a:gd name="connsiteY50" fmla="*/ 2451490 h 3436871"/>
              <a:gd name="connsiteX51" fmla="*/ 1694164 w 2038796"/>
              <a:gd name="connsiteY51" fmla="*/ 2328074 h 3436871"/>
              <a:gd name="connsiteX52" fmla="*/ 1514650 w 2038796"/>
              <a:gd name="connsiteY52" fmla="*/ 2030754 h 3436871"/>
              <a:gd name="connsiteX53" fmla="*/ 1503430 w 2038796"/>
              <a:gd name="connsiteY53" fmla="*/ 1626847 h 3436871"/>
              <a:gd name="connsiteX54" fmla="*/ 1312696 w 2038796"/>
              <a:gd name="connsiteY54" fmla="*/ 1649285 h 3436871"/>
              <a:gd name="connsiteX55" fmla="*/ 1323916 w 2038796"/>
              <a:gd name="connsiteY55" fmla="*/ 1486602 h 3436871"/>
              <a:gd name="connsiteX56" fmla="*/ 1262208 w 2038796"/>
              <a:gd name="connsiteY56" fmla="*/ 1346357 h 3436871"/>
              <a:gd name="connsiteX57" fmla="*/ 1284648 w 2038796"/>
              <a:gd name="connsiteY57" fmla="*/ 1239770 h 3436871"/>
              <a:gd name="connsiteX58" fmla="*/ 1256599 w 2038796"/>
              <a:gd name="connsiteY58" fmla="*/ 1077085 h 3436871"/>
              <a:gd name="connsiteX59" fmla="*/ 1256599 w 2038796"/>
              <a:gd name="connsiteY59" fmla="*/ 880742 h 3436871"/>
              <a:gd name="connsiteX60" fmla="*/ 970498 w 2038796"/>
              <a:gd name="connsiteY60" fmla="*/ 712447 h 3436871"/>
              <a:gd name="connsiteX61" fmla="*/ 1015376 w 2038796"/>
              <a:gd name="connsiteY61" fmla="*/ 622690 h 3436871"/>
              <a:gd name="connsiteX62" fmla="*/ 1150012 w 2038796"/>
              <a:gd name="connsiteY62" fmla="*/ 482445 h 3436871"/>
              <a:gd name="connsiteX63" fmla="*/ 1166841 w 2038796"/>
              <a:gd name="connsiteY63" fmla="*/ 314150 h 3436871"/>
              <a:gd name="connsiteX64" fmla="*/ 1161232 w 2038796"/>
              <a:gd name="connsiteY64" fmla="*/ 196344 h 3436871"/>
              <a:gd name="connsiteX65" fmla="*/ 1065865 w 2038796"/>
              <a:gd name="connsiteY65" fmla="*/ 117807 h 3436871"/>
              <a:gd name="connsiteX66" fmla="*/ 998547 w 2038796"/>
              <a:gd name="connsiteY66" fmla="*/ 72928 h 3436871"/>
              <a:gd name="connsiteX67" fmla="*/ 920010 w 2038796"/>
              <a:gd name="connsiteY67" fmla="*/ 0 h 3436871"/>
              <a:gd name="connsiteX0" fmla="*/ 920010 w 2038796"/>
              <a:gd name="connsiteY0" fmla="*/ 0 h 3436871"/>
              <a:gd name="connsiteX1" fmla="*/ 779764 w 2038796"/>
              <a:gd name="connsiteY1" fmla="*/ 117807 h 3436871"/>
              <a:gd name="connsiteX2" fmla="*/ 751715 w 2038796"/>
              <a:gd name="connsiteY2" fmla="*/ 224393 h 3436871"/>
              <a:gd name="connsiteX3" fmla="*/ 656348 w 2038796"/>
              <a:gd name="connsiteY3" fmla="*/ 403907 h 3436871"/>
              <a:gd name="connsiteX4" fmla="*/ 656348 w 2038796"/>
              <a:gd name="connsiteY4" fmla="*/ 460005 h 3436871"/>
              <a:gd name="connsiteX5" fmla="*/ 673178 w 2038796"/>
              <a:gd name="connsiteY5" fmla="*/ 544153 h 3436871"/>
              <a:gd name="connsiteX6" fmla="*/ 448785 w 2038796"/>
              <a:gd name="connsiteY6" fmla="*/ 656349 h 3436871"/>
              <a:gd name="connsiteX7" fmla="*/ 263661 w 2038796"/>
              <a:gd name="connsiteY7" fmla="*/ 673178 h 3436871"/>
              <a:gd name="connsiteX8" fmla="*/ 218783 w 2038796"/>
              <a:gd name="connsiteY8" fmla="*/ 948059 h 3436871"/>
              <a:gd name="connsiteX9" fmla="*/ 168294 w 2038796"/>
              <a:gd name="connsiteY9" fmla="*/ 1082695 h 3436871"/>
              <a:gd name="connsiteX10" fmla="*/ 72927 w 2038796"/>
              <a:gd name="connsiteY10" fmla="*/ 1211721 h 3436871"/>
              <a:gd name="connsiteX11" fmla="*/ 0 w 2038796"/>
              <a:gd name="connsiteY11" fmla="*/ 1346356 h 3436871"/>
              <a:gd name="connsiteX12" fmla="*/ 134635 w 2038796"/>
              <a:gd name="connsiteY12" fmla="*/ 1705384 h 3436871"/>
              <a:gd name="connsiteX13" fmla="*/ 241222 w 2038796"/>
              <a:gd name="connsiteY13" fmla="*/ 1778312 h 3436871"/>
              <a:gd name="connsiteX14" fmla="*/ 291710 w 2038796"/>
              <a:gd name="connsiteY14" fmla="*/ 1744653 h 3436871"/>
              <a:gd name="connsiteX15" fmla="*/ 336589 w 2038796"/>
              <a:gd name="connsiteY15" fmla="*/ 1800751 h 3436871"/>
              <a:gd name="connsiteX16" fmla="*/ 387077 w 2038796"/>
              <a:gd name="connsiteY16" fmla="*/ 3326621 h 3436871"/>
              <a:gd name="connsiteX17" fmla="*/ 448785 w 2038796"/>
              <a:gd name="connsiteY17" fmla="*/ 3298572 h 3436871"/>
              <a:gd name="connsiteX18" fmla="*/ 431956 w 2038796"/>
              <a:gd name="connsiteY18" fmla="*/ 2423441 h 3436871"/>
              <a:gd name="connsiteX19" fmla="*/ 482444 w 2038796"/>
              <a:gd name="connsiteY19" fmla="*/ 2434660 h 3436871"/>
              <a:gd name="connsiteX20" fmla="*/ 516103 w 2038796"/>
              <a:gd name="connsiteY20" fmla="*/ 3119058 h 3436871"/>
              <a:gd name="connsiteX21" fmla="*/ 583421 w 2038796"/>
              <a:gd name="connsiteY21" fmla="*/ 3124668 h 3436871"/>
              <a:gd name="connsiteX22" fmla="*/ 572201 w 2038796"/>
              <a:gd name="connsiteY22" fmla="*/ 2457100 h 3436871"/>
              <a:gd name="connsiteX23" fmla="*/ 964888 w 2038796"/>
              <a:gd name="connsiteY23" fmla="*/ 2462710 h 3436871"/>
              <a:gd name="connsiteX24" fmla="*/ 970498 w 2038796"/>
              <a:gd name="connsiteY24" fmla="*/ 2866616 h 3436871"/>
              <a:gd name="connsiteX25" fmla="*/ 1026596 w 2038796"/>
              <a:gd name="connsiteY25" fmla="*/ 2877836 h 3436871"/>
              <a:gd name="connsiteX26" fmla="*/ 1020986 w 2038796"/>
              <a:gd name="connsiteY26" fmla="*/ 3051740 h 3436871"/>
              <a:gd name="connsiteX27" fmla="*/ 1009767 w 2038796"/>
              <a:gd name="connsiteY27" fmla="*/ 3175156 h 3436871"/>
              <a:gd name="connsiteX28" fmla="*/ 1020986 w 2038796"/>
              <a:gd name="connsiteY28" fmla="*/ 3393939 h 3436871"/>
              <a:gd name="connsiteX29" fmla="*/ 1217330 w 2038796"/>
              <a:gd name="connsiteY29" fmla="*/ 3410768 h 3436871"/>
              <a:gd name="connsiteX30" fmla="*/ 1211720 w 2038796"/>
              <a:gd name="connsiteY30" fmla="*/ 3225645 h 3436871"/>
              <a:gd name="connsiteX31" fmla="*/ 1228549 w 2038796"/>
              <a:gd name="connsiteY31" fmla="*/ 3051741 h 3436871"/>
              <a:gd name="connsiteX32" fmla="*/ 1211720 w 2038796"/>
              <a:gd name="connsiteY32" fmla="*/ 2922714 h 3436871"/>
              <a:gd name="connsiteX33" fmla="*/ 1234159 w 2038796"/>
              <a:gd name="connsiteY33" fmla="*/ 2883446 h 3436871"/>
              <a:gd name="connsiteX34" fmla="*/ 1250988 w 2038796"/>
              <a:gd name="connsiteY34" fmla="*/ 2664663 h 3436871"/>
              <a:gd name="connsiteX35" fmla="*/ 1256599 w 2038796"/>
              <a:gd name="connsiteY35" fmla="*/ 2552467 h 3436871"/>
              <a:gd name="connsiteX36" fmla="*/ 1262209 w 2038796"/>
              <a:gd name="connsiteY36" fmla="*/ 2417831 h 3436871"/>
              <a:gd name="connsiteX37" fmla="*/ 1357574 w 2038796"/>
              <a:gd name="connsiteY37" fmla="*/ 2569297 h 3436871"/>
              <a:gd name="connsiteX38" fmla="*/ 1368794 w 2038796"/>
              <a:gd name="connsiteY38" fmla="*/ 3107839 h 3436871"/>
              <a:gd name="connsiteX39" fmla="*/ 1413673 w 2038796"/>
              <a:gd name="connsiteY39" fmla="*/ 3113448 h 3436871"/>
              <a:gd name="connsiteX40" fmla="*/ 1419283 w 2038796"/>
              <a:gd name="connsiteY40" fmla="*/ 2625394 h 3436871"/>
              <a:gd name="connsiteX41" fmla="*/ 1469772 w 2038796"/>
              <a:gd name="connsiteY41" fmla="*/ 2636614 h 3436871"/>
              <a:gd name="connsiteX42" fmla="*/ 1480991 w 2038796"/>
              <a:gd name="connsiteY42" fmla="*/ 3292962 h 3436871"/>
              <a:gd name="connsiteX43" fmla="*/ 1531479 w 2038796"/>
              <a:gd name="connsiteY43" fmla="*/ 3276133 h 3436871"/>
              <a:gd name="connsiteX44" fmla="*/ 1537090 w 2038796"/>
              <a:gd name="connsiteY44" fmla="*/ 2804908 h 3436871"/>
              <a:gd name="connsiteX45" fmla="*/ 1604407 w 2038796"/>
              <a:gd name="connsiteY45" fmla="*/ 2961983 h 3436871"/>
              <a:gd name="connsiteX46" fmla="*/ 1991484 w 2038796"/>
              <a:gd name="connsiteY46" fmla="*/ 2765639 h 3436871"/>
              <a:gd name="connsiteX47" fmla="*/ 1997094 w 2038796"/>
              <a:gd name="connsiteY47" fmla="*/ 2653443 h 3436871"/>
              <a:gd name="connsiteX48" fmla="*/ 1828800 w 2038796"/>
              <a:gd name="connsiteY48" fmla="*/ 2636614 h 3436871"/>
              <a:gd name="connsiteX49" fmla="*/ 1705383 w 2038796"/>
              <a:gd name="connsiteY49" fmla="*/ 2563686 h 3436871"/>
              <a:gd name="connsiteX50" fmla="*/ 1621237 w 2038796"/>
              <a:gd name="connsiteY50" fmla="*/ 2451490 h 3436871"/>
              <a:gd name="connsiteX51" fmla="*/ 1694164 w 2038796"/>
              <a:gd name="connsiteY51" fmla="*/ 2328074 h 3436871"/>
              <a:gd name="connsiteX52" fmla="*/ 1514650 w 2038796"/>
              <a:gd name="connsiteY52" fmla="*/ 2030754 h 3436871"/>
              <a:gd name="connsiteX53" fmla="*/ 1503430 w 2038796"/>
              <a:gd name="connsiteY53" fmla="*/ 1626847 h 3436871"/>
              <a:gd name="connsiteX54" fmla="*/ 1312696 w 2038796"/>
              <a:gd name="connsiteY54" fmla="*/ 1649285 h 3436871"/>
              <a:gd name="connsiteX55" fmla="*/ 1323916 w 2038796"/>
              <a:gd name="connsiteY55" fmla="*/ 1486602 h 3436871"/>
              <a:gd name="connsiteX56" fmla="*/ 1262208 w 2038796"/>
              <a:gd name="connsiteY56" fmla="*/ 1346357 h 3436871"/>
              <a:gd name="connsiteX57" fmla="*/ 1284648 w 2038796"/>
              <a:gd name="connsiteY57" fmla="*/ 1239770 h 3436871"/>
              <a:gd name="connsiteX58" fmla="*/ 1256599 w 2038796"/>
              <a:gd name="connsiteY58" fmla="*/ 1077085 h 3436871"/>
              <a:gd name="connsiteX59" fmla="*/ 1256599 w 2038796"/>
              <a:gd name="connsiteY59" fmla="*/ 880742 h 3436871"/>
              <a:gd name="connsiteX60" fmla="*/ 970498 w 2038796"/>
              <a:gd name="connsiteY60" fmla="*/ 712447 h 3436871"/>
              <a:gd name="connsiteX61" fmla="*/ 1015376 w 2038796"/>
              <a:gd name="connsiteY61" fmla="*/ 622690 h 3436871"/>
              <a:gd name="connsiteX62" fmla="*/ 1150012 w 2038796"/>
              <a:gd name="connsiteY62" fmla="*/ 482445 h 3436871"/>
              <a:gd name="connsiteX63" fmla="*/ 1166841 w 2038796"/>
              <a:gd name="connsiteY63" fmla="*/ 314150 h 3436871"/>
              <a:gd name="connsiteX64" fmla="*/ 1161232 w 2038796"/>
              <a:gd name="connsiteY64" fmla="*/ 196344 h 3436871"/>
              <a:gd name="connsiteX65" fmla="*/ 1093914 w 2038796"/>
              <a:gd name="connsiteY65" fmla="*/ 134637 h 3436871"/>
              <a:gd name="connsiteX66" fmla="*/ 998547 w 2038796"/>
              <a:gd name="connsiteY66" fmla="*/ 72928 h 3436871"/>
              <a:gd name="connsiteX67" fmla="*/ 920010 w 2038796"/>
              <a:gd name="connsiteY67" fmla="*/ 0 h 3436871"/>
              <a:gd name="connsiteX0" fmla="*/ 920010 w 2038796"/>
              <a:gd name="connsiteY0" fmla="*/ 0 h 3436871"/>
              <a:gd name="connsiteX1" fmla="*/ 779764 w 2038796"/>
              <a:gd name="connsiteY1" fmla="*/ 117807 h 3436871"/>
              <a:gd name="connsiteX2" fmla="*/ 751715 w 2038796"/>
              <a:gd name="connsiteY2" fmla="*/ 224393 h 3436871"/>
              <a:gd name="connsiteX3" fmla="*/ 656348 w 2038796"/>
              <a:gd name="connsiteY3" fmla="*/ 403907 h 3436871"/>
              <a:gd name="connsiteX4" fmla="*/ 656348 w 2038796"/>
              <a:gd name="connsiteY4" fmla="*/ 460005 h 3436871"/>
              <a:gd name="connsiteX5" fmla="*/ 673178 w 2038796"/>
              <a:gd name="connsiteY5" fmla="*/ 544153 h 3436871"/>
              <a:gd name="connsiteX6" fmla="*/ 448785 w 2038796"/>
              <a:gd name="connsiteY6" fmla="*/ 656349 h 3436871"/>
              <a:gd name="connsiteX7" fmla="*/ 263661 w 2038796"/>
              <a:gd name="connsiteY7" fmla="*/ 673178 h 3436871"/>
              <a:gd name="connsiteX8" fmla="*/ 218783 w 2038796"/>
              <a:gd name="connsiteY8" fmla="*/ 948059 h 3436871"/>
              <a:gd name="connsiteX9" fmla="*/ 168294 w 2038796"/>
              <a:gd name="connsiteY9" fmla="*/ 1082695 h 3436871"/>
              <a:gd name="connsiteX10" fmla="*/ 72927 w 2038796"/>
              <a:gd name="connsiteY10" fmla="*/ 1211721 h 3436871"/>
              <a:gd name="connsiteX11" fmla="*/ 0 w 2038796"/>
              <a:gd name="connsiteY11" fmla="*/ 1346356 h 3436871"/>
              <a:gd name="connsiteX12" fmla="*/ 134635 w 2038796"/>
              <a:gd name="connsiteY12" fmla="*/ 1705384 h 3436871"/>
              <a:gd name="connsiteX13" fmla="*/ 241222 w 2038796"/>
              <a:gd name="connsiteY13" fmla="*/ 1778312 h 3436871"/>
              <a:gd name="connsiteX14" fmla="*/ 291710 w 2038796"/>
              <a:gd name="connsiteY14" fmla="*/ 1744653 h 3436871"/>
              <a:gd name="connsiteX15" fmla="*/ 336589 w 2038796"/>
              <a:gd name="connsiteY15" fmla="*/ 1800751 h 3436871"/>
              <a:gd name="connsiteX16" fmla="*/ 387077 w 2038796"/>
              <a:gd name="connsiteY16" fmla="*/ 3326621 h 3436871"/>
              <a:gd name="connsiteX17" fmla="*/ 448785 w 2038796"/>
              <a:gd name="connsiteY17" fmla="*/ 3298572 h 3436871"/>
              <a:gd name="connsiteX18" fmla="*/ 431956 w 2038796"/>
              <a:gd name="connsiteY18" fmla="*/ 2423441 h 3436871"/>
              <a:gd name="connsiteX19" fmla="*/ 482444 w 2038796"/>
              <a:gd name="connsiteY19" fmla="*/ 2434660 h 3436871"/>
              <a:gd name="connsiteX20" fmla="*/ 516103 w 2038796"/>
              <a:gd name="connsiteY20" fmla="*/ 3119058 h 3436871"/>
              <a:gd name="connsiteX21" fmla="*/ 583421 w 2038796"/>
              <a:gd name="connsiteY21" fmla="*/ 3124668 h 3436871"/>
              <a:gd name="connsiteX22" fmla="*/ 572201 w 2038796"/>
              <a:gd name="connsiteY22" fmla="*/ 2457100 h 3436871"/>
              <a:gd name="connsiteX23" fmla="*/ 964888 w 2038796"/>
              <a:gd name="connsiteY23" fmla="*/ 2462710 h 3436871"/>
              <a:gd name="connsiteX24" fmla="*/ 970498 w 2038796"/>
              <a:gd name="connsiteY24" fmla="*/ 2866616 h 3436871"/>
              <a:gd name="connsiteX25" fmla="*/ 1026596 w 2038796"/>
              <a:gd name="connsiteY25" fmla="*/ 2877836 h 3436871"/>
              <a:gd name="connsiteX26" fmla="*/ 1020986 w 2038796"/>
              <a:gd name="connsiteY26" fmla="*/ 3051740 h 3436871"/>
              <a:gd name="connsiteX27" fmla="*/ 1009767 w 2038796"/>
              <a:gd name="connsiteY27" fmla="*/ 3175156 h 3436871"/>
              <a:gd name="connsiteX28" fmla="*/ 1020986 w 2038796"/>
              <a:gd name="connsiteY28" fmla="*/ 3393939 h 3436871"/>
              <a:gd name="connsiteX29" fmla="*/ 1217330 w 2038796"/>
              <a:gd name="connsiteY29" fmla="*/ 3410768 h 3436871"/>
              <a:gd name="connsiteX30" fmla="*/ 1211720 w 2038796"/>
              <a:gd name="connsiteY30" fmla="*/ 3225645 h 3436871"/>
              <a:gd name="connsiteX31" fmla="*/ 1228549 w 2038796"/>
              <a:gd name="connsiteY31" fmla="*/ 3051741 h 3436871"/>
              <a:gd name="connsiteX32" fmla="*/ 1211720 w 2038796"/>
              <a:gd name="connsiteY32" fmla="*/ 2922714 h 3436871"/>
              <a:gd name="connsiteX33" fmla="*/ 1234159 w 2038796"/>
              <a:gd name="connsiteY33" fmla="*/ 2883446 h 3436871"/>
              <a:gd name="connsiteX34" fmla="*/ 1250988 w 2038796"/>
              <a:gd name="connsiteY34" fmla="*/ 2664663 h 3436871"/>
              <a:gd name="connsiteX35" fmla="*/ 1256599 w 2038796"/>
              <a:gd name="connsiteY35" fmla="*/ 2552467 h 3436871"/>
              <a:gd name="connsiteX36" fmla="*/ 1262209 w 2038796"/>
              <a:gd name="connsiteY36" fmla="*/ 2417831 h 3436871"/>
              <a:gd name="connsiteX37" fmla="*/ 1357574 w 2038796"/>
              <a:gd name="connsiteY37" fmla="*/ 2569297 h 3436871"/>
              <a:gd name="connsiteX38" fmla="*/ 1368794 w 2038796"/>
              <a:gd name="connsiteY38" fmla="*/ 3107839 h 3436871"/>
              <a:gd name="connsiteX39" fmla="*/ 1413673 w 2038796"/>
              <a:gd name="connsiteY39" fmla="*/ 3113448 h 3436871"/>
              <a:gd name="connsiteX40" fmla="*/ 1419283 w 2038796"/>
              <a:gd name="connsiteY40" fmla="*/ 2625394 h 3436871"/>
              <a:gd name="connsiteX41" fmla="*/ 1469772 w 2038796"/>
              <a:gd name="connsiteY41" fmla="*/ 2636614 h 3436871"/>
              <a:gd name="connsiteX42" fmla="*/ 1480991 w 2038796"/>
              <a:gd name="connsiteY42" fmla="*/ 3292962 h 3436871"/>
              <a:gd name="connsiteX43" fmla="*/ 1531479 w 2038796"/>
              <a:gd name="connsiteY43" fmla="*/ 3276133 h 3436871"/>
              <a:gd name="connsiteX44" fmla="*/ 1537090 w 2038796"/>
              <a:gd name="connsiteY44" fmla="*/ 2804908 h 3436871"/>
              <a:gd name="connsiteX45" fmla="*/ 1604407 w 2038796"/>
              <a:gd name="connsiteY45" fmla="*/ 2961983 h 3436871"/>
              <a:gd name="connsiteX46" fmla="*/ 1991484 w 2038796"/>
              <a:gd name="connsiteY46" fmla="*/ 2765639 h 3436871"/>
              <a:gd name="connsiteX47" fmla="*/ 1997094 w 2038796"/>
              <a:gd name="connsiteY47" fmla="*/ 2653443 h 3436871"/>
              <a:gd name="connsiteX48" fmla="*/ 1828800 w 2038796"/>
              <a:gd name="connsiteY48" fmla="*/ 2636614 h 3436871"/>
              <a:gd name="connsiteX49" fmla="*/ 1705383 w 2038796"/>
              <a:gd name="connsiteY49" fmla="*/ 2563686 h 3436871"/>
              <a:gd name="connsiteX50" fmla="*/ 1621237 w 2038796"/>
              <a:gd name="connsiteY50" fmla="*/ 2451490 h 3436871"/>
              <a:gd name="connsiteX51" fmla="*/ 1694164 w 2038796"/>
              <a:gd name="connsiteY51" fmla="*/ 2328074 h 3436871"/>
              <a:gd name="connsiteX52" fmla="*/ 1514650 w 2038796"/>
              <a:gd name="connsiteY52" fmla="*/ 2030754 h 3436871"/>
              <a:gd name="connsiteX53" fmla="*/ 1503430 w 2038796"/>
              <a:gd name="connsiteY53" fmla="*/ 1626847 h 3436871"/>
              <a:gd name="connsiteX54" fmla="*/ 1312696 w 2038796"/>
              <a:gd name="connsiteY54" fmla="*/ 1649285 h 3436871"/>
              <a:gd name="connsiteX55" fmla="*/ 1323916 w 2038796"/>
              <a:gd name="connsiteY55" fmla="*/ 1486602 h 3436871"/>
              <a:gd name="connsiteX56" fmla="*/ 1262208 w 2038796"/>
              <a:gd name="connsiteY56" fmla="*/ 1346357 h 3436871"/>
              <a:gd name="connsiteX57" fmla="*/ 1284648 w 2038796"/>
              <a:gd name="connsiteY57" fmla="*/ 1239770 h 3436871"/>
              <a:gd name="connsiteX58" fmla="*/ 1256599 w 2038796"/>
              <a:gd name="connsiteY58" fmla="*/ 1077085 h 3436871"/>
              <a:gd name="connsiteX59" fmla="*/ 1256599 w 2038796"/>
              <a:gd name="connsiteY59" fmla="*/ 880742 h 3436871"/>
              <a:gd name="connsiteX60" fmla="*/ 970498 w 2038796"/>
              <a:gd name="connsiteY60" fmla="*/ 712447 h 3436871"/>
              <a:gd name="connsiteX61" fmla="*/ 1015376 w 2038796"/>
              <a:gd name="connsiteY61" fmla="*/ 622690 h 3436871"/>
              <a:gd name="connsiteX62" fmla="*/ 1150012 w 2038796"/>
              <a:gd name="connsiteY62" fmla="*/ 482445 h 3436871"/>
              <a:gd name="connsiteX63" fmla="*/ 1166841 w 2038796"/>
              <a:gd name="connsiteY63" fmla="*/ 314150 h 3436871"/>
              <a:gd name="connsiteX64" fmla="*/ 1161232 w 2038796"/>
              <a:gd name="connsiteY64" fmla="*/ 196344 h 3436871"/>
              <a:gd name="connsiteX65" fmla="*/ 1093914 w 2038796"/>
              <a:gd name="connsiteY65" fmla="*/ 134637 h 3436871"/>
              <a:gd name="connsiteX66" fmla="*/ 987327 w 2038796"/>
              <a:gd name="connsiteY66" fmla="*/ 95368 h 3436871"/>
              <a:gd name="connsiteX67" fmla="*/ 920010 w 2038796"/>
              <a:gd name="connsiteY67" fmla="*/ 0 h 3436871"/>
              <a:gd name="connsiteX0" fmla="*/ 869522 w 2038796"/>
              <a:gd name="connsiteY0" fmla="*/ 0 h 3386383"/>
              <a:gd name="connsiteX1" fmla="*/ 779764 w 2038796"/>
              <a:gd name="connsiteY1" fmla="*/ 67319 h 3386383"/>
              <a:gd name="connsiteX2" fmla="*/ 751715 w 2038796"/>
              <a:gd name="connsiteY2" fmla="*/ 173905 h 3386383"/>
              <a:gd name="connsiteX3" fmla="*/ 656348 w 2038796"/>
              <a:gd name="connsiteY3" fmla="*/ 353419 h 3386383"/>
              <a:gd name="connsiteX4" fmla="*/ 656348 w 2038796"/>
              <a:gd name="connsiteY4" fmla="*/ 409517 h 3386383"/>
              <a:gd name="connsiteX5" fmla="*/ 673178 w 2038796"/>
              <a:gd name="connsiteY5" fmla="*/ 493665 h 3386383"/>
              <a:gd name="connsiteX6" fmla="*/ 448785 w 2038796"/>
              <a:gd name="connsiteY6" fmla="*/ 605861 h 3386383"/>
              <a:gd name="connsiteX7" fmla="*/ 263661 w 2038796"/>
              <a:gd name="connsiteY7" fmla="*/ 622690 h 3386383"/>
              <a:gd name="connsiteX8" fmla="*/ 218783 w 2038796"/>
              <a:gd name="connsiteY8" fmla="*/ 897571 h 3386383"/>
              <a:gd name="connsiteX9" fmla="*/ 168294 w 2038796"/>
              <a:gd name="connsiteY9" fmla="*/ 1032207 h 3386383"/>
              <a:gd name="connsiteX10" fmla="*/ 72927 w 2038796"/>
              <a:gd name="connsiteY10" fmla="*/ 1161233 h 3386383"/>
              <a:gd name="connsiteX11" fmla="*/ 0 w 2038796"/>
              <a:gd name="connsiteY11" fmla="*/ 1295868 h 3386383"/>
              <a:gd name="connsiteX12" fmla="*/ 134635 w 2038796"/>
              <a:gd name="connsiteY12" fmla="*/ 1654896 h 3386383"/>
              <a:gd name="connsiteX13" fmla="*/ 241222 w 2038796"/>
              <a:gd name="connsiteY13" fmla="*/ 1727824 h 3386383"/>
              <a:gd name="connsiteX14" fmla="*/ 291710 w 2038796"/>
              <a:gd name="connsiteY14" fmla="*/ 1694165 h 3386383"/>
              <a:gd name="connsiteX15" fmla="*/ 336589 w 2038796"/>
              <a:gd name="connsiteY15" fmla="*/ 1750263 h 3386383"/>
              <a:gd name="connsiteX16" fmla="*/ 387077 w 2038796"/>
              <a:gd name="connsiteY16" fmla="*/ 3276133 h 3386383"/>
              <a:gd name="connsiteX17" fmla="*/ 448785 w 2038796"/>
              <a:gd name="connsiteY17" fmla="*/ 3248084 h 3386383"/>
              <a:gd name="connsiteX18" fmla="*/ 431956 w 2038796"/>
              <a:gd name="connsiteY18" fmla="*/ 2372953 h 3386383"/>
              <a:gd name="connsiteX19" fmla="*/ 482444 w 2038796"/>
              <a:gd name="connsiteY19" fmla="*/ 2384172 h 3386383"/>
              <a:gd name="connsiteX20" fmla="*/ 516103 w 2038796"/>
              <a:gd name="connsiteY20" fmla="*/ 3068570 h 3386383"/>
              <a:gd name="connsiteX21" fmla="*/ 583421 w 2038796"/>
              <a:gd name="connsiteY21" fmla="*/ 3074180 h 3386383"/>
              <a:gd name="connsiteX22" fmla="*/ 572201 w 2038796"/>
              <a:gd name="connsiteY22" fmla="*/ 2406612 h 3386383"/>
              <a:gd name="connsiteX23" fmla="*/ 964888 w 2038796"/>
              <a:gd name="connsiteY23" fmla="*/ 2412222 h 3386383"/>
              <a:gd name="connsiteX24" fmla="*/ 970498 w 2038796"/>
              <a:gd name="connsiteY24" fmla="*/ 2816128 h 3386383"/>
              <a:gd name="connsiteX25" fmla="*/ 1026596 w 2038796"/>
              <a:gd name="connsiteY25" fmla="*/ 2827348 h 3386383"/>
              <a:gd name="connsiteX26" fmla="*/ 1020986 w 2038796"/>
              <a:gd name="connsiteY26" fmla="*/ 3001252 h 3386383"/>
              <a:gd name="connsiteX27" fmla="*/ 1009767 w 2038796"/>
              <a:gd name="connsiteY27" fmla="*/ 3124668 h 3386383"/>
              <a:gd name="connsiteX28" fmla="*/ 1020986 w 2038796"/>
              <a:gd name="connsiteY28" fmla="*/ 3343451 h 3386383"/>
              <a:gd name="connsiteX29" fmla="*/ 1217330 w 2038796"/>
              <a:gd name="connsiteY29" fmla="*/ 3360280 h 3386383"/>
              <a:gd name="connsiteX30" fmla="*/ 1211720 w 2038796"/>
              <a:gd name="connsiteY30" fmla="*/ 3175157 h 3386383"/>
              <a:gd name="connsiteX31" fmla="*/ 1228549 w 2038796"/>
              <a:gd name="connsiteY31" fmla="*/ 3001253 h 3386383"/>
              <a:gd name="connsiteX32" fmla="*/ 1211720 w 2038796"/>
              <a:gd name="connsiteY32" fmla="*/ 2872226 h 3386383"/>
              <a:gd name="connsiteX33" fmla="*/ 1234159 w 2038796"/>
              <a:gd name="connsiteY33" fmla="*/ 2832958 h 3386383"/>
              <a:gd name="connsiteX34" fmla="*/ 1250988 w 2038796"/>
              <a:gd name="connsiteY34" fmla="*/ 2614175 h 3386383"/>
              <a:gd name="connsiteX35" fmla="*/ 1256599 w 2038796"/>
              <a:gd name="connsiteY35" fmla="*/ 2501979 h 3386383"/>
              <a:gd name="connsiteX36" fmla="*/ 1262209 w 2038796"/>
              <a:gd name="connsiteY36" fmla="*/ 2367343 h 3386383"/>
              <a:gd name="connsiteX37" fmla="*/ 1357574 w 2038796"/>
              <a:gd name="connsiteY37" fmla="*/ 2518809 h 3386383"/>
              <a:gd name="connsiteX38" fmla="*/ 1368794 w 2038796"/>
              <a:gd name="connsiteY38" fmla="*/ 3057351 h 3386383"/>
              <a:gd name="connsiteX39" fmla="*/ 1413673 w 2038796"/>
              <a:gd name="connsiteY39" fmla="*/ 3062960 h 3386383"/>
              <a:gd name="connsiteX40" fmla="*/ 1419283 w 2038796"/>
              <a:gd name="connsiteY40" fmla="*/ 2574906 h 3386383"/>
              <a:gd name="connsiteX41" fmla="*/ 1469772 w 2038796"/>
              <a:gd name="connsiteY41" fmla="*/ 2586126 h 3386383"/>
              <a:gd name="connsiteX42" fmla="*/ 1480991 w 2038796"/>
              <a:gd name="connsiteY42" fmla="*/ 3242474 h 3386383"/>
              <a:gd name="connsiteX43" fmla="*/ 1531479 w 2038796"/>
              <a:gd name="connsiteY43" fmla="*/ 3225645 h 3386383"/>
              <a:gd name="connsiteX44" fmla="*/ 1537090 w 2038796"/>
              <a:gd name="connsiteY44" fmla="*/ 2754420 h 3386383"/>
              <a:gd name="connsiteX45" fmla="*/ 1604407 w 2038796"/>
              <a:gd name="connsiteY45" fmla="*/ 2911495 h 3386383"/>
              <a:gd name="connsiteX46" fmla="*/ 1991484 w 2038796"/>
              <a:gd name="connsiteY46" fmla="*/ 2715151 h 3386383"/>
              <a:gd name="connsiteX47" fmla="*/ 1997094 w 2038796"/>
              <a:gd name="connsiteY47" fmla="*/ 2602955 h 3386383"/>
              <a:gd name="connsiteX48" fmla="*/ 1828800 w 2038796"/>
              <a:gd name="connsiteY48" fmla="*/ 2586126 h 3386383"/>
              <a:gd name="connsiteX49" fmla="*/ 1705383 w 2038796"/>
              <a:gd name="connsiteY49" fmla="*/ 2513198 h 3386383"/>
              <a:gd name="connsiteX50" fmla="*/ 1621237 w 2038796"/>
              <a:gd name="connsiteY50" fmla="*/ 2401002 h 3386383"/>
              <a:gd name="connsiteX51" fmla="*/ 1694164 w 2038796"/>
              <a:gd name="connsiteY51" fmla="*/ 2277586 h 3386383"/>
              <a:gd name="connsiteX52" fmla="*/ 1514650 w 2038796"/>
              <a:gd name="connsiteY52" fmla="*/ 1980266 h 3386383"/>
              <a:gd name="connsiteX53" fmla="*/ 1503430 w 2038796"/>
              <a:gd name="connsiteY53" fmla="*/ 1576359 h 3386383"/>
              <a:gd name="connsiteX54" fmla="*/ 1312696 w 2038796"/>
              <a:gd name="connsiteY54" fmla="*/ 1598797 h 3386383"/>
              <a:gd name="connsiteX55" fmla="*/ 1323916 w 2038796"/>
              <a:gd name="connsiteY55" fmla="*/ 1436114 h 3386383"/>
              <a:gd name="connsiteX56" fmla="*/ 1262208 w 2038796"/>
              <a:gd name="connsiteY56" fmla="*/ 1295869 h 3386383"/>
              <a:gd name="connsiteX57" fmla="*/ 1284648 w 2038796"/>
              <a:gd name="connsiteY57" fmla="*/ 1189282 h 3386383"/>
              <a:gd name="connsiteX58" fmla="*/ 1256599 w 2038796"/>
              <a:gd name="connsiteY58" fmla="*/ 1026597 h 3386383"/>
              <a:gd name="connsiteX59" fmla="*/ 1256599 w 2038796"/>
              <a:gd name="connsiteY59" fmla="*/ 830254 h 3386383"/>
              <a:gd name="connsiteX60" fmla="*/ 970498 w 2038796"/>
              <a:gd name="connsiteY60" fmla="*/ 661959 h 3386383"/>
              <a:gd name="connsiteX61" fmla="*/ 1015376 w 2038796"/>
              <a:gd name="connsiteY61" fmla="*/ 572202 h 3386383"/>
              <a:gd name="connsiteX62" fmla="*/ 1150012 w 2038796"/>
              <a:gd name="connsiteY62" fmla="*/ 431957 h 3386383"/>
              <a:gd name="connsiteX63" fmla="*/ 1166841 w 2038796"/>
              <a:gd name="connsiteY63" fmla="*/ 263662 h 3386383"/>
              <a:gd name="connsiteX64" fmla="*/ 1161232 w 2038796"/>
              <a:gd name="connsiteY64" fmla="*/ 145856 h 3386383"/>
              <a:gd name="connsiteX65" fmla="*/ 1093914 w 2038796"/>
              <a:gd name="connsiteY65" fmla="*/ 84149 h 3386383"/>
              <a:gd name="connsiteX66" fmla="*/ 987327 w 2038796"/>
              <a:gd name="connsiteY66" fmla="*/ 44880 h 3386383"/>
              <a:gd name="connsiteX67" fmla="*/ 869522 w 2038796"/>
              <a:gd name="connsiteY67" fmla="*/ 0 h 3386383"/>
              <a:gd name="connsiteX0" fmla="*/ 869522 w 2038796"/>
              <a:gd name="connsiteY0" fmla="*/ 0 h 3386383"/>
              <a:gd name="connsiteX1" fmla="*/ 779764 w 2038796"/>
              <a:gd name="connsiteY1" fmla="*/ 67319 h 3386383"/>
              <a:gd name="connsiteX2" fmla="*/ 751715 w 2038796"/>
              <a:gd name="connsiteY2" fmla="*/ 173905 h 3386383"/>
              <a:gd name="connsiteX3" fmla="*/ 656348 w 2038796"/>
              <a:gd name="connsiteY3" fmla="*/ 353419 h 3386383"/>
              <a:gd name="connsiteX4" fmla="*/ 656348 w 2038796"/>
              <a:gd name="connsiteY4" fmla="*/ 409517 h 3386383"/>
              <a:gd name="connsiteX5" fmla="*/ 678788 w 2038796"/>
              <a:gd name="connsiteY5" fmla="*/ 516105 h 3386383"/>
              <a:gd name="connsiteX6" fmla="*/ 448785 w 2038796"/>
              <a:gd name="connsiteY6" fmla="*/ 605861 h 3386383"/>
              <a:gd name="connsiteX7" fmla="*/ 263661 w 2038796"/>
              <a:gd name="connsiteY7" fmla="*/ 622690 h 3386383"/>
              <a:gd name="connsiteX8" fmla="*/ 218783 w 2038796"/>
              <a:gd name="connsiteY8" fmla="*/ 897571 h 3386383"/>
              <a:gd name="connsiteX9" fmla="*/ 168294 w 2038796"/>
              <a:gd name="connsiteY9" fmla="*/ 1032207 h 3386383"/>
              <a:gd name="connsiteX10" fmla="*/ 72927 w 2038796"/>
              <a:gd name="connsiteY10" fmla="*/ 1161233 h 3386383"/>
              <a:gd name="connsiteX11" fmla="*/ 0 w 2038796"/>
              <a:gd name="connsiteY11" fmla="*/ 1295868 h 3386383"/>
              <a:gd name="connsiteX12" fmla="*/ 134635 w 2038796"/>
              <a:gd name="connsiteY12" fmla="*/ 1654896 h 3386383"/>
              <a:gd name="connsiteX13" fmla="*/ 241222 w 2038796"/>
              <a:gd name="connsiteY13" fmla="*/ 1727824 h 3386383"/>
              <a:gd name="connsiteX14" fmla="*/ 291710 w 2038796"/>
              <a:gd name="connsiteY14" fmla="*/ 1694165 h 3386383"/>
              <a:gd name="connsiteX15" fmla="*/ 336589 w 2038796"/>
              <a:gd name="connsiteY15" fmla="*/ 1750263 h 3386383"/>
              <a:gd name="connsiteX16" fmla="*/ 387077 w 2038796"/>
              <a:gd name="connsiteY16" fmla="*/ 3276133 h 3386383"/>
              <a:gd name="connsiteX17" fmla="*/ 448785 w 2038796"/>
              <a:gd name="connsiteY17" fmla="*/ 3248084 h 3386383"/>
              <a:gd name="connsiteX18" fmla="*/ 431956 w 2038796"/>
              <a:gd name="connsiteY18" fmla="*/ 2372953 h 3386383"/>
              <a:gd name="connsiteX19" fmla="*/ 482444 w 2038796"/>
              <a:gd name="connsiteY19" fmla="*/ 2384172 h 3386383"/>
              <a:gd name="connsiteX20" fmla="*/ 516103 w 2038796"/>
              <a:gd name="connsiteY20" fmla="*/ 3068570 h 3386383"/>
              <a:gd name="connsiteX21" fmla="*/ 583421 w 2038796"/>
              <a:gd name="connsiteY21" fmla="*/ 3074180 h 3386383"/>
              <a:gd name="connsiteX22" fmla="*/ 572201 w 2038796"/>
              <a:gd name="connsiteY22" fmla="*/ 2406612 h 3386383"/>
              <a:gd name="connsiteX23" fmla="*/ 964888 w 2038796"/>
              <a:gd name="connsiteY23" fmla="*/ 2412222 h 3386383"/>
              <a:gd name="connsiteX24" fmla="*/ 970498 w 2038796"/>
              <a:gd name="connsiteY24" fmla="*/ 2816128 h 3386383"/>
              <a:gd name="connsiteX25" fmla="*/ 1026596 w 2038796"/>
              <a:gd name="connsiteY25" fmla="*/ 2827348 h 3386383"/>
              <a:gd name="connsiteX26" fmla="*/ 1020986 w 2038796"/>
              <a:gd name="connsiteY26" fmla="*/ 3001252 h 3386383"/>
              <a:gd name="connsiteX27" fmla="*/ 1009767 w 2038796"/>
              <a:gd name="connsiteY27" fmla="*/ 3124668 h 3386383"/>
              <a:gd name="connsiteX28" fmla="*/ 1020986 w 2038796"/>
              <a:gd name="connsiteY28" fmla="*/ 3343451 h 3386383"/>
              <a:gd name="connsiteX29" fmla="*/ 1217330 w 2038796"/>
              <a:gd name="connsiteY29" fmla="*/ 3360280 h 3386383"/>
              <a:gd name="connsiteX30" fmla="*/ 1211720 w 2038796"/>
              <a:gd name="connsiteY30" fmla="*/ 3175157 h 3386383"/>
              <a:gd name="connsiteX31" fmla="*/ 1228549 w 2038796"/>
              <a:gd name="connsiteY31" fmla="*/ 3001253 h 3386383"/>
              <a:gd name="connsiteX32" fmla="*/ 1211720 w 2038796"/>
              <a:gd name="connsiteY32" fmla="*/ 2872226 h 3386383"/>
              <a:gd name="connsiteX33" fmla="*/ 1234159 w 2038796"/>
              <a:gd name="connsiteY33" fmla="*/ 2832958 h 3386383"/>
              <a:gd name="connsiteX34" fmla="*/ 1250988 w 2038796"/>
              <a:gd name="connsiteY34" fmla="*/ 2614175 h 3386383"/>
              <a:gd name="connsiteX35" fmla="*/ 1256599 w 2038796"/>
              <a:gd name="connsiteY35" fmla="*/ 2501979 h 3386383"/>
              <a:gd name="connsiteX36" fmla="*/ 1262209 w 2038796"/>
              <a:gd name="connsiteY36" fmla="*/ 2367343 h 3386383"/>
              <a:gd name="connsiteX37" fmla="*/ 1357574 w 2038796"/>
              <a:gd name="connsiteY37" fmla="*/ 2518809 h 3386383"/>
              <a:gd name="connsiteX38" fmla="*/ 1368794 w 2038796"/>
              <a:gd name="connsiteY38" fmla="*/ 3057351 h 3386383"/>
              <a:gd name="connsiteX39" fmla="*/ 1413673 w 2038796"/>
              <a:gd name="connsiteY39" fmla="*/ 3062960 h 3386383"/>
              <a:gd name="connsiteX40" fmla="*/ 1419283 w 2038796"/>
              <a:gd name="connsiteY40" fmla="*/ 2574906 h 3386383"/>
              <a:gd name="connsiteX41" fmla="*/ 1469772 w 2038796"/>
              <a:gd name="connsiteY41" fmla="*/ 2586126 h 3386383"/>
              <a:gd name="connsiteX42" fmla="*/ 1480991 w 2038796"/>
              <a:gd name="connsiteY42" fmla="*/ 3242474 h 3386383"/>
              <a:gd name="connsiteX43" fmla="*/ 1531479 w 2038796"/>
              <a:gd name="connsiteY43" fmla="*/ 3225645 h 3386383"/>
              <a:gd name="connsiteX44" fmla="*/ 1537090 w 2038796"/>
              <a:gd name="connsiteY44" fmla="*/ 2754420 h 3386383"/>
              <a:gd name="connsiteX45" fmla="*/ 1604407 w 2038796"/>
              <a:gd name="connsiteY45" fmla="*/ 2911495 h 3386383"/>
              <a:gd name="connsiteX46" fmla="*/ 1991484 w 2038796"/>
              <a:gd name="connsiteY46" fmla="*/ 2715151 h 3386383"/>
              <a:gd name="connsiteX47" fmla="*/ 1997094 w 2038796"/>
              <a:gd name="connsiteY47" fmla="*/ 2602955 h 3386383"/>
              <a:gd name="connsiteX48" fmla="*/ 1828800 w 2038796"/>
              <a:gd name="connsiteY48" fmla="*/ 2586126 h 3386383"/>
              <a:gd name="connsiteX49" fmla="*/ 1705383 w 2038796"/>
              <a:gd name="connsiteY49" fmla="*/ 2513198 h 3386383"/>
              <a:gd name="connsiteX50" fmla="*/ 1621237 w 2038796"/>
              <a:gd name="connsiteY50" fmla="*/ 2401002 h 3386383"/>
              <a:gd name="connsiteX51" fmla="*/ 1694164 w 2038796"/>
              <a:gd name="connsiteY51" fmla="*/ 2277586 h 3386383"/>
              <a:gd name="connsiteX52" fmla="*/ 1514650 w 2038796"/>
              <a:gd name="connsiteY52" fmla="*/ 1980266 h 3386383"/>
              <a:gd name="connsiteX53" fmla="*/ 1503430 w 2038796"/>
              <a:gd name="connsiteY53" fmla="*/ 1576359 h 3386383"/>
              <a:gd name="connsiteX54" fmla="*/ 1312696 w 2038796"/>
              <a:gd name="connsiteY54" fmla="*/ 1598797 h 3386383"/>
              <a:gd name="connsiteX55" fmla="*/ 1323916 w 2038796"/>
              <a:gd name="connsiteY55" fmla="*/ 1436114 h 3386383"/>
              <a:gd name="connsiteX56" fmla="*/ 1262208 w 2038796"/>
              <a:gd name="connsiteY56" fmla="*/ 1295869 h 3386383"/>
              <a:gd name="connsiteX57" fmla="*/ 1284648 w 2038796"/>
              <a:gd name="connsiteY57" fmla="*/ 1189282 h 3386383"/>
              <a:gd name="connsiteX58" fmla="*/ 1256599 w 2038796"/>
              <a:gd name="connsiteY58" fmla="*/ 1026597 h 3386383"/>
              <a:gd name="connsiteX59" fmla="*/ 1256599 w 2038796"/>
              <a:gd name="connsiteY59" fmla="*/ 830254 h 3386383"/>
              <a:gd name="connsiteX60" fmla="*/ 970498 w 2038796"/>
              <a:gd name="connsiteY60" fmla="*/ 661959 h 3386383"/>
              <a:gd name="connsiteX61" fmla="*/ 1015376 w 2038796"/>
              <a:gd name="connsiteY61" fmla="*/ 572202 h 3386383"/>
              <a:gd name="connsiteX62" fmla="*/ 1150012 w 2038796"/>
              <a:gd name="connsiteY62" fmla="*/ 431957 h 3386383"/>
              <a:gd name="connsiteX63" fmla="*/ 1166841 w 2038796"/>
              <a:gd name="connsiteY63" fmla="*/ 263662 h 3386383"/>
              <a:gd name="connsiteX64" fmla="*/ 1161232 w 2038796"/>
              <a:gd name="connsiteY64" fmla="*/ 145856 h 3386383"/>
              <a:gd name="connsiteX65" fmla="*/ 1093914 w 2038796"/>
              <a:gd name="connsiteY65" fmla="*/ 84149 h 3386383"/>
              <a:gd name="connsiteX66" fmla="*/ 987327 w 2038796"/>
              <a:gd name="connsiteY66" fmla="*/ 44880 h 3386383"/>
              <a:gd name="connsiteX67" fmla="*/ 869522 w 2038796"/>
              <a:gd name="connsiteY67" fmla="*/ 0 h 3386383"/>
              <a:gd name="connsiteX0" fmla="*/ 869522 w 2038796"/>
              <a:gd name="connsiteY0" fmla="*/ 0 h 3386383"/>
              <a:gd name="connsiteX1" fmla="*/ 779764 w 2038796"/>
              <a:gd name="connsiteY1" fmla="*/ 67319 h 3386383"/>
              <a:gd name="connsiteX2" fmla="*/ 751715 w 2038796"/>
              <a:gd name="connsiteY2" fmla="*/ 173905 h 3386383"/>
              <a:gd name="connsiteX3" fmla="*/ 656348 w 2038796"/>
              <a:gd name="connsiteY3" fmla="*/ 353419 h 3386383"/>
              <a:gd name="connsiteX4" fmla="*/ 656348 w 2038796"/>
              <a:gd name="connsiteY4" fmla="*/ 409517 h 3386383"/>
              <a:gd name="connsiteX5" fmla="*/ 678788 w 2038796"/>
              <a:gd name="connsiteY5" fmla="*/ 516105 h 3386383"/>
              <a:gd name="connsiteX6" fmla="*/ 488053 w 2038796"/>
              <a:gd name="connsiteY6" fmla="*/ 617081 h 3386383"/>
              <a:gd name="connsiteX7" fmla="*/ 263661 w 2038796"/>
              <a:gd name="connsiteY7" fmla="*/ 622690 h 3386383"/>
              <a:gd name="connsiteX8" fmla="*/ 218783 w 2038796"/>
              <a:gd name="connsiteY8" fmla="*/ 897571 h 3386383"/>
              <a:gd name="connsiteX9" fmla="*/ 168294 w 2038796"/>
              <a:gd name="connsiteY9" fmla="*/ 1032207 h 3386383"/>
              <a:gd name="connsiteX10" fmla="*/ 72927 w 2038796"/>
              <a:gd name="connsiteY10" fmla="*/ 1161233 h 3386383"/>
              <a:gd name="connsiteX11" fmla="*/ 0 w 2038796"/>
              <a:gd name="connsiteY11" fmla="*/ 1295868 h 3386383"/>
              <a:gd name="connsiteX12" fmla="*/ 134635 w 2038796"/>
              <a:gd name="connsiteY12" fmla="*/ 1654896 h 3386383"/>
              <a:gd name="connsiteX13" fmla="*/ 241222 w 2038796"/>
              <a:gd name="connsiteY13" fmla="*/ 1727824 h 3386383"/>
              <a:gd name="connsiteX14" fmla="*/ 291710 w 2038796"/>
              <a:gd name="connsiteY14" fmla="*/ 1694165 h 3386383"/>
              <a:gd name="connsiteX15" fmla="*/ 336589 w 2038796"/>
              <a:gd name="connsiteY15" fmla="*/ 1750263 h 3386383"/>
              <a:gd name="connsiteX16" fmla="*/ 387077 w 2038796"/>
              <a:gd name="connsiteY16" fmla="*/ 3276133 h 3386383"/>
              <a:gd name="connsiteX17" fmla="*/ 448785 w 2038796"/>
              <a:gd name="connsiteY17" fmla="*/ 3248084 h 3386383"/>
              <a:gd name="connsiteX18" fmla="*/ 431956 w 2038796"/>
              <a:gd name="connsiteY18" fmla="*/ 2372953 h 3386383"/>
              <a:gd name="connsiteX19" fmla="*/ 482444 w 2038796"/>
              <a:gd name="connsiteY19" fmla="*/ 2384172 h 3386383"/>
              <a:gd name="connsiteX20" fmla="*/ 516103 w 2038796"/>
              <a:gd name="connsiteY20" fmla="*/ 3068570 h 3386383"/>
              <a:gd name="connsiteX21" fmla="*/ 583421 w 2038796"/>
              <a:gd name="connsiteY21" fmla="*/ 3074180 h 3386383"/>
              <a:gd name="connsiteX22" fmla="*/ 572201 w 2038796"/>
              <a:gd name="connsiteY22" fmla="*/ 2406612 h 3386383"/>
              <a:gd name="connsiteX23" fmla="*/ 964888 w 2038796"/>
              <a:gd name="connsiteY23" fmla="*/ 2412222 h 3386383"/>
              <a:gd name="connsiteX24" fmla="*/ 970498 w 2038796"/>
              <a:gd name="connsiteY24" fmla="*/ 2816128 h 3386383"/>
              <a:gd name="connsiteX25" fmla="*/ 1026596 w 2038796"/>
              <a:gd name="connsiteY25" fmla="*/ 2827348 h 3386383"/>
              <a:gd name="connsiteX26" fmla="*/ 1020986 w 2038796"/>
              <a:gd name="connsiteY26" fmla="*/ 3001252 h 3386383"/>
              <a:gd name="connsiteX27" fmla="*/ 1009767 w 2038796"/>
              <a:gd name="connsiteY27" fmla="*/ 3124668 h 3386383"/>
              <a:gd name="connsiteX28" fmla="*/ 1020986 w 2038796"/>
              <a:gd name="connsiteY28" fmla="*/ 3343451 h 3386383"/>
              <a:gd name="connsiteX29" fmla="*/ 1217330 w 2038796"/>
              <a:gd name="connsiteY29" fmla="*/ 3360280 h 3386383"/>
              <a:gd name="connsiteX30" fmla="*/ 1211720 w 2038796"/>
              <a:gd name="connsiteY30" fmla="*/ 3175157 h 3386383"/>
              <a:gd name="connsiteX31" fmla="*/ 1228549 w 2038796"/>
              <a:gd name="connsiteY31" fmla="*/ 3001253 h 3386383"/>
              <a:gd name="connsiteX32" fmla="*/ 1211720 w 2038796"/>
              <a:gd name="connsiteY32" fmla="*/ 2872226 h 3386383"/>
              <a:gd name="connsiteX33" fmla="*/ 1234159 w 2038796"/>
              <a:gd name="connsiteY33" fmla="*/ 2832958 h 3386383"/>
              <a:gd name="connsiteX34" fmla="*/ 1250988 w 2038796"/>
              <a:gd name="connsiteY34" fmla="*/ 2614175 h 3386383"/>
              <a:gd name="connsiteX35" fmla="*/ 1256599 w 2038796"/>
              <a:gd name="connsiteY35" fmla="*/ 2501979 h 3386383"/>
              <a:gd name="connsiteX36" fmla="*/ 1262209 w 2038796"/>
              <a:gd name="connsiteY36" fmla="*/ 2367343 h 3386383"/>
              <a:gd name="connsiteX37" fmla="*/ 1357574 w 2038796"/>
              <a:gd name="connsiteY37" fmla="*/ 2518809 h 3386383"/>
              <a:gd name="connsiteX38" fmla="*/ 1368794 w 2038796"/>
              <a:gd name="connsiteY38" fmla="*/ 3057351 h 3386383"/>
              <a:gd name="connsiteX39" fmla="*/ 1413673 w 2038796"/>
              <a:gd name="connsiteY39" fmla="*/ 3062960 h 3386383"/>
              <a:gd name="connsiteX40" fmla="*/ 1419283 w 2038796"/>
              <a:gd name="connsiteY40" fmla="*/ 2574906 h 3386383"/>
              <a:gd name="connsiteX41" fmla="*/ 1469772 w 2038796"/>
              <a:gd name="connsiteY41" fmla="*/ 2586126 h 3386383"/>
              <a:gd name="connsiteX42" fmla="*/ 1480991 w 2038796"/>
              <a:gd name="connsiteY42" fmla="*/ 3242474 h 3386383"/>
              <a:gd name="connsiteX43" fmla="*/ 1531479 w 2038796"/>
              <a:gd name="connsiteY43" fmla="*/ 3225645 h 3386383"/>
              <a:gd name="connsiteX44" fmla="*/ 1537090 w 2038796"/>
              <a:gd name="connsiteY44" fmla="*/ 2754420 h 3386383"/>
              <a:gd name="connsiteX45" fmla="*/ 1604407 w 2038796"/>
              <a:gd name="connsiteY45" fmla="*/ 2911495 h 3386383"/>
              <a:gd name="connsiteX46" fmla="*/ 1991484 w 2038796"/>
              <a:gd name="connsiteY46" fmla="*/ 2715151 h 3386383"/>
              <a:gd name="connsiteX47" fmla="*/ 1997094 w 2038796"/>
              <a:gd name="connsiteY47" fmla="*/ 2602955 h 3386383"/>
              <a:gd name="connsiteX48" fmla="*/ 1828800 w 2038796"/>
              <a:gd name="connsiteY48" fmla="*/ 2586126 h 3386383"/>
              <a:gd name="connsiteX49" fmla="*/ 1705383 w 2038796"/>
              <a:gd name="connsiteY49" fmla="*/ 2513198 h 3386383"/>
              <a:gd name="connsiteX50" fmla="*/ 1621237 w 2038796"/>
              <a:gd name="connsiteY50" fmla="*/ 2401002 h 3386383"/>
              <a:gd name="connsiteX51" fmla="*/ 1694164 w 2038796"/>
              <a:gd name="connsiteY51" fmla="*/ 2277586 h 3386383"/>
              <a:gd name="connsiteX52" fmla="*/ 1514650 w 2038796"/>
              <a:gd name="connsiteY52" fmla="*/ 1980266 h 3386383"/>
              <a:gd name="connsiteX53" fmla="*/ 1503430 w 2038796"/>
              <a:gd name="connsiteY53" fmla="*/ 1576359 h 3386383"/>
              <a:gd name="connsiteX54" fmla="*/ 1312696 w 2038796"/>
              <a:gd name="connsiteY54" fmla="*/ 1598797 h 3386383"/>
              <a:gd name="connsiteX55" fmla="*/ 1323916 w 2038796"/>
              <a:gd name="connsiteY55" fmla="*/ 1436114 h 3386383"/>
              <a:gd name="connsiteX56" fmla="*/ 1262208 w 2038796"/>
              <a:gd name="connsiteY56" fmla="*/ 1295869 h 3386383"/>
              <a:gd name="connsiteX57" fmla="*/ 1284648 w 2038796"/>
              <a:gd name="connsiteY57" fmla="*/ 1189282 h 3386383"/>
              <a:gd name="connsiteX58" fmla="*/ 1256599 w 2038796"/>
              <a:gd name="connsiteY58" fmla="*/ 1026597 h 3386383"/>
              <a:gd name="connsiteX59" fmla="*/ 1256599 w 2038796"/>
              <a:gd name="connsiteY59" fmla="*/ 830254 h 3386383"/>
              <a:gd name="connsiteX60" fmla="*/ 970498 w 2038796"/>
              <a:gd name="connsiteY60" fmla="*/ 661959 h 3386383"/>
              <a:gd name="connsiteX61" fmla="*/ 1015376 w 2038796"/>
              <a:gd name="connsiteY61" fmla="*/ 572202 h 3386383"/>
              <a:gd name="connsiteX62" fmla="*/ 1150012 w 2038796"/>
              <a:gd name="connsiteY62" fmla="*/ 431957 h 3386383"/>
              <a:gd name="connsiteX63" fmla="*/ 1166841 w 2038796"/>
              <a:gd name="connsiteY63" fmla="*/ 263662 h 3386383"/>
              <a:gd name="connsiteX64" fmla="*/ 1161232 w 2038796"/>
              <a:gd name="connsiteY64" fmla="*/ 145856 h 3386383"/>
              <a:gd name="connsiteX65" fmla="*/ 1093914 w 2038796"/>
              <a:gd name="connsiteY65" fmla="*/ 84149 h 3386383"/>
              <a:gd name="connsiteX66" fmla="*/ 987327 w 2038796"/>
              <a:gd name="connsiteY66" fmla="*/ 44880 h 3386383"/>
              <a:gd name="connsiteX67" fmla="*/ 869522 w 2038796"/>
              <a:gd name="connsiteY67" fmla="*/ 0 h 3386383"/>
              <a:gd name="connsiteX0" fmla="*/ 869522 w 2038796"/>
              <a:gd name="connsiteY0" fmla="*/ 0 h 3386383"/>
              <a:gd name="connsiteX1" fmla="*/ 779764 w 2038796"/>
              <a:gd name="connsiteY1" fmla="*/ 67319 h 3386383"/>
              <a:gd name="connsiteX2" fmla="*/ 751715 w 2038796"/>
              <a:gd name="connsiteY2" fmla="*/ 173905 h 3386383"/>
              <a:gd name="connsiteX3" fmla="*/ 656348 w 2038796"/>
              <a:gd name="connsiteY3" fmla="*/ 353419 h 3386383"/>
              <a:gd name="connsiteX4" fmla="*/ 656348 w 2038796"/>
              <a:gd name="connsiteY4" fmla="*/ 409517 h 3386383"/>
              <a:gd name="connsiteX5" fmla="*/ 678788 w 2038796"/>
              <a:gd name="connsiteY5" fmla="*/ 516105 h 3386383"/>
              <a:gd name="connsiteX6" fmla="*/ 488053 w 2038796"/>
              <a:gd name="connsiteY6" fmla="*/ 617081 h 3386383"/>
              <a:gd name="connsiteX7" fmla="*/ 280491 w 2038796"/>
              <a:gd name="connsiteY7" fmla="*/ 656349 h 3386383"/>
              <a:gd name="connsiteX8" fmla="*/ 263661 w 2038796"/>
              <a:gd name="connsiteY8" fmla="*/ 622690 h 3386383"/>
              <a:gd name="connsiteX9" fmla="*/ 218783 w 2038796"/>
              <a:gd name="connsiteY9" fmla="*/ 897571 h 3386383"/>
              <a:gd name="connsiteX10" fmla="*/ 168294 w 2038796"/>
              <a:gd name="connsiteY10" fmla="*/ 1032207 h 3386383"/>
              <a:gd name="connsiteX11" fmla="*/ 72927 w 2038796"/>
              <a:gd name="connsiteY11" fmla="*/ 1161233 h 3386383"/>
              <a:gd name="connsiteX12" fmla="*/ 0 w 2038796"/>
              <a:gd name="connsiteY12" fmla="*/ 1295868 h 3386383"/>
              <a:gd name="connsiteX13" fmla="*/ 134635 w 2038796"/>
              <a:gd name="connsiteY13" fmla="*/ 1654896 h 3386383"/>
              <a:gd name="connsiteX14" fmla="*/ 241222 w 2038796"/>
              <a:gd name="connsiteY14" fmla="*/ 1727824 h 3386383"/>
              <a:gd name="connsiteX15" fmla="*/ 291710 w 2038796"/>
              <a:gd name="connsiteY15" fmla="*/ 1694165 h 3386383"/>
              <a:gd name="connsiteX16" fmla="*/ 336589 w 2038796"/>
              <a:gd name="connsiteY16" fmla="*/ 1750263 h 3386383"/>
              <a:gd name="connsiteX17" fmla="*/ 387077 w 2038796"/>
              <a:gd name="connsiteY17" fmla="*/ 3276133 h 3386383"/>
              <a:gd name="connsiteX18" fmla="*/ 448785 w 2038796"/>
              <a:gd name="connsiteY18" fmla="*/ 3248084 h 3386383"/>
              <a:gd name="connsiteX19" fmla="*/ 431956 w 2038796"/>
              <a:gd name="connsiteY19" fmla="*/ 2372953 h 3386383"/>
              <a:gd name="connsiteX20" fmla="*/ 482444 w 2038796"/>
              <a:gd name="connsiteY20" fmla="*/ 2384172 h 3386383"/>
              <a:gd name="connsiteX21" fmla="*/ 516103 w 2038796"/>
              <a:gd name="connsiteY21" fmla="*/ 3068570 h 3386383"/>
              <a:gd name="connsiteX22" fmla="*/ 583421 w 2038796"/>
              <a:gd name="connsiteY22" fmla="*/ 3074180 h 3386383"/>
              <a:gd name="connsiteX23" fmla="*/ 572201 w 2038796"/>
              <a:gd name="connsiteY23" fmla="*/ 2406612 h 3386383"/>
              <a:gd name="connsiteX24" fmla="*/ 964888 w 2038796"/>
              <a:gd name="connsiteY24" fmla="*/ 2412222 h 3386383"/>
              <a:gd name="connsiteX25" fmla="*/ 970498 w 2038796"/>
              <a:gd name="connsiteY25" fmla="*/ 2816128 h 3386383"/>
              <a:gd name="connsiteX26" fmla="*/ 1026596 w 2038796"/>
              <a:gd name="connsiteY26" fmla="*/ 2827348 h 3386383"/>
              <a:gd name="connsiteX27" fmla="*/ 1020986 w 2038796"/>
              <a:gd name="connsiteY27" fmla="*/ 3001252 h 3386383"/>
              <a:gd name="connsiteX28" fmla="*/ 1009767 w 2038796"/>
              <a:gd name="connsiteY28" fmla="*/ 3124668 h 3386383"/>
              <a:gd name="connsiteX29" fmla="*/ 1020986 w 2038796"/>
              <a:gd name="connsiteY29" fmla="*/ 3343451 h 3386383"/>
              <a:gd name="connsiteX30" fmla="*/ 1217330 w 2038796"/>
              <a:gd name="connsiteY30" fmla="*/ 3360280 h 3386383"/>
              <a:gd name="connsiteX31" fmla="*/ 1211720 w 2038796"/>
              <a:gd name="connsiteY31" fmla="*/ 3175157 h 3386383"/>
              <a:gd name="connsiteX32" fmla="*/ 1228549 w 2038796"/>
              <a:gd name="connsiteY32" fmla="*/ 3001253 h 3386383"/>
              <a:gd name="connsiteX33" fmla="*/ 1211720 w 2038796"/>
              <a:gd name="connsiteY33" fmla="*/ 2872226 h 3386383"/>
              <a:gd name="connsiteX34" fmla="*/ 1234159 w 2038796"/>
              <a:gd name="connsiteY34" fmla="*/ 2832958 h 3386383"/>
              <a:gd name="connsiteX35" fmla="*/ 1250988 w 2038796"/>
              <a:gd name="connsiteY35" fmla="*/ 2614175 h 3386383"/>
              <a:gd name="connsiteX36" fmla="*/ 1256599 w 2038796"/>
              <a:gd name="connsiteY36" fmla="*/ 2501979 h 3386383"/>
              <a:gd name="connsiteX37" fmla="*/ 1262209 w 2038796"/>
              <a:gd name="connsiteY37" fmla="*/ 2367343 h 3386383"/>
              <a:gd name="connsiteX38" fmla="*/ 1357574 w 2038796"/>
              <a:gd name="connsiteY38" fmla="*/ 2518809 h 3386383"/>
              <a:gd name="connsiteX39" fmla="*/ 1368794 w 2038796"/>
              <a:gd name="connsiteY39" fmla="*/ 3057351 h 3386383"/>
              <a:gd name="connsiteX40" fmla="*/ 1413673 w 2038796"/>
              <a:gd name="connsiteY40" fmla="*/ 3062960 h 3386383"/>
              <a:gd name="connsiteX41" fmla="*/ 1419283 w 2038796"/>
              <a:gd name="connsiteY41" fmla="*/ 2574906 h 3386383"/>
              <a:gd name="connsiteX42" fmla="*/ 1469772 w 2038796"/>
              <a:gd name="connsiteY42" fmla="*/ 2586126 h 3386383"/>
              <a:gd name="connsiteX43" fmla="*/ 1480991 w 2038796"/>
              <a:gd name="connsiteY43" fmla="*/ 3242474 h 3386383"/>
              <a:gd name="connsiteX44" fmla="*/ 1531479 w 2038796"/>
              <a:gd name="connsiteY44" fmla="*/ 3225645 h 3386383"/>
              <a:gd name="connsiteX45" fmla="*/ 1537090 w 2038796"/>
              <a:gd name="connsiteY45" fmla="*/ 2754420 h 3386383"/>
              <a:gd name="connsiteX46" fmla="*/ 1604407 w 2038796"/>
              <a:gd name="connsiteY46" fmla="*/ 2911495 h 3386383"/>
              <a:gd name="connsiteX47" fmla="*/ 1991484 w 2038796"/>
              <a:gd name="connsiteY47" fmla="*/ 2715151 h 3386383"/>
              <a:gd name="connsiteX48" fmla="*/ 1997094 w 2038796"/>
              <a:gd name="connsiteY48" fmla="*/ 2602955 h 3386383"/>
              <a:gd name="connsiteX49" fmla="*/ 1828800 w 2038796"/>
              <a:gd name="connsiteY49" fmla="*/ 2586126 h 3386383"/>
              <a:gd name="connsiteX50" fmla="*/ 1705383 w 2038796"/>
              <a:gd name="connsiteY50" fmla="*/ 2513198 h 3386383"/>
              <a:gd name="connsiteX51" fmla="*/ 1621237 w 2038796"/>
              <a:gd name="connsiteY51" fmla="*/ 2401002 h 3386383"/>
              <a:gd name="connsiteX52" fmla="*/ 1694164 w 2038796"/>
              <a:gd name="connsiteY52" fmla="*/ 2277586 h 3386383"/>
              <a:gd name="connsiteX53" fmla="*/ 1514650 w 2038796"/>
              <a:gd name="connsiteY53" fmla="*/ 1980266 h 3386383"/>
              <a:gd name="connsiteX54" fmla="*/ 1503430 w 2038796"/>
              <a:gd name="connsiteY54" fmla="*/ 1576359 h 3386383"/>
              <a:gd name="connsiteX55" fmla="*/ 1312696 w 2038796"/>
              <a:gd name="connsiteY55" fmla="*/ 1598797 h 3386383"/>
              <a:gd name="connsiteX56" fmla="*/ 1323916 w 2038796"/>
              <a:gd name="connsiteY56" fmla="*/ 1436114 h 3386383"/>
              <a:gd name="connsiteX57" fmla="*/ 1262208 w 2038796"/>
              <a:gd name="connsiteY57" fmla="*/ 1295869 h 3386383"/>
              <a:gd name="connsiteX58" fmla="*/ 1284648 w 2038796"/>
              <a:gd name="connsiteY58" fmla="*/ 1189282 h 3386383"/>
              <a:gd name="connsiteX59" fmla="*/ 1256599 w 2038796"/>
              <a:gd name="connsiteY59" fmla="*/ 1026597 h 3386383"/>
              <a:gd name="connsiteX60" fmla="*/ 1256599 w 2038796"/>
              <a:gd name="connsiteY60" fmla="*/ 830254 h 3386383"/>
              <a:gd name="connsiteX61" fmla="*/ 970498 w 2038796"/>
              <a:gd name="connsiteY61" fmla="*/ 661959 h 3386383"/>
              <a:gd name="connsiteX62" fmla="*/ 1015376 w 2038796"/>
              <a:gd name="connsiteY62" fmla="*/ 572202 h 3386383"/>
              <a:gd name="connsiteX63" fmla="*/ 1150012 w 2038796"/>
              <a:gd name="connsiteY63" fmla="*/ 431957 h 3386383"/>
              <a:gd name="connsiteX64" fmla="*/ 1166841 w 2038796"/>
              <a:gd name="connsiteY64" fmla="*/ 263662 h 3386383"/>
              <a:gd name="connsiteX65" fmla="*/ 1161232 w 2038796"/>
              <a:gd name="connsiteY65" fmla="*/ 145856 h 3386383"/>
              <a:gd name="connsiteX66" fmla="*/ 1093914 w 2038796"/>
              <a:gd name="connsiteY66" fmla="*/ 84149 h 3386383"/>
              <a:gd name="connsiteX67" fmla="*/ 987327 w 2038796"/>
              <a:gd name="connsiteY67" fmla="*/ 44880 h 3386383"/>
              <a:gd name="connsiteX68" fmla="*/ 869522 w 2038796"/>
              <a:gd name="connsiteY68" fmla="*/ 0 h 3386383"/>
              <a:gd name="connsiteX0" fmla="*/ 869522 w 2038796"/>
              <a:gd name="connsiteY0" fmla="*/ 0 h 3386383"/>
              <a:gd name="connsiteX1" fmla="*/ 779764 w 2038796"/>
              <a:gd name="connsiteY1" fmla="*/ 67319 h 3386383"/>
              <a:gd name="connsiteX2" fmla="*/ 751715 w 2038796"/>
              <a:gd name="connsiteY2" fmla="*/ 173905 h 3386383"/>
              <a:gd name="connsiteX3" fmla="*/ 656348 w 2038796"/>
              <a:gd name="connsiteY3" fmla="*/ 353419 h 3386383"/>
              <a:gd name="connsiteX4" fmla="*/ 656348 w 2038796"/>
              <a:gd name="connsiteY4" fmla="*/ 409517 h 3386383"/>
              <a:gd name="connsiteX5" fmla="*/ 678788 w 2038796"/>
              <a:gd name="connsiteY5" fmla="*/ 516105 h 3386383"/>
              <a:gd name="connsiteX6" fmla="*/ 488053 w 2038796"/>
              <a:gd name="connsiteY6" fmla="*/ 617081 h 3386383"/>
              <a:gd name="connsiteX7" fmla="*/ 280491 w 2038796"/>
              <a:gd name="connsiteY7" fmla="*/ 656349 h 3386383"/>
              <a:gd name="connsiteX8" fmla="*/ 218783 w 2038796"/>
              <a:gd name="connsiteY8" fmla="*/ 897571 h 3386383"/>
              <a:gd name="connsiteX9" fmla="*/ 168294 w 2038796"/>
              <a:gd name="connsiteY9" fmla="*/ 1032207 h 3386383"/>
              <a:gd name="connsiteX10" fmla="*/ 72927 w 2038796"/>
              <a:gd name="connsiteY10" fmla="*/ 1161233 h 3386383"/>
              <a:gd name="connsiteX11" fmla="*/ 0 w 2038796"/>
              <a:gd name="connsiteY11" fmla="*/ 1295868 h 3386383"/>
              <a:gd name="connsiteX12" fmla="*/ 134635 w 2038796"/>
              <a:gd name="connsiteY12" fmla="*/ 1654896 h 3386383"/>
              <a:gd name="connsiteX13" fmla="*/ 241222 w 2038796"/>
              <a:gd name="connsiteY13" fmla="*/ 1727824 h 3386383"/>
              <a:gd name="connsiteX14" fmla="*/ 291710 w 2038796"/>
              <a:gd name="connsiteY14" fmla="*/ 1694165 h 3386383"/>
              <a:gd name="connsiteX15" fmla="*/ 336589 w 2038796"/>
              <a:gd name="connsiteY15" fmla="*/ 1750263 h 3386383"/>
              <a:gd name="connsiteX16" fmla="*/ 387077 w 2038796"/>
              <a:gd name="connsiteY16" fmla="*/ 3276133 h 3386383"/>
              <a:gd name="connsiteX17" fmla="*/ 448785 w 2038796"/>
              <a:gd name="connsiteY17" fmla="*/ 3248084 h 3386383"/>
              <a:gd name="connsiteX18" fmla="*/ 431956 w 2038796"/>
              <a:gd name="connsiteY18" fmla="*/ 2372953 h 3386383"/>
              <a:gd name="connsiteX19" fmla="*/ 482444 w 2038796"/>
              <a:gd name="connsiteY19" fmla="*/ 2384172 h 3386383"/>
              <a:gd name="connsiteX20" fmla="*/ 516103 w 2038796"/>
              <a:gd name="connsiteY20" fmla="*/ 3068570 h 3386383"/>
              <a:gd name="connsiteX21" fmla="*/ 583421 w 2038796"/>
              <a:gd name="connsiteY21" fmla="*/ 3074180 h 3386383"/>
              <a:gd name="connsiteX22" fmla="*/ 572201 w 2038796"/>
              <a:gd name="connsiteY22" fmla="*/ 2406612 h 3386383"/>
              <a:gd name="connsiteX23" fmla="*/ 964888 w 2038796"/>
              <a:gd name="connsiteY23" fmla="*/ 2412222 h 3386383"/>
              <a:gd name="connsiteX24" fmla="*/ 970498 w 2038796"/>
              <a:gd name="connsiteY24" fmla="*/ 2816128 h 3386383"/>
              <a:gd name="connsiteX25" fmla="*/ 1026596 w 2038796"/>
              <a:gd name="connsiteY25" fmla="*/ 2827348 h 3386383"/>
              <a:gd name="connsiteX26" fmla="*/ 1020986 w 2038796"/>
              <a:gd name="connsiteY26" fmla="*/ 3001252 h 3386383"/>
              <a:gd name="connsiteX27" fmla="*/ 1009767 w 2038796"/>
              <a:gd name="connsiteY27" fmla="*/ 3124668 h 3386383"/>
              <a:gd name="connsiteX28" fmla="*/ 1020986 w 2038796"/>
              <a:gd name="connsiteY28" fmla="*/ 3343451 h 3386383"/>
              <a:gd name="connsiteX29" fmla="*/ 1217330 w 2038796"/>
              <a:gd name="connsiteY29" fmla="*/ 3360280 h 3386383"/>
              <a:gd name="connsiteX30" fmla="*/ 1211720 w 2038796"/>
              <a:gd name="connsiteY30" fmla="*/ 3175157 h 3386383"/>
              <a:gd name="connsiteX31" fmla="*/ 1228549 w 2038796"/>
              <a:gd name="connsiteY31" fmla="*/ 3001253 h 3386383"/>
              <a:gd name="connsiteX32" fmla="*/ 1211720 w 2038796"/>
              <a:gd name="connsiteY32" fmla="*/ 2872226 h 3386383"/>
              <a:gd name="connsiteX33" fmla="*/ 1234159 w 2038796"/>
              <a:gd name="connsiteY33" fmla="*/ 2832958 h 3386383"/>
              <a:gd name="connsiteX34" fmla="*/ 1250988 w 2038796"/>
              <a:gd name="connsiteY34" fmla="*/ 2614175 h 3386383"/>
              <a:gd name="connsiteX35" fmla="*/ 1256599 w 2038796"/>
              <a:gd name="connsiteY35" fmla="*/ 2501979 h 3386383"/>
              <a:gd name="connsiteX36" fmla="*/ 1262209 w 2038796"/>
              <a:gd name="connsiteY36" fmla="*/ 2367343 h 3386383"/>
              <a:gd name="connsiteX37" fmla="*/ 1357574 w 2038796"/>
              <a:gd name="connsiteY37" fmla="*/ 2518809 h 3386383"/>
              <a:gd name="connsiteX38" fmla="*/ 1368794 w 2038796"/>
              <a:gd name="connsiteY38" fmla="*/ 3057351 h 3386383"/>
              <a:gd name="connsiteX39" fmla="*/ 1413673 w 2038796"/>
              <a:gd name="connsiteY39" fmla="*/ 3062960 h 3386383"/>
              <a:gd name="connsiteX40" fmla="*/ 1419283 w 2038796"/>
              <a:gd name="connsiteY40" fmla="*/ 2574906 h 3386383"/>
              <a:gd name="connsiteX41" fmla="*/ 1469772 w 2038796"/>
              <a:gd name="connsiteY41" fmla="*/ 2586126 h 3386383"/>
              <a:gd name="connsiteX42" fmla="*/ 1480991 w 2038796"/>
              <a:gd name="connsiteY42" fmla="*/ 3242474 h 3386383"/>
              <a:gd name="connsiteX43" fmla="*/ 1531479 w 2038796"/>
              <a:gd name="connsiteY43" fmla="*/ 3225645 h 3386383"/>
              <a:gd name="connsiteX44" fmla="*/ 1537090 w 2038796"/>
              <a:gd name="connsiteY44" fmla="*/ 2754420 h 3386383"/>
              <a:gd name="connsiteX45" fmla="*/ 1604407 w 2038796"/>
              <a:gd name="connsiteY45" fmla="*/ 2911495 h 3386383"/>
              <a:gd name="connsiteX46" fmla="*/ 1991484 w 2038796"/>
              <a:gd name="connsiteY46" fmla="*/ 2715151 h 3386383"/>
              <a:gd name="connsiteX47" fmla="*/ 1997094 w 2038796"/>
              <a:gd name="connsiteY47" fmla="*/ 2602955 h 3386383"/>
              <a:gd name="connsiteX48" fmla="*/ 1828800 w 2038796"/>
              <a:gd name="connsiteY48" fmla="*/ 2586126 h 3386383"/>
              <a:gd name="connsiteX49" fmla="*/ 1705383 w 2038796"/>
              <a:gd name="connsiteY49" fmla="*/ 2513198 h 3386383"/>
              <a:gd name="connsiteX50" fmla="*/ 1621237 w 2038796"/>
              <a:gd name="connsiteY50" fmla="*/ 2401002 h 3386383"/>
              <a:gd name="connsiteX51" fmla="*/ 1694164 w 2038796"/>
              <a:gd name="connsiteY51" fmla="*/ 2277586 h 3386383"/>
              <a:gd name="connsiteX52" fmla="*/ 1514650 w 2038796"/>
              <a:gd name="connsiteY52" fmla="*/ 1980266 h 3386383"/>
              <a:gd name="connsiteX53" fmla="*/ 1503430 w 2038796"/>
              <a:gd name="connsiteY53" fmla="*/ 1576359 h 3386383"/>
              <a:gd name="connsiteX54" fmla="*/ 1312696 w 2038796"/>
              <a:gd name="connsiteY54" fmla="*/ 1598797 h 3386383"/>
              <a:gd name="connsiteX55" fmla="*/ 1323916 w 2038796"/>
              <a:gd name="connsiteY55" fmla="*/ 1436114 h 3386383"/>
              <a:gd name="connsiteX56" fmla="*/ 1262208 w 2038796"/>
              <a:gd name="connsiteY56" fmla="*/ 1295869 h 3386383"/>
              <a:gd name="connsiteX57" fmla="*/ 1284648 w 2038796"/>
              <a:gd name="connsiteY57" fmla="*/ 1189282 h 3386383"/>
              <a:gd name="connsiteX58" fmla="*/ 1256599 w 2038796"/>
              <a:gd name="connsiteY58" fmla="*/ 1026597 h 3386383"/>
              <a:gd name="connsiteX59" fmla="*/ 1256599 w 2038796"/>
              <a:gd name="connsiteY59" fmla="*/ 830254 h 3386383"/>
              <a:gd name="connsiteX60" fmla="*/ 970498 w 2038796"/>
              <a:gd name="connsiteY60" fmla="*/ 661959 h 3386383"/>
              <a:gd name="connsiteX61" fmla="*/ 1015376 w 2038796"/>
              <a:gd name="connsiteY61" fmla="*/ 572202 h 3386383"/>
              <a:gd name="connsiteX62" fmla="*/ 1150012 w 2038796"/>
              <a:gd name="connsiteY62" fmla="*/ 431957 h 3386383"/>
              <a:gd name="connsiteX63" fmla="*/ 1166841 w 2038796"/>
              <a:gd name="connsiteY63" fmla="*/ 263662 h 3386383"/>
              <a:gd name="connsiteX64" fmla="*/ 1161232 w 2038796"/>
              <a:gd name="connsiteY64" fmla="*/ 145856 h 3386383"/>
              <a:gd name="connsiteX65" fmla="*/ 1093914 w 2038796"/>
              <a:gd name="connsiteY65" fmla="*/ 84149 h 3386383"/>
              <a:gd name="connsiteX66" fmla="*/ 987327 w 2038796"/>
              <a:gd name="connsiteY66" fmla="*/ 44880 h 3386383"/>
              <a:gd name="connsiteX67" fmla="*/ 869522 w 2038796"/>
              <a:gd name="connsiteY67" fmla="*/ 0 h 3386383"/>
              <a:gd name="connsiteX0" fmla="*/ 869522 w 2038796"/>
              <a:gd name="connsiteY0" fmla="*/ 0 h 3386383"/>
              <a:gd name="connsiteX1" fmla="*/ 779764 w 2038796"/>
              <a:gd name="connsiteY1" fmla="*/ 67319 h 3386383"/>
              <a:gd name="connsiteX2" fmla="*/ 751715 w 2038796"/>
              <a:gd name="connsiteY2" fmla="*/ 173905 h 3386383"/>
              <a:gd name="connsiteX3" fmla="*/ 656348 w 2038796"/>
              <a:gd name="connsiteY3" fmla="*/ 353419 h 3386383"/>
              <a:gd name="connsiteX4" fmla="*/ 656348 w 2038796"/>
              <a:gd name="connsiteY4" fmla="*/ 409517 h 3386383"/>
              <a:gd name="connsiteX5" fmla="*/ 678788 w 2038796"/>
              <a:gd name="connsiteY5" fmla="*/ 516105 h 3386383"/>
              <a:gd name="connsiteX6" fmla="*/ 488053 w 2038796"/>
              <a:gd name="connsiteY6" fmla="*/ 617081 h 3386383"/>
              <a:gd name="connsiteX7" fmla="*/ 280491 w 2038796"/>
              <a:gd name="connsiteY7" fmla="*/ 673178 h 3386383"/>
              <a:gd name="connsiteX8" fmla="*/ 218783 w 2038796"/>
              <a:gd name="connsiteY8" fmla="*/ 897571 h 3386383"/>
              <a:gd name="connsiteX9" fmla="*/ 168294 w 2038796"/>
              <a:gd name="connsiteY9" fmla="*/ 1032207 h 3386383"/>
              <a:gd name="connsiteX10" fmla="*/ 72927 w 2038796"/>
              <a:gd name="connsiteY10" fmla="*/ 1161233 h 3386383"/>
              <a:gd name="connsiteX11" fmla="*/ 0 w 2038796"/>
              <a:gd name="connsiteY11" fmla="*/ 1295868 h 3386383"/>
              <a:gd name="connsiteX12" fmla="*/ 134635 w 2038796"/>
              <a:gd name="connsiteY12" fmla="*/ 1654896 h 3386383"/>
              <a:gd name="connsiteX13" fmla="*/ 241222 w 2038796"/>
              <a:gd name="connsiteY13" fmla="*/ 1727824 h 3386383"/>
              <a:gd name="connsiteX14" fmla="*/ 291710 w 2038796"/>
              <a:gd name="connsiteY14" fmla="*/ 1694165 h 3386383"/>
              <a:gd name="connsiteX15" fmla="*/ 336589 w 2038796"/>
              <a:gd name="connsiteY15" fmla="*/ 1750263 h 3386383"/>
              <a:gd name="connsiteX16" fmla="*/ 387077 w 2038796"/>
              <a:gd name="connsiteY16" fmla="*/ 3276133 h 3386383"/>
              <a:gd name="connsiteX17" fmla="*/ 448785 w 2038796"/>
              <a:gd name="connsiteY17" fmla="*/ 3248084 h 3386383"/>
              <a:gd name="connsiteX18" fmla="*/ 431956 w 2038796"/>
              <a:gd name="connsiteY18" fmla="*/ 2372953 h 3386383"/>
              <a:gd name="connsiteX19" fmla="*/ 482444 w 2038796"/>
              <a:gd name="connsiteY19" fmla="*/ 2384172 h 3386383"/>
              <a:gd name="connsiteX20" fmla="*/ 516103 w 2038796"/>
              <a:gd name="connsiteY20" fmla="*/ 3068570 h 3386383"/>
              <a:gd name="connsiteX21" fmla="*/ 583421 w 2038796"/>
              <a:gd name="connsiteY21" fmla="*/ 3074180 h 3386383"/>
              <a:gd name="connsiteX22" fmla="*/ 572201 w 2038796"/>
              <a:gd name="connsiteY22" fmla="*/ 2406612 h 3386383"/>
              <a:gd name="connsiteX23" fmla="*/ 964888 w 2038796"/>
              <a:gd name="connsiteY23" fmla="*/ 2412222 h 3386383"/>
              <a:gd name="connsiteX24" fmla="*/ 970498 w 2038796"/>
              <a:gd name="connsiteY24" fmla="*/ 2816128 h 3386383"/>
              <a:gd name="connsiteX25" fmla="*/ 1026596 w 2038796"/>
              <a:gd name="connsiteY25" fmla="*/ 2827348 h 3386383"/>
              <a:gd name="connsiteX26" fmla="*/ 1020986 w 2038796"/>
              <a:gd name="connsiteY26" fmla="*/ 3001252 h 3386383"/>
              <a:gd name="connsiteX27" fmla="*/ 1009767 w 2038796"/>
              <a:gd name="connsiteY27" fmla="*/ 3124668 h 3386383"/>
              <a:gd name="connsiteX28" fmla="*/ 1020986 w 2038796"/>
              <a:gd name="connsiteY28" fmla="*/ 3343451 h 3386383"/>
              <a:gd name="connsiteX29" fmla="*/ 1217330 w 2038796"/>
              <a:gd name="connsiteY29" fmla="*/ 3360280 h 3386383"/>
              <a:gd name="connsiteX30" fmla="*/ 1211720 w 2038796"/>
              <a:gd name="connsiteY30" fmla="*/ 3175157 h 3386383"/>
              <a:gd name="connsiteX31" fmla="*/ 1228549 w 2038796"/>
              <a:gd name="connsiteY31" fmla="*/ 3001253 h 3386383"/>
              <a:gd name="connsiteX32" fmla="*/ 1211720 w 2038796"/>
              <a:gd name="connsiteY32" fmla="*/ 2872226 h 3386383"/>
              <a:gd name="connsiteX33" fmla="*/ 1234159 w 2038796"/>
              <a:gd name="connsiteY33" fmla="*/ 2832958 h 3386383"/>
              <a:gd name="connsiteX34" fmla="*/ 1250988 w 2038796"/>
              <a:gd name="connsiteY34" fmla="*/ 2614175 h 3386383"/>
              <a:gd name="connsiteX35" fmla="*/ 1256599 w 2038796"/>
              <a:gd name="connsiteY35" fmla="*/ 2501979 h 3386383"/>
              <a:gd name="connsiteX36" fmla="*/ 1262209 w 2038796"/>
              <a:gd name="connsiteY36" fmla="*/ 2367343 h 3386383"/>
              <a:gd name="connsiteX37" fmla="*/ 1357574 w 2038796"/>
              <a:gd name="connsiteY37" fmla="*/ 2518809 h 3386383"/>
              <a:gd name="connsiteX38" fmla="*/ 1368794 w 2038796"/>
              <a:gd name="connsiteY38" fmla="*/ 3057351 h 3386383"/>
              <a:gd name="connsiteX39" fmla="*/ 1413673 w 2038796"/>
              <a:gd name="connsiteY39" fmla="*/ 3062960 h 3386383"/>
              <a:gd name="connsiteX40" fmla="*/ 1419283 w 2038796"/>
              <a:gd name="connsiteY40" fmla="*/ 2574906 h 3386383"/>
              <a:gd name="connsiteX41" fmla="*/ 1469772 w 2038796"/>
              <a:gd name="connsiteY41" fmla="*/ 2586126 h 3386383"/>
              <a:gd name="connsiteX42" fmla="*/ 1480991 w 2038796"/>
              <a:gd name="connsiteY42" fmla="*/ 3242474 h 3386383"/>
              <a:gd name="connsiteX43" fmla="*/ 1531479 w 2038796"/>
              <a:gd name="connsiteY43" fmla="*/ 3225645 h 3386383"/>
              <a:gd name="connsiteX44" fmla="*/ 1537090 w 2038796"/>
              <a:gd name="connsiteY44" fmla="*/ 2754420 h 3386383"/>
              <a:gd name="connsiteX45" fmla="*/ 1604407 w 2038796"/>
              <a:gd name="connsiteY45" fmla="*/ 2911495 h 3386383"/>
              <a:gd name="connsiteX46" fmla="*/ 1991484 w 2038796"/>
              <a:gd name="connsiteY46" fmla="*/ 2715151 h 3386383"/>
              <a:gd name="connsiteX47" fmla="*/ 1997094 w 2038796"/>
              <a:gd name="connsiteY47" fmla="*/ 2602955 h 3386383"/>
              <a:gd name="connsiteX48" fmla="*/ 1828800 w 2038796"/>
              <a:gd name="connsiteY48" fmla="*/ 2586126 h 3386383"/>
              <a:gd name="connsiteX49" fmla="*/ 1705383 w 2038796"/>
              <a:gd name="connsiteY49" fmla="*/ 2513198 h 3386383"/>
              <a:gd name="connsiteX50" fmla="*/ 1621237 w 2038796"/>
              <a:gd name="connsiteY50" fmla="*/ 2401002 h 3386383"/>
              <a:gd name="connsiteX51" fmla="*/ 1694164 w 2038796"/>
              <a:gd name="connsiteY51" fmla="*/ 2277586 h 3386383"/>
              <a:gd name="connsiteX52" fmla="*/ 1514650 w 2038796"/>
              <a:gd name="connsiteY52" fmla="*/ 1980266 h 3386383"/>
              <a:gd name="connsiteX53" fmla="*/ 1503430 w 2038796"/>
              <a:gd name="connsiteY53" fmla="*/ 1576359 h 3386383"/>
              <a:gd name="connsiteX54" fmla="*/ 1312696 w 2038796"/>
              <a:gd name="connsiteY54" fmla="*/ 1598797 h 3386383"/>
              <a:gd name="connsiteX55" fmla="*/ 1323916 w 2038796"/>
              <a:gd name="connsiteY55" fmla="*/ 1436114 h 3386383"/>
              <a:gd name="connsiteX56" fmla="*/ 1262208 w 2038796"/>
              <a:gd name="connsiteY56" fmla="*/ 1295869 h 3386383"/>
              <a:gd name="connsiteX57" fmla="*/ 1284648 w 2038796"/>
              <a:gd name="connsiteY57" fmla="*/ 1189282 h 3386383"/>
              <a:gd name="connsiteX58" fmla="*/ 1256599 w 2038796"/>
              <a:gd name="connsiteY58" fmla="*/ 1026597 h 3386383"/>
              <a:gd name="connsiteX59" fmla="*/ 1256599 w 2038796"/>
              <a:gd name="connsiteY59" fmla="*/ 830254 h 3386383"/>
              <a:gd name="connsiteX60" fmla="*/ 970498 w 2038796"/>
              <a:gd name="connsiteY60" fmla="*/ 661959 h 3386383"/>
              <a:gd name="connsiteX61" fmla="*/ 1015376 w 2038796"/>
              <a:gd name="connsiteY61" fmla="*/ 572202 h 3386383"/>
              <a:gd name="connsiteX62" fmla="*/ 1150012 w 2038796"/>
              <a:gd name="connsiteY62" fmla="*/ 431957 h 3386383"/>
              <a:gd name="connsiteX63" fmla="*/ 1166841 w 2038796"/>
              <a:gd name="connsiteY63" fmla="*/ 263662 h 3386383"/>
              <a:gd name="connsiteX64" fmla="*/ 1161232 w 2038796"/>
              <a:gd name="connsiteY64" fmla="*/ 145856 h 3386383"/>
              <a:gd name="connsiteX65" fmla="*/ 1093914 w 2038796"/>
              <a:gd name="connsiteY65" fmla="*/ 84149 h 3386383"/>
              <a:gd name="connsiteX66" fmla="*/ 987327 w 2038796"/>
              <a:gd name="connsiteY66" fmla="*/ 44880 h 3386383"/>
              <a:gd name="connsiteX67" fmla="*/ 869522 w 2038796"/>
              <a:gd name="connsiteY67" fmla="*/ 0 h 3386383"/>
              <a:gd name="connsiteX0" fmla="*/ 869522 w 2038796"/>
              <a:gd name="connsiteY0" fmla="*/ 0 h 3386383"/>
              <a:gd name="connsiteX1" fmla="*/ 779764 w 2038796"/>
              <a:gd name="connsiteY1" fmla="*/ 67319 h 3386383"/>
              <a:gd name="connsiteX2" fmla="*/ 751715 w 2038796"/>
              <a:gd name="connsiteY2" fmla="*/ 173905 h 3386383"/>
              <a:gd name="connsiteX3" fmla="*/ 656348 w 2038796"/>
              <a:gd name="connsiteY3" fmla="*/ 353419 h 3386383"/>
              <a:gd name="connsiteX4" fmla="*/ 656348 w 2038796"/>
              <a:gd name="connsiteY4" fmla="*/ 409517 h 3386383"/>
              <a:gd name="connsiteX5" fmla="*/ 678788 w 2038796"/>
              <a:gd name="connsiteY5" fmla="*/ 516105 h 3386383"/>
              <a:gd name="connsiteX6" fmla="*/ 488053 w 2038796"/>
              <a:gd name="connsiteY6" fmla="*/ 617081 h 3386383"/>
              <a:gd name="connsiteX7" fmla="*/ 280491 w 2038796"/>
              <a:gd name="connsiteY7" fmla="*/ 673178 h 3386383"/>
              <a:gd name="connsiteX8" fmla="*/ 218783 w 2038796"/>
              <a:gd name="connsiteY8" fmla="*/ 897571 h 3386383"/>
              <a:gd name="connsiteX9" fmla="*/ 168294 w 2038796"/>
              <a:gd name="connsiteY9" fmla="*/ 1032207 h 3386383"/>
              <a:gd name="connsiteX10" fmla="*/ 72927 w 2038796"/>
              <a:gd name="connsiteY10" fmla="*/ 1161233 h 3386383"/>
              <a:gd name="connsiteX11" fmla="*/ 0 w 2038796"/>
              <a:gd name="connsiteY11" fmla="*/ 1295868 h 3386383"/>
              <a:gd name="connsiteX12" fmla="*/ 134635 w 2038796"/>
              <a:gd name="connsiteY12" fmla="*/ 1654896 h 3386383"/>
              <a:gd name="connsiteX13" fmla="*/ 241222 w 2038796"/>
              <a:gd name="connsiteY13" fmla="*/ 1727824 h 3386383"/>
              <a:gd name="connsiteX14" fmla="*/ 291710 w 2038796"/>
              <a:gd name="connsiteY14" fmla="*/ 1694165 h 3386383"/>
              <a:gd name="connsiteX15" fmla="*/ 336589 w 2038796"/>
              <a:gd name="connsiteY15" fmla="*/ 1750263 h 3386383"/>
              <a:gd name="connsiteX16" fmla="*/ 387077 w 2038796"/>
              <a:gd name="connsiteY16" fmla="*/ 3276133 h 3386383"/>
              <a:gd name="connsiteX17" fmla="*/ 448785 w 2038796"/>
              <a:gd name="connsiteY17" fmla="*/ 3248084 h 3386383"/>
              <a:gd name="connsiteX18" fmla="*/ 431956 w 2038796"/>
              <a:gd name="connsiteY18" fmla="*/ 2372953 h 3386383"/>
              <a:gd name="connsiteX19" fmla="*/ 482444 w 2038796"/>
              <a:gd name="connsiteY19" fmla="*/ 2384172 h 3386383"/>
              <a:gd name="connsiteX20" fmla="*/ 516103 w 2038796"/>
              <a:gd name="connsiteY20" fmla="*/ 3068570 h 3386383"/>
              <a:gd name="connsiteX21" fmla="*/ 583421 w 2038796"/>
              <a:gd name="connsiteY21" fmla="*/ 3074180 h 3386383"/>
              <a:gd name="connsiteX22" fmla="*/ 572201 w 2038796"/>
              <a:gd name="connsiteY22" fmla="*/ 2406612 h 3386383"/>
              <a:gd name="connsiteX23" fmla="*/ 964888 w 2038796"/>
              <a:gd name="connsiteY23" fmla="*/ 2412222 h 3386383"/>
              <a:gd name="connsiteX24" fmla="*/ 970498 w 2038796"/>
              <a:gd name="connsiteY24" fmla="*/ 2816128 h 3386383"/>
              <a:gd name="connsiteX25" fmla="*/ 1026596 w 2038796"/>
              <a:gd name="connsiteY25" fmla="*/ 2827348 h 3386383"/>
              <a:gd name="connsiteX26" fmla="*/ 1020986 w 2038796"/>
              <a:gd name="connsiteY26" fmla="*/ 3001252 h 3386383"/>
              <a:gd name="connsiteX27" fmla="*/ 1009767 w 2038796"/>
              <a:gd name="connsiteY27" fmla="*/ 3124668 h 3386383"/>
              <a:gd name="connsiteX28" fmla="*/ 1020986 w 2038796"/>
              <a:gd name="connsiteY28" fmla="*/ 3343451 h 3386383"/>
              <a:gd name="connsiteX29" fmla="*/ 1217330 w 2038796"/>
              <a:gd name="connsiteY29" fmla="*/ 3360280 h 3386383"/>
              <a:gd name="connsiteX30" fmla="*/ 1211720 w 2038796"/>
              <a:gd name="connsiteY30" fmla="*/ 3175157 h 3386383"/>
              <a:gd name="connsiteX31" fmla="*/ 1228549 w 2038796"/>
              <a:gd name="connsiteY31" fmla="*/ 3001253 h 3386383"/>
              <a:gd name="connsiteX32" fmla="*/ 1211720 w 2038796"/>
              <a:gd name="connsiteY32" fmla="*/ 2872226 h 3386383"/>
              <a:gd name="connsiteX33" fmla="*/ 1234159 w 2038796"/>
              <a:gd name="connsiteY33" fmla="*/ 2832958 h 3386383"/>
              <a:gd name="connsiteX34" fmla="*/ 1250988 w 2038796"/>
              <a:gd name="connsiteY34" fmla="*/ 2614175 h 3386383"/>
              <a:gd name="connsiteX35" fmla="*/ 1256599 w 2038796"/>
              <a:gd name="connsiteY35" fmla="*/ 2501979 h 3386383"/>
              <a:gd name="connsiteX36" fmla="*/ 1262209 w 2038796"/>
              <a:gd name="connsiteY36" fmla="*/ 2367343 h 3386383"/>
              <a:gd name="connsiteX37" fmla="*/ 1357574 w 2038796"/>
              <a:gd name="connsiteY37" fmla="*/ 2518809 h 3386383"/>
              <a:gd name="connsiteX38" fmla="*/ 1368794 w 2038796"/>
              <a:gd name="connsiteY38" fmla="*/ 3057351 h 3386383"/>
              <a:gd name="connsiteX39" fmla="*/ 1413673 w 2038796"/>
              <a:gd name="connsiteY39" fmla="*/ 3062960 h 3386383"/>
              <a:gd name="connsiteX40" fmla="*/ 1419283 w 2038796"/>
              <a:gd name="connsiteY40" fmla="*/ 2574906 h 3386383"/>
              <a:gd name="connsiteX41" fmla="*/ 1469772 w 2038796"/>
              <a:gd name="connsiteY41" fmla="*/ 2586126 h 3386383"/>
              <a:gd name="connsiteX42" fmla="*/ 1480991 w 2038796"/>
              <a:gd name="connsiteY42" fmla="*/ 3242474 h 3386383"/>
              <a:gd name="connsiteX43" fmla="*/ 1531479 w 2038796"/>
              <a:gd name="connsiteY43" fmla="*/ 3225645 h 3386383"/>
              <a:gd name="connsiteX44" fmla="*/ 1537090 w 2038796"/>
              <a:gd name="connsiteY44" fmla="*/ 2754420 h 3386383"/>
              <a:gd name="connsiteX45" fmla="*/ 1604407 w 2038796"/>
              <a:gd name="connsiteY45" fmla="*/ 2911495 h 3386383"/>
              <a:gd name="connsiteX46" fmla="*/ 1991484 w 2038796"/>
              <a:gd name="connsiteY46" fmla="*/ 2715151 h 3386383"/>
              <a:gd name="connsiteX47" fmla="*/ 1997094 w 2038796"/>
              <a:gd name="connsiteY47" fmla="*/ 2602955 h 3386383"/>
              <a:gd name="connsiteX48" fmla="*/ 1828800 w 2038796"/>
              <a:gd name="connsiteY48" fmla="*/ 2586126 h 3386383"/>
              <a:gd name="connsiteX49" fmla="*/ 1705383 w 2038796"/>
              <a:gd name="connsiteY49" fmla="*/ 2513198 h 3386383"/>
              <a:gd name="connsiteX50" fmla="*/ 1621237 w 2038796"/>
              <a:gd name="connsiteY50" fmla="*/ 2401002 h 3386383"/>
              <a:gd name="connsiteX51" fmla="*/ 1694164 w 2038796"/>
              <a:gd name="connsiteY51" fmla="*/ 2277586 h 3386383"/>
              <a:gd name="connsiteX52" fmla="*/ 1514650 w 2038796"/>
              <a:gd name="connsiteY52" fmla="*/ 1980266 h 3386383"/>
              <a:gd name="connsiteX53" fmla="*/ 1503430 w 2038796"/>
              <a:gd name="connsiteY53" fmla="*/ 1576359 h 3386383"/>
              <a:gd name="connsiteX54" fmla="*/ 1312696 w 2038796"/>
              <a:gd name="connsiteY54" fmla="*/ 1598797 h 3386383"/>
              <a:gd name="connsiteX55" fmla="*/ 1323916 w 2038796"/>
              <a:gd name="connsiteY55" fmla="*/ 1436114 h 3386383"/>
              <a:gd name="connsiteX56" fmla="*/ 1262208 w 2038796"/>
              <a:gd name="connsiteY56" fmla="*/ 1295869 h 3386383"/>
              <a:gd name="connsiteX57" fmla="*/ 1284648 w 2038796"/>
              <a:gd name="connsiteY57" fmla="*/ 1189282 h 3386383"/>
              <a:gd name="connsiteX58" fmla="*/ 1256599 w 2038796"/>
              <a:gd name="connsiteY58" fmla="*/ 1026597 h 3386383"/>
              <a:gd name="connsiteX59" fmla="*/ 1256599 w 2038796"/>
              <a:gd name="connsiteY59" fmla="*/ 830254 h 3386383"/>
              <a:gd name="connsiteX60" fmla="*/ 970498 w 2038796"/>
              <a:gd name="connsiteY60" fmla="*/ 661959 h 3386383"/>
              <a:gd name="connsiteX61" fmla="*/ 1015376 w 2038796"/>
              <a:gd name="connsiteY61" fmla="*/ 572202 h 3386383"/>
              <a:gd name="connsiteX62" fmla="*/ 1150012 w 2038796"/>
              <a:gd name="connsiteY62" fmla="*/ 431957 h 3386383"/>
              <a:gd name="connsiteX63" fmla="*/ 1166841 w 2038796"/>
              <a:gd name="connsiteY63" fmla="*/ 263662 h 3386383"/>
              <a:gd name="connsiteX64" fmla="*/ 1161232 w 2038796"/>
              <a:gd name="connsiteY64" fmla="*/ 145856 h 3386383"/>
              <a:gd name="connsiteX65" fmla="*/ 1093914 w 2038796"/>
              <a:gd name="connsiteY65" fmla="*/ 84149 h 3386383"/>
              <a:gd name="connsiteX66" fmla="*/ 987327 w 2038796"/>
              <a:gd name="connsiteY66" fmla="*/ 44880 h 3386383"/>
              <a:gd name="connsiteX67" fmla="*/ 869522 w 2038796"/>
              <a:gd name="connsiteY67" fmla="*/ 0 h 3386383"/>
              <a:gd name="connsiteX0" fmla="*/ 869522 w 2038796"/>
              <a:gd name="connsiteY0" fmla="*/ 0 h 3386383"/>
              <a:gd name="connsiteX1" fmla="*/ 779764 w 2038796"/>
              <a:gd name="connsiteY1" fmla="*/ 67319 h 3386383"/>
              <a:gd name="connsiteX2" fmla="*/ 751715 w 2038796"/>
              <a:gd name="connsiteY2" fmla="*/ 173905 h 3386383"/>
              <a:gd name="connsiteX3" fmla="*/ 656348 w 2038796"/>
              <a:gd name="connsiteY3" fmla="*/ 409517 h 3386383"/>
              <a:gd name="connsiteX4" fmla="*/ 678788 w 2038796"/>
              <a:gd name="connsiteY4" fmla="*/ 516105 h 3386383"/>
              <a:gd name="connsiteX5" fmla="*/ 488053 w 2038796"/>
              <a:gd name="connsiteY5" fmla="*/ 617081 h 3386383"/>
              <a:gd name="connsiteX6" fmla="*/ 280491 w 2038796"/>
              <a:gd name="connsiteY6" fmla="*/ 673178 h 3386383"/>
              <a:gd name="connsiteX7" fmla="*/ 218783 w 2038796"/>
              <a:gd name="connsiteY7" fmla="*/ 897571 h 3386383"/>
              <a:gd name="connsiteX8" fmla="*/ 168294 w 2038796"/>
              <a:gd name="connsiteY8" fmla="*/ 1032207 h 3386383"/>
              <a:gd name="connsiteX9" fmla="*/ 72927 w 2038796"/>
              <a:gd name="connsiteY9" fmla="*/ 1161233 h 3386383"/>
              <a:gd name="connsiteX10" fmla="*/ 0 w 2038796"/>
              <a:gd name="connsiteY10" fmla="*/ 1295868 h 3386383"/>
              <a:gd name="connsiteX11" fmla="*/ 134635 w 2038796"/>
              <a:gd name="connsiteY11" fmla="*/ 1654896 h 3386383"/>
              <a:gd name="connsiteX12" fmla="*/ 241222 w 2038796"/>
              <a:gd name="connsiteY12" fmla="*/ 1727824 h 3386383"/>
              <a:gd name="connsiteX13" fmla="*/ 291710 w 2038796"/>
              <a:gd name="connsiteY13" fmla="*/ 1694165 h 3386383"/>
              <a:gd name="connsiteX14" fmla="*/ 336589 w 2038796"/>
              <a:gd name="connsiteY14" fmla="*/ 1750263 h 3386383"/>
              <a:gd name="connsiteX15" fmla="*/ 387077 w 2038796"/>
              <a:gd name="connsiteY15" fmla="*/ 3276133 h 3386383"/>
              <a:gd name="connsiteX16" fmla="*/ 448785 w 2038796"/>
              <a:gd name="connsiteY16" fmla="*/ 3248084 h 3386383"/>
              <a:gd name="connsiteX17" fmla="*/ 431956 w 2038796"/>
              <a:gd name="connsiteY17" fmla="*/ 2372953 h 3386383"/>
              <a:gd name="connsiteX18" fmla="*/ 482444 w 2038796"/>
              <a:gd name="connsiteY18" fmla="*/ 2384172 h 3386383"/>
              <a:gd name="connsiteX19" fmla="*/ 516103 w 2038796"/>
              <a:gd name="connsiteY19" fmla="*/ 3068570 h 3386383"/>
              <a:gd name="connsiteX20" fmla="*/ 583421 w 2038796"/>
              <a:gd name="connsiteY20" fmla="*/ 3074180 h 3386383"/>
              <a:gd name="connsiteX21" fmla="*/ 572201 w 2038796"/>
              <a:gd name="connsiteY21" fmla="*/ 2406612 h 3386383"/>
              <a:gd name="connsiteX22" fmla="*/ 964888 w 2038796"/>
              <a:gd name="connsiteY22" fmla="*/ 2412222 h 3386383"/>
              <a:gd name="connsiteX23" fmla="*/ 970498 w 2038796"/>
              <a:gd name="connsiteY23" fmla="*/ 2816128 h 3386383"/>
              <a:gd name="connsiteX24" fmla="*/ 1026596 w 2038796"/>
              <a:gd name="connsiteY24" fmla="*/ 2827348 h 3386383"/>
              <a:gd name="connsiteX25" fmla="*/ 1020986 w 2038796"/>
              <a:gd name="connsiteY25" fmla="*/ 3001252 h 3386383"/>
              <a:gd name="connsiteX26" fmla="*/ 1009767 w 2038796"/>
              <a:gd name="connsiteY26" fmla="*/ 3124668 h 3386383"/>
              <a:gd name="connsiteX27" fmla="*/ 1020986 w 2038796"/>
              <a:gd name="connsiteY27" fmla="*/ 3343451 h 3386383"/>
              <a:gd name="connsiteX28" fmla="*/ 1217330 w 2038796"/>
              <a:gd name="connsiteY28" fmla="*/ 3360280 h 3386383"/>
              <a:gd name="connsiteX29" fmla="*/ 1211720 w 2038796"/>
              <a:gd name="connsiteY29" fmla="*/ 3175157 h 3386383"/>
              <a:gd name="connsiteX30" fmla="*/ 1228549 w 2038796"/>
              <a:gd name="connsiteY30" fmla="*/ 3001253 h 3386383"/>
              <a:gd name="connsiteX31" fmla="*/ 1211720 w 2038796"/>
              <a:gd name="connsiteY31" fmla="*/ 2872226 h 3386383"/>
              <a:gd name="connsiteX32" fmla="*/ 1234159 w 2038796"/>
              <a:gd name="connsiteY32" fmla="*/ 2832958 h 3386383"/>
              <a:gd name="connsiteX33" fmla="*/ 1250988 w 2038796"/>
              <a:gd name="connsiteY33" fmla="*/ 2614175 h 3386383"/>
              <a:gd name="connsiteX34" fmla="*/ 1256599 w 2038796"/>
              <a:gd name="connsiteY34" fmla="*/ 2501979 h 3386383"/>
              <a:gd name="connsiteX35" fmla="*/ 1262209 w 2038796"/>
              <a:gd name="connsiteY35" fmla="*/ 2367343 h 3386383"/>
              <a:gd name="connsiteX36" fmla="*/ 1357574 w 2038796"/>
              <a:gd name="connsiteY36" fmla="*/ 2518809 h 3386383"/>
              <a:gd name="connsiteX37" fmla="*/ 1368794 w 2038796"/>
              <a:gd name="connsiteY37" fmla="*/ 3057351 h 3386383"/>
              <a:gd name="connsiteX38" fmla="*/ 1413673 w 2038796"/>
              <a:gd name="connsiteY38" fmla="*/ 3062960 h 3386383"/>
              <a:gd name="connsiteX39" fmla="*/ 1419283 w 2038796"/>
              <a:gd name="connsiteY39" fmla="*/ 2574906 h 3386383"/>
              <a:gd name="connsiteX40" fmla="*/ 1469772 w 2038796"/>
              <a:gd name="connsiteY40" fmla="*/ 2586126 h 3386383"/>
              <a:gd name="connsiteX41" fmla="*/ 1480991 w 2038796"/>
              <a:gd name="connsiteY41" fmla="*/ 3242474 h 3386383"/>
              <a:gd name="connsiteX42" fmla="*/ 1531479 w 2038796"/>
              <a:gd name="connsiteY42" fmla="*/ 3225645 h 3386383"/>
              <a:gd name="connsiteX43" fmla="*/ 1537090 w 2038796"/>
              <a:gd name="connsiteY43" fmla="*/ 2754420 h 3386383"/>
              <a:gd name="connsiteX44" fmla="*/ 1604407 w 2038796"/>
              <a:gd name="connsiteY44" fmla="*/ 2911495 h 3386383"/>
              <a:gd name="connsiteX45" fmla="*/ 1991484 w 2038796"/>
              <a:gd name="connsiteY45" fmla="*/ 2715151 h 3386383"/>
              <a:gd name="connsiteX46" fmla="*/ 1997094 w 2038796"/>
              <a:gd name="connsiteY46" fmla="*/ 2602955 h 3386383"/>
              <a:gd name="connsiteX47" fmla="*/ 1828800 w 2038796"/>
              <a:gd name="connsiteY47" fmla="*/ 2586126 h 3386383"/>
              <a:gd name="connsiteX48" fmla="*/ 1705383 w 2038796"/>
              <a:gd name="connsiteY48" fmla="*/ 2513198 h 3386383"/>
              <a:gd name="connsiteX49" fmla="*/ 1621237 w 2038796"/>
              <a:gd name="connsiteY49" fmla="*/ 2401002 h 3386383"/>
              <a:gd name="connsiteX50" fmla="*/ 1694164 w 2038796"/>
              <a:gd name="connsiteY50" fmla="*/ 2277586 h 3386383"/>
              <a:gd name="connsiteX51" fmla="*/ 1514650 w 2038796"/>
              <a:gd name="connsiteY51" fmla="*/ 1980266 h 3386383"/>
              <a:gd name="connsiteX52" fmla="*/ 1503430 w 2038796"/>
              <a:gd name="connsiteY52" fmla="*/ 1576359 h 3386383"/>
              <a:gd name="connsiteX53" fmla="*/ 1312696 w 2038796"/>
              <a:gd name="connsiteY53" fmla="*/ 1598797 h 3386383"/>
              <a:gd name="connsiteX54" fmla="*/ 1323916 w 2038796"/>
              <a:gd name="connsiteY54" fmla="*/ 1436114 h 3386383"/>
              <a:gd name="connsiteX55" fmla="*/ 1262208 w 2038796"/>
              <a:gd name="connsiteY55" fmla="*/ 1295869 h 3386383"/>
              <a:gd name="connsiteX56" fmla="*/ 1284648 w 2038796"/>
              <a:gd name="connsiteY56" fmla="*/ 1189282 h 3386383"/>
              <a:gd name="connsiteX57" fmla="*/ 1256599 w 2038796"/>
              <a:gd name="connsiteY57" fmla="*/ 1026597 h 3386383"/>
              <a:gd name="connsiteX58" fmla="*/ 1256599 w 2038796"/>
              <a:gd name="connsiteY58" fmla="*/ 830254 h 3386383"/>
              <a:gd name="connsiteX59" fmla="*/ 970498 w 2038796"/>
              <a:gd name="connsiteY59" fmla="*/ 661959 h 3386383"/>
              <a:gd name="connsiteX60" fmla="*/ 1015376 w 2038796"/>
              <a:gd name="connsiteY60" fmla="*/ 572202 h 3386383"/>
              <a:gd name="connsiteX61" fmla="*/ 1150012 w 2038796"/>
              <a:gd name="connsiteY61" fmla="*/ 431957 h 3386383"/>
              <a:gd name="connsiteX62" fmla="*/ 1166841 w 2038796"/>
              <a:gd name="connsiteY62" fmla="*/ 263662 h 3386383"/>
              <a:gd name="connsiteX63" fmla="*/ 1161232 w 2038796"/>
              <a:gd name="connsiteY63" fmla="*/ 145856 h 3386383"/>
              <a:gd name="connsiteX64" fmla="*/ 1093914 w 2038796"/>
              <a:gd name="connsiteY64" fmla="*/ 84149 h 3386383"/>
              <a:gd name="connsiteX65" fmla="*/ 987327 w 2038796"/>
              <a:gd name="connsiteY65" fmla="*/ 44880 h 3386383"/>
              <a:gd name="connsiteX66" fmla="*/ 869522 w 2038796"/>
              <a:gd name="connsiteY66" fmla="*/ 0 h 3386383"/>
              <a:gd name="connsiteX0" fmla="*/ 869522 w 2038796"/>
              <a:gd name="connsiteY0" fmla="*/ 0 h 3386383"/>
              <a:gd name="connsiteX1" fmla="*/ 779764 w 2038796"/>
              <a:gd name="connsiteY1" fmla="*/ 67319 h 3386383"/>
              <a:gd name="connsiteX2" fmla="*/ 751715 w 2038796"/>
              <a:gd name="connsiteY2" fmla="*/ 173905 h 3386383"/>
              <a:gd name="connsiteX3" fmla="*/ 690007 w 2038796"/>
              <a:gd name="connsiteY3" fmla="*/ 409517 h 3386383"/>
              <a:gd name="connsiteX4" fmla="*/ 678788 w 2038796"/>
              <a:gd name="connsiteY4" fmla="*/ 516105 h 3386383"/>
              <a:gd name="connsiteX5" fmla="*/ 488053 w 2038796"/>
              <a:gd name="connsiteY5" fmla="*/ 617081 h 3386383"/>
              <a:gd name="connsiteX6" fmla="*/ 280491 w 2038796"/>
              <a:gd name="connsiteY6" fmla="*/ 673178 h 3386383"/>
              <a:gd name="connsiteX7" fmla="*/ 218783 w 2038796"/>
              <a:gd name="connsiteY7" fmla="*/ 897571 h 3386383"/>
              <a:gd name="connsiteX8" fmla="*/ 168294 w 2038796"/>
              <a:gd name="connsiteY8" fmla="*/ 1032207 h 3386383"/>
              <a:gd name="connsiteX9" fmla="*/ 72927 w 2038796"/>
              <a:gd name="connsiteY9" fmla="*/ 1161233 h 3386383"/>
              <a:gd name="connsiteX10" fmla="*/ 0 w 2038796"/>
              <a:gd name="connsiteY10" fmla="*/ 1295868 h 3386383"/>
              <a:gd name="connsiteX11" fmla="*/ 134635 w 2038796"/>
              <a:gd name="connsiteY11" fmla="*/ 1654896 h 3386383"/>
              <a:gd name="connsiteX12" fmla="*/ 241222 w 2038796"/>
              <a:gd name="connsiteY12" fmla="*/ 1727824 h 3386383"/>
              <a:gd name="connsiteX13" fmla="*/ 291710 w 2038796"/>
              <a:gd name="connsiteY13" fmla="*/ 1694165 h 3386383"/>
              <a:gd name="connsiteX14" fmla="*/ 336589 w 2038796"/>
              <a:gd name="connsiteY14" fmla="*/ 1750263 h 3386383"/>
              <a:gd name="connsiteX15" fmla="*/ 387077 w 2038796"/>
              <a:gd name="connsiteY15" fmla="*/ 3276133 h 3386383"/>
              <a:gd name="connsiteX16" fmla="*/ 448785 w 2038796"/>
              <a:gd name="connsiteY16" fmla="*/ 3248084 h 3386383"/>
              <a:gd name="connsiteX17" fmla="*/ 431956 w 2038796"/>
              <a:gd name="connsiteY17" fmla="*/ 2372953 h 3386383"/>
              <a:gd name="connsiteX18" fmla="*/ 482444 w 2038796"/>
              <a:gd name="connsiteY18" fmla="*/ 2384172 h 3386383"/>
              <a:gd name="connsiteX19" fmla="*/ 516103 w 2038796"/>
              <a:gd name="connsiteY19" fmla="*/ 3068570 h 3386383"/>
              <a:gd name="connsiteX20" fmla="*/ 583421 w 2038796"/>
              <a:gd name="connsiteY20" fmla="*/ 3074180 h 3386383"/>
              <a:gd name="connsiteX21" fmla="*/ 572201 w 2038796"/>
              <a:gd name="connsiteY21" fmla="*/ 2406612 h 3386383"/>
              <a:gd name="connsiteX22" fmla="*/ 964888 w 2038796"/>
              <a:gd name="connsiteY22" fmla="*/ 2412222 h 3386383"/>
              <a:gd name="connsiteX23" fmla="*/ 970498 w 2038796"/>
              <a:gd name="connsiteY23" fmla="*/ 2816128 h 3386383"/>
              <a:gd name="connsiteX24" fmla="*/ 1026596 w 2038796"/>
              <a:gd name="connsiteY24" fmla="*/ 2827348 h 3386383"/>
              <a:gd name="connsiteX25" fmla="*/ 1020986 w 2038796"/>
              <a:gd name="connsiteY25" fmla="*/ 3001252 h 3386383"/>
              <a:gd name="connsiteX26" fmla="*/ 1009767 w 2038796"/>
              <a:gd name="connsiteY26" fmla="*/ 3124668 h 3386383"/>
              <a:gd name="connsiteX27" fmla="*/ 1020986 w 2038796"/>
              <a:gd name="connsiteY27" fmla="*/ 3343451 h 3386383"/>
              <a:gd name="connsiteX28" fmla="*/ 1217330 w 2038796"/>
              <a:gd name="connsiteY28" fmla="*/ 3360280 h 3386383"/>
              <a:gd name="connsiteX29" fmla="*/ 1211720 w 2038796"/>
              <a:gd name="connsiteY29" fmla="*/ 3175157 h 3386383"/>
              <a:gd name="connsiteX30" fmla="*/ 1228549 w 2038796"/>
              <a:gd name="connsiteY30" fmla="*/ 3001253 h 3386383"/>
              <a:gd name="connsiteX31" fmla="*/ 1211720 w 2038796"/>
              <a:gd name="connsiteY31" fmla="*/ 2872226 h 3386383"/>
              <a:gd name="connsiteX32" fmla="*/ 1234159 w 2038796"/>
              <a:gd name="connsiteY32" fmla="*/ 2832958 h 3386383"/>
              <a:gd name="connsiteX33" fmla="*/ 1250988 w 2038796"/>
              <a:gd name="connsiteY33" fmla="*/ 2614175 h 3386383"/>
              <a:gd name="connsiteX34" fmla="*/ 1256599 w 2038796"/>
              <a:gd name="connsiteY34" fmla="*/ 2501979 h 3386383"/>
              <a:gd name="connsiteX35" fmla="*/ 1262209 w 2038796"/>
              <a:gd name="connsiteY35" fmla="*/ 2367343 h 3386383"/>
              <a:gd name="connsiteX36" fmla="*/ 1357574 w 2038796"/>
              <a:gd name="connsiteY36" fmla="*/ 2518809 h 3386383"/>
              <a:gd name="connsiteX37" fmla="*/ 1368794 w 2038796"/>
              <a:gd name="connsiteY37" fmla="*/ 3057351 h 3386383"/>
              <a:gd name="connsiteX38" fmla="*/ 1413673 w 2038796"/>
              <a:gd name="connsiteY38" fmla="*/ 3062960 h 3386383"/>
              <a:gd name="connsiteX39" fmla="*/ 1419283 w 2038796"/>
              <a:gd name="connsiteY39" fmla="*/ 2574906 h 3386383"/>
              <a:gd name="connsiteX40" fmla="*/ 1469772 w 2038796"/>
              <a:gd name="connsiteY40" fmla="*/ 2586126 h 3386383"/>
              <a:gd name="connsiteX41" fmla="*/ 1480991 w 2038796"/>
              <a:gd name="connsiteY41" fmla="*/ 3242474 h 3386383"/>
              <a:gd name="connsiteX42" fmla="*/ 1531479 w 2038796"/>
              <a:gd name="connsiteY42" fmla="*/ 3225645 h 3386383"/>
              <a:gd name="connsiteX43" fmla="*/ 1537090 w 2038796"/>
              <a:gd name="connsiteY43" fmla="*/ 2754420 h 3386383"/>
              <a:gd name="connsiteX44" fmla="*/ 1604407 w 2038796"/>
              <a:gd name="connsiteY44" fmla="*/ 2911495 h 3386383"/>
              <a:gd name="connsiteX45" fmla="*/ 1991484 w 2038796"/>
              <a:gd name="connsiteY45" fmla="*/ 2715151 h 3386383"/>
              <a:gd name="connsiteX46" fmla="*/ 1997094 w 2038796"/>
              <a:gd name="connsiteY46" fmla="*/ 2602955 h 3386383"/>
              <a:gd name="connsiteX47" fmla="*/ 1828800 w 2038796"/>
              <a:gd name="connsiteY47" fmla="*/ 2586126 h 3386383"/>
              <a:gd name="connsiteX48" fmla="*/ 1705383 w 2038796"/>
              <a:gd name="connsiteY48" fmla="*/ 2513198 h 3386383"/>
              <a:gd name="connsiteX49" fmla="*/ 1621237 w 2038796"/>
              <a:gd name="connsiteY49" fmla="*/ 2401002 h 3386383"/>
              <a:gd name="connsiteX50" fmla="*/ 1694164 w 2038796"/>
              <a:gd name="connsiteY50" fmla="*/ 2277586 h 3386383"/>
              <a:gd name="connsiteX51" fmla="*/ 1514650 w 2038796"/>
              <a:gd name="connsiteY51" fmla="*/ 1980266 h 3386383"/>
              <a:gd name="connsiteX52" fmla="*/ 1503430 w 2038796"/>
              <a:gd name="connsiteY52" fmla="*/ 1576359 h 3386383"/>
              <a:gd name="connsiteX53" fmla="*/ 1312696 w 2038796"/>
              <a:gd name="connsiteY53" fmla="*/ 1598797 h 3386383"/>
              <a:gd name="connsiteX54" fmla="*/ 1323916 w 2038796"/>
              <a:gd name="connsiteY54" fmla="*/ 1436114 h 3386383"/>
              <a:gd name="connsiteX55" fmla="*/ 1262208 w 2038796"/>
              <a:gd name="connsiteY55" fmla="*/ 1295869 h 3386383"/>
              <a:gd name="connsiteX56" fmla="*/ 1284648 w 2038796"/>
              <a:gd name="connsiteY56" fmla="*/ 1189282 h 3386383"/>
              <a:gd name="connsiteX57" fmla="*/ 1256599 w 2038796"/>
              <a:gd name="connsiteY57" fmla="*/ 1026597 h 3386383"/>
              <a:gd name="connsiteX58" fmla="*/ 1256599 w 2038796"/>
              <a:gd name="connsiteY58" fmla="*/ 830254 h 3386383"/>
              <a:gd name="connsiteX59" fmla="*/ 970498 w 2038796"/>
              <a:gd name="connsiteY59" fmla="*/ 661959 h 3386383"/>
              <a:gd name="connsiteX60" fmla="*/ 1015376 w 2038796"/>
              <a:gd name="connsiteY60" fmla="*/ 572202 h 3386383"/>
              <a:gd name="connsiteX61" fmla="*/ 1150012 w 2038796"/>
              <a:gd name="connsiteY61" fmla="*/ 431957 h 3386383"/>
              <a:gd name="connsiteX62" fmla="*/ 1166841 w 2038796"/>
              <a:gd name="connsiteY62" fmla="*/ 263662 h 3386383"/>
              <a:gd name="connsiteX63" fmla="*/ 1161232 w 2038796"/>
              <a:gd name="connsiteY63" fmla="*/ 145856 h 3386383"/>
              <a:gd name="connsiteX64" fmla="*/ 1093914 w 2038796"/>
              <a:gd name="connsiteY64" fmla="*/ 84149 h 3386383"/>
              <a:gd name="connsiteX65" fmla="*/ 987327 w 2038796"/>
              <a:gd name="connsiteY65" fmla="*/ 44880 h 3386383"/>
              <a:gd name="connsiteX66" fmla="*/ 869522 w 2038796"/>
              <a:gd name="connsiteY66" fmla="*/ 0 h 3386383"/>
              <a:gd name="connsiteX0" fmla="*/ 869522 w 2038796"/>
              <a:gd name="connsiteY0" fmla="*/ 0 h 3386383"/>
              <a:gd name="connsiteX1" fmla="*/ 779764 w 2038796"/>
              <a:gd name="connsiteY1" fmla="*/ 67319 h 3386383"/>
              <a:gd name="connsiteX2" fmla="*/ 751715 w 2038796"/>
              <a:gd name="connsiteY2" fmla="*/ 173905 h 3386383"/>
              <a:gd name="connsiteX3" fmla="*/ 690007 w 2038796"/>
              <a:gd name="connsiteY3" fmla="*/ 409517 h 3386383"/>
              <a:gd name="connsiteX4" fmla="*/ 678788 w 2038796"/>
              <a:gd name="connsiteY4" fmla="*/ 516105 h 3386383"/>
              <a:gd name="connsiteX5" fmla="*/ 488053 w 2038796"/>
              <a:gd name="connsiteY5" fmla="*/ 617081 h 3386383"/>
              <a:gd name="connsiteX6" fmla="*/ 280491 w 2038796"/>
              <a:gd name="connsiteY6" fmla="*/ 673178 h 3386383"/>
              <a:gd name="connsiteX7" fmla="*/ 218783 w 2038796"/>
              <a:gd name="connsiteY7" fmla="*/ 897571 h 3386383"/>
              <a:gd name="connsiteX8" fmla="*/ 168294 w 2038796"/>
              <a:gd name="connsiteY8" fmla="*/ 1032207 h 3386383"/>
              <a:gd name="connsiteX9" fmla="*/ 72927 w 2038796"/>
              <a:gd name="connsiteY9" fmla="*/ 1161233 h 3386383"/>
              <a:gd name="connsiteX10" fmla="*/ 0 w 2038796"/>
              <a:gd name="connsiteY10" fmla="*/ 1295868 h 3386383"/>
              <a:gd name="connsiteX11" fmla="*/ 134635 w 2038796"/>
              <a:gd name="connsiteY11" fmla="*/ 1654896 h 3386383"/>
              <a:gd name="connsiteX12" fmla="*/ 241222 w 2038796"/>
              <a:gd name="connsiteY12" fmla="*/ 1727824 h 3386383"/>
              <a:gd name="connsiteX13" fmla="*/ 291710 w 2038796"/>
              <a:gd name="connsiteY13" fmla="*/ 1694165 h 3386383"/>
              <a:gd name="connsiteX14" fmla="*/ 336589 w 2038796"/>
              <a:gd name="connsiteY14" fmla="*/ 1750263 h 3386383"/>
              <a:gd name="connsiteX15" fmla="*/ 387077 w 2038796"/>
              <a:gd name="connsiteY15" fmla="*/ 3276133 h 3386383"/>
              <a:gd name="connsiteX16" fmla="*/ 448785 w 2038796"/>
              <a:gd name="connsiteY16" fmla="*/ 3248084 h 3386383"/>
              <a:gd name="connsiteX17" fmla="*/ 431956 w 2038796"/>
              <a:gd name="connsiteY17" fmla="*/ 2372953 h 3386383"/>
              <a:gd name="connsiteX18" fmla="*/ 482444 w 2038796"/>
              <a:gd name="connsiteY18" fmla="*/ 2384172 h 3386383"/>
              <a:gd name="connsiteX19" fmla="*/ 516103 w 2038796"/>
              <a:gd name="connsiteY19" fmla="*/ 3068570 h 3386383"/>
              <a:gd name="connsiteX20" fmla="*/ 583421 w 2038796"/>
              <a:gd name="connsiteY20" fmla="*/ 3074180 h 3386383"/>
              <a:gd name="connsiteX21" fmla="*/ 572201 w 2038796"/>
              <a:gd name="connsiteY21" fmla="*/ 2406612 h 3386383"/>
              <a:gd name="connsiteX22" fmla="*/ 964888 w 2038796"/>
              <a:gd name="connsiteY22" fmla="*/ 2412222 h 3386383"/>
              <a:gd name="connsiteX23" fmla="*/ 970498 w 2038796"/>
              <a:gd name="connsiteY23" fmla="*/ 2816128 h 3386383"/>
              <a:gd name="connsiteX24" fmla="*/ 1026596 w 2038796"/>
              <a:gd name="connsiteY24" fmla="*/ 2827348 h 3386383"/>
              <a:gd name="connsiteX25" fmla="*/ 1020986 w 2038796"/>
              <a:gd name="connsiteY25" fmla="*/ 3001252 h 3386383"/>
              <a:gd name="connsiteX26" fmla="*/ 1009767 w 2038796"/>
              <a:gd name="connsiteY26" fmla="*/ 3124668 h 3386383"/>
              <a:gd name="connsiteX27" fmla="*/ 1020986 w 2038796"/>
              <a:gd name="connsiteY27" fmla="*/ 3343451 h 3386383"/>
              <a:gd name="connsiteX28" fmla="*/ 1217330 w 2038796"/>
              <a:gd name="connsiteY28" fmla="*/ 3360280 h 3386383"/>
              <a:gd name="connsiteX29" fmla="*/ 1211720 w 2038796"/>
              <a:gd name="connsiteY29" fmla="*/ 3175157 h 3386383"/>
              <a:gd name="connsiteX30" fmla="*/ 1228549 w 2038796"/>
              <a:gd name="connsiteY30" fmla="*/ 3001253 h 3386383"/>
              <a:gd name="connsiteX31" fmla="*/ 1211720 w 2038796"/>
              <a:gd name="connsiteY31" fmla="*/ 2872226 h 3386383"/>
              <a:gd name="connsiteX32" fmla="*/ 1234159 w 2038796"/>
              <a:gd name="connsiteY32" fmla="*/ 2832958 h 3386383"/>
              <a:gd name="connsiteX33" fmla="*/ 1250988 w 2038796"/>
              <a:gd name="connsiteY33" fmla="*/ 2614175 h 3386383"/>
              <a:gd name="connsiteX34" fmla="*/ 1256599 w 2038796"/>
              <a:gd name="connsiteY34" fmla="*/ 2501979 h 3386383"/>
              <a:gd name="connsiteX35" fmla="*/ 1262209 w 2038796"/>
              <a:gd name="connsiteY35" fmla="*/ 2367343 h 3386383"/>
              <a:gd name="connsiteX36" fmla="*/ 1357574 w 2038796"/>
              <a:gd name="connsiteY36" fmla="*/ 2518809 h 3386383"/>
              <a:gd name="connsiteX37" fmla="*/ 1368794 w 2038796"/>
              <a:gd name="connsiteY37" fmla="*/ 3057351 h 3386383"/>
              <a:gd name="connsiteX38" fmla="*/ 1413673 w 2038796"/>
              <a:gd name="connsiteY38" fmla="*/ 3062960 h 3386383"/>
              <a:gd name="connsiteX39" fmla="*/ 1419283 w 2038796"/>
              <a:gd name="connsiteY39" fmla="*/ 2574906 h 3386383"/>
              <a:gd name="connsiteX40" fmla="*/ 1469772 w 2038796"/>
              <a:gd name="connsiteY40" fmla="*/ 2586126 h 3386383"/>
              <a:gd name="connsiteX41" fmla="*/ 1480991 w 2038796"/>
              <a:gd name="connsiteY41" fmla="*/ 3242474 h 3386383"/>
              <a:gd name="connsiteX42" fmla="*/ 1531479 w 2038796"/>
              <a:gd name="connsiteY42" fmla="*/ 3225645 h 3386383"/>
              <a:gd name="connsiteX43" fmla="*/ 1537090 w 2038796"/>
              <a:gd name="connsiteY43" fmla="*/ 2754420 h 3386383"/>
              <a:gd name="connsiteX44" fmla="*/ 1604407 w 2038796"/>
              <a:gd name="connsiteY44" fmla="*/ 2911495 h 3386383"/>
              <a:gd name="connsiteX45" fmla="*/ 1991484 w 2038796"/>
              <a:gd name="connsiteY45" fmla="*/ 2715151 h 3386383"/>
              <a:gd name="connsiteX46" fmla="*/ 1997094 w 2038796"/>
              <a:gd name="connsiteY46" fmla="*/ 2602955 h 3386383"/>
              <a:gd name="connsiteX47" fmla="*/ 1828800 w 2038796"/>
              <a:gd name="connsiteY47" fmla="*/ 2586126 h 3386383"/>
              <a:gd name="connsiteX48" fmla="*/ 1705383 w 2038796"/>
              <a:gd name="connsiteY48" fmla="*/ 2513198 h 3386383"/>
              <a:gd name="connsiteX49" fmla="*/ 1621237 w 2038796"/>
              <a:gd name="connsiteY49" fmla="*/ 2401002 h 3386383"/>
              <a:gd name="connsiteX50" fmla="*/ 1694164 w 2038796"/>
              <a:gd name="connsiteY50" fmla="*/ 2277586 h 3386383"/>
              <a:gd name="connsiteX51" fmla="*/ 1514650 w 2038796"/>
              <a:gd name="connsiteY51" fmla="*/ 1980266 h 3386383"/>
              <a:gd name="connsiteX52" fmla="*/ 1503430 w 2038796"/>
              <a:gd name="connsiteY52" fmla="*/ 1576359 h 3386383"/>
              <a:gd name="connsiteX53" fmla="*/ 1312696 w 2038796"/>
              <a:gd name="connsiteY53" fmla="*/ 1598797 h 3386383"/>
              <a:gd name="connsiteX54" fmla="*/ 1323916 w 2038796"/>
              <a:gd name="connsiteY54" fmla="*/ 1436114 h 3386383"/>
              <a:gd name="connsiteX55" fmla="*/ 1262208 w 2038796"/>
              <a:gd name="connsiteY55" fmla="*/ 1295869 h 3386383"/>
              <a:gd name="connsiteX56" fmla="*/ 1284648 w 2038796"/>
              <a:gd name="connsiteY56" fmla="*/ 1189282 h 3386383"/>
              <a:gd name="connsiteX57" fmla="*/ 1256599 w 2038796"/>
              <a:gd name="connsiteY57" fmla="*/ 1026597 h 3386383"/>
              <a:gd name="connsiteX58" fmla="*/ 1256599 w 2038796"/>
              <a:gd name="connsiteY58" fmla="*/ 830254 h 3386383"/>
              <a:gd name="connsiteX59" fmla="*/ 970498 w 2038796"/>
              <a:gd name="connsiteY59" fmla="*/ 661959 h 3386383"/>
              <a:gd name="connsiteX60" fmla="*/ 1015376 w 2038796"/>
              <a:gd name="connsiteY60" fmla="*/ 572202 h 3386383"/>
              <a:gd name="connsiteX61" fmla="*/ 1150012 w 2038796"/>
              <a:gd name="connsiteY61" fmla="*/ 431957 h 3386383"/>
              <a:gd name="connsiteX62" fmla="*/ 1166841 w 2038796"/>
              <a:gd name="connsiteY62" fmla="*/ 263662 h 3386383"/>
              <a:gd name="connsiteX63" fmla="*/ 1161232 w 2038796"/>
              <a:gd name="connsiteY63" fmla="*/ 145856 h 3386383"/>
              <a:gd name="connsiteX64" fmla="*/ 1093914 w 2038796"/>
              <a:gd name="connsiteY64" fmla="*/ 84149 h 3386383"/>
              <a:gd name="connsiteX65" fmla="*/ 987327 w 2038796"/>
              <a:gd name="connsiteY65" fmla="*/ 44880 h 3386383"/>
              <a:gd name="connsiteX66" fmla="*/ 869522 w 2038796"/>
              <a:gd name="connsiteY66" fmla="*/ 0 h 3386383"/>
              <a:gd name="connsiteX0" fmla="*/ 869522 w 2038796"/>
              <a:gd name="connsiteY0" fmla="*/ 0 h 3386383"/>
              <a:gd name="connsiteX1" fmla="*/ 779764 w 2038796"/>
              <a:gd name="connsiteY1" fmla="*/ 67319 h 3386383"/>
              <a:gd name="connsiteX2" fmla="*/ 751715 w 2038796"/>
              <a:gd name="connsiteY2" fmla="*/ 173905 h 3386383"/>
              <a:gd name="connsiteX3" fmla="*/ 690007 w 2038796"/>
              <a:gd name="connsiteY3" fmla="*/ 409517 h 3386383"/>
              <a:gd name="connsiteX4" fmla="*/ 678788 w 2038796"/>
              <a:gd name="connsiteY4" fmla="*/ 516105 h 3386383"/>
              <a:gd name="connsiteX5" fmla="*/ 488053 w 2038796"/>
              <a:gd name="connsiteY5" fmla="*/ 617081 h 3386383"/>
              <a:gd name="connsiteX6" fmla="*/ 280491 w 2038796"/>
              <a:gd name="connsiteY6" fmla="*/ 673178 h 3386383"/>
              <a:gd name="connsiteX7" fmla="*/ 218783 w 2038796"/>
              <a:gd name="connsiteY7" fmla="*/ 897571 h 3386383"/>
              <a:gd name="connsiteX8" fmla="*/ 168294 w 2038796"/>
              <a:gd name="connsiteY8" fmla="*/ 1032207 h 3386383"/>
              <a:gd name="connsiteX9" fmla="*/ 72927 w 2038796"/>
              <a:gd name="connsiteY9" fmla="*/ 1161233 h 3386383"/>
              <a:gd name="connsiteX10" fmla="*/ 0 w 2038796"/>
              <a:gd name="connsiteY10" fmla="*/ 1295868 h 3386383"/>
              <a:gd name="connsiteX11" fmla="*/ 134635 w 2038796"/>
              <a:gd name="connsiteY11" fmla="*/ 1654896 h 3386383"/>
              <a:gd name="connsiteX12" fmla="*/ 241222 w 2038796"/>
              <a:gd name="connsiteY12" fmla="*/ 1727824 h 3386383"/>
              <a:gd name="connsiteX13" fmla="*/ 291710 w 2038796"/>
              <a:gd name="connsiteY13" fmla="*/ 1694165 h 3386383"/>
              <a:gd name="connsiteX14" fmla="*/ 336589 w 2038796"/>
              <a:gd name="connsiteY14" fmla="*/ 1750263 h 3386383"/>
              <a:gd name="connsiteX15" fmla="*/ 387077 w 2038796"/>
              <a:gd name="connsiteY15" fmla="*/ 3276133 h 3386383"/>
              <a:gd name="connsiteX16" fmla="*/ 448785 w 2038796"/>
              <a:gd name="connsiteY16" fmla="*/ 3248084 h 3386383"/>
              <a:gd name="connsiteX17" fmla="*/ 431956 w 2038796"/>
              <a:gd name="connsiteY17" fmla="*/ 2372953 h 3386383"/>
              <a:gd name="connsiteX18" fmla="*/ 482444 w 2038796"/>
              <a:gd name="connsiteY18" fmla="*/ 2384172 h 3386383"/>
              <a:gd name="connsiteX19" fmla="*/ 516103 w 2038796"/>
              <a:gd name="connsiteY19" fmla="*/ 3068570 h 3386383"/>
              <a:gd name="connsiteX20" fmla="*/ 583421 w 2038796"/>
              <a:gd name="connsiteY20" fmla="*/ 3074180 h 3386383"/>
              <a:gd name="connsiteX21" fmla="*/ 572201 w 2038796"/>
              <a:gd name="connsiteY21" fmla="*/ 2406612 h 3386383"/>
              <a:gd name="connsiteX22" fmla="*/ 964888 w 2038796"/>
              <a:gd name="connsiteY22" fmla="*/ 2412222 h 3386383"/>
              <a:gd name="connsiteX23" fmla="*/ 970498 w 2038796"/>
              <a:gd name="connsiteY23" fmla="*/ 2816128 h 3386383"/>
              <a:gd name="connsiteX24" fmla="*/ 1026596 w 2038796"/>
              <a:gd name="connsiteY24" fmla="*/ 2827348 h 3386383"/>
              <a:gd name="connsiteX25" fmla="*/ 1020986 w 2038796"/>
              <a:gd name="connsiteY25" fmla="*/ 3001252 h 3386383"/>
              <a:gd name="connsiteX26" fmla="*/ 1009767 w 2038796"/>
              <a:gd name="connsiteY26" fmla="*/ 3124668 h 3386383"/>
              <a:gd name="connsiteX27" fmla="*/ 1020986 w 2038796"/>
              <a:gd name="connsiteY27" fmla="*/ 3343451 h 3386383"/>
              <a:gd name="connsiteX28" fmla="*/ 1217330 w 2038796"/>
              <a:gd name="connsiteY28" fmla="*/ 3360280 h 3386383"/>
              <a:gd name="connsiteX29" fmla="*/ 1211720 w 2038796"/>
              <a:gd name="connsiteY29" fmla="*/ 3175157 h 3386383"/>
              <a:gd name="connsiteX30" fmla="*/ 1228549 w 2038796"/>
              <a:gd name="connsiteY30" fmla="*/ 3001253 h 3386383"/>
              <a:gd name="connsiteX31" fmla="*/ 1211720 w 2038796"/>
              <a:gd name="connsiteY31" fmla="*/ 2872226 h 3386383"/>
              <a:gd name="connsiteX32" fmla="*/ 1234159 w 2038796"/>
              <a:gd name="connsiteY32" fmla="*/ 2832958 h 3386383"/>
              <a:gd name="connsiteX33" fmla="*/ 1250988 w 2038796"/>
              <a:gd name="connsiteY33" fmla="*/ 2614175 h 3386383"/>
              <a:gd name="connsiteX34" fmla="*/ 1256599 w 2038796"/>
              <a:gd name="connsiteY34" fmla="*/ 2501979 h 3386383"/>
              <a:gd name="connsiteX35" fmla="*/ 1262209 w 2038796"/>
              <a:gd name="connsiteY35" fmla="*/ 2367343 h 3386383"/>
              <a:gd name="connsiteX36" fmla="*/ 1357574 w 2038796"/>
              <a:gd name="connsiteY36" fmla="*/ 2518809 h 3386383"/>
              <a:gd name="connsiteX37" fmla="*/ 1368794 w 2038796"/>
              <a:gd name="connsiteY37" fmla="*/ 3057351 h 3386383"/>
              <a:gd name="connsiteX38" fmla="*/ 1413673 w 2038796"/>
              <a:gd name="connsiteY38" fmla="*/ 3062960 h 3386383"/>
              <a:gd name="connsiteX39" fmla="*/ 1419283 w 2038796"/>
              <a:gd name="connsiteY39" fmla="*/ 2574906 h 3386383"/>
              <a:gd name="connsiteX40" fmla="*/ 1469772 w 2038796"/>
              <a:gd name="connsiteY40" fmla="*/ 2586126 h 3386383"/>
              <a:gd name="connsiteX41" fmla="*/ 1480991 w 2038796"/>
              <a:gd name="connsiteY41" fmla="*/ 3242474 h 3386383"/>
              <a:gd name="connsiteX42" fmla="*/ 1531479 w 2038796"/>
              <a:gd name="connsiteY42" fmla="*/ 3225645 h 3386383"/>
              <a:gd name="connsiteX43" fmla="*/ 1537090 w 2038796"/>
              <a:gd name="connsiteY43" fmla="*/ 2754420 h 3386383"/>
              <a:gd name="connsiteX44" fmla="*/ 1604407 w 2038796"/>
              <a:gd name="connsiteY44" fmla="*/ 2911495 h 3386383"/>
              <a:gd name="connsiteX45" fmla="*/ 1991484 w 2038796"/>
              <a:gd name="connsiteY45" fmla="*/ 2715151 h 3386383"/>
              <a:gd name="connsiteX46" fmla="*/ 1997094 w 2038796"/>
              <a:gd name="connsiteY46" fmla="*/ 2602955 h 3386383"/>
              <a:gd name="connsiteX47" fmla="*/ 1828800 w 2038796"/>
              <a:gd name="connsiteY47" fmla="*/ 2586126 h 3386383"/>
              <a:gd name="connsiteX48" fmla="*/ 1705383 w 2038796"/>
              <a:gd name="connsiteY48" fmla="*/ 2513198 h 3386383"/>
              <a:gd name="connsiteX49" fmla="*/ 1621237 w 2038796"/>
              <a:gd name="connsiteY49" fmla="*/ 2401002 h 3386383"/>
              <a:gd name="connsiteX50" fmla="*/ 1694164 w 2038796"/>
              <a:gd name="connsiteY50" fmla="*/ 2277586 h 3386383"/>
              <a:gd name="connsiteX51" fmla="*/ 1514650 w 2038796"/>
              <a:gd name="connsiteY51" fmla="*/ 1980266 h 3386383"/>
              <a:gd name="connsiteX52" fmla="*/ 1503430 w 2038796"/>
              <a:gd name="connsiteY52" fmla="*/ 1576359 h 3386383"/>
              <a:gd name="connsiteX53" fmla="*/ 1312696 w 2038796"/>
              <a:gd name="connsiteY53" fmla="*/ 1598797 h 3386383"/>
              <a:gd name="connsiteX54" fmla="*/ 1323916 w 2038796"/>
              <a:gd name="connsiteY54" fmla="*/ 1436114 h 3386383"/>
              <a:gd name="connsiteX55" fmla="*/ 1262208 w 2038796"/>
              <a:gd name="connsiteY55" fmla="*/ 1295869 h 3386383"/>
              <a:gd name="connsiteX56" fmla="*/ 1284648 w 2038796"/>
              <a:gd name="connsiteY56" fmla="*/ 1189282 h 3386383"/>
              <a:gd name="connsiteX57" fmla="*/ 1256599 w 2038796"/>
              <a:gd name="connsiteY57" fmla="*/ 1026597 h 3386383"/>
              <a:gd name="connsiteX58" fmla="*/ 1256599 w 2038796"/>
              <a:gd name="connsiteY58" fmla="*/ 830254 h 3386383"/>
              <a:gd name="connsiteX59" fmla="*/ 970498 w 2038796"/>
              <a:gd name="connsiteY59" fmla="*/ 661959 h 3386383"/>
              <a:gd name="connsiteX60" fmla="*/ 1015376 w 2038796"/>
              <a:gd name="connsiteY60" fmla="*/ 572202 h 3386383"/>
              <a:gd name="connsiteX61" fmla="*/ 1150012 w 2038796"/>
              <a:gd name="connsiteY61" fmla="*/ 431957 h 3386383"/>
              <a:gd name="connsiteX62" fmla="*/ 1166841 w 2038796"/>
              <a:gd name="connsiteY62" fmla="*/ 263662 h 3386383"/>
              <a:gd name="connsiteX63" fmla="*/ 1161232 w 2038796"/>
              <a:gd name="connsiteY63" fmla="*/ 145856 h 3386383"/>
              <a:gd name="connsiteX64" fmla="*/ 1093914 w 2038796"/>
              <a:gd name="connsiteY64" fmla="*/ 84149 h 3386383"/>
              <a:gd name="connsiteX65" fmla="*/ 987327 w 2038796"/>
              <a:gd name="connsiteY65" fmla="*/ 44880 h 3386383"/>
              <a:gd name="connsiteX66" fmla="*/ 869522 w 2038796"/>
              <a:gd name="connsiteY66" fmla="*/ 0 h 33863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</a:cxnLst>
            <a:rect l="l" t="t" r="r" b="b"/>
            <a:pathLst>
              <a:path w="2038796" h="3386383">
                <a:moveTo>
                  <a:pt x="869522" y="0"/>
                </a:moveTo>
                <a:lnTo>
                  <a:pt x="779764" y="67319"/>
                </a:lnTo>
                <a:lnTo>
                  <a:pt x="751715" y="173905"/>
                </a:lnTo>
                <a:cubicBezTo>
                  <a:pt x="731146" y="252442"/>
                  <a:pt x="676918" y="297321"/>
                  <a:pt x="690007" y="409517"/>
                </a:cubicBezTo>
                <a:lnTo>
                  <a:pt x="678788" y="516105"/>
                </a:lnTo>
                <a:lnTo>
                  <a:pt x="488053" y="617081"/>
                </a:lnTo>
                <a:cubicBezTo>
                  <a:pt x="418866" y="617081"/>
                  <a:pt x="304800" y="639519"/>
                  <a:pt x="280491" y="673178"/>
                </a:cubicBezTo>
                <a:lnTo>
                  <a:pt x="218783" y="897571"/>
                </a:lnTo>
                <a:lnTo>
                  <a:pt x="168294" y="1032207"/>
                </a:lnTo>
                <a:lnTo>
                  <a:pt x="72927" y="1161233"/>
                </a:lnTo>
                <a:lnTo>
                  <a:pt x="0" y="1295868"/>
                </a:lnTo>
                <a:lnTo>
                  <a:pt x="134635" y="1654896"/>
                </a:lnTo>
                <a:lnTo>
                  <a:pt x="241222" y="1727824"/>
                </a:lnTo>
                <a:lnTo>
                  <a:pt x="291710" y="1694165"/>
                </a:lnTo>
                <a:lnTo>
                  <a:pt x="336589" y="1750263"/>
                </a:lnTo>
                <a:lnTo>
                  <a:pt x="387077" y="3276133"/>
                </a:lnTo>
                <a:lnTo>
                  <a:pt x="448785" y="3248084"/>
                </a:lnTo>
                <a:lnTo>
                  <a:pt x="431956" y="2372953"/>
                </a:lnTo>
                <a:lnTo>
                  <a:pt x="482444" y="2384172"/>
                </a:lnTo>
                <a:lnTo>
                  <a:pt x="516103" y="3068570"/>
                </a:lnTo>
                <a:lnTo>
                  <a:pt x="583421" y="3074180"/>
                </a:lnTo>
                <a:lnTo>
                  <a:pt x="572201" y="2406612"/>
                </a:lnTo>
                <a:lnTo>
                  <a:pt x="964888" y="2412222"/>
                </a:lnTo>
                <a:cubicBezTo>
                  <a:pt x="1011637" y="2451490"/>
                  <a:pt x="968628" y="2681493"/>
                  <a:pt x="970498" y="2816128"/>
                </a:cubicBezTo>
                <a:lnTo>
                  <a:pt x="1026596" y="2827348"/>
                </a:lnTo>
                <a:lnTo>
                  <a:pt x="1020986" y="3001252"/>
                </a:lnTo>
                <a:lnTo>
                  <a:pt x="1009767" y="3124668"/>
                </a:lnTo>
                <a:cubicBezTo>
                  <a:pt x="1007897" y="3188246"/>
                  <a:pt x="972368" y="3279873"/>
                  <a:pt x="1020986" y="3343451"/>
                </a:cubicBezTo>
                <a:cubicBezTo>
                  <a:pt x="1086435" y="3420118"/>
                  <a:pt x="1168711" y="3373370"/>
                  <a:pt x="1217330" y="3360280"/>
                </a:cubicBezTo>
                <a:cubicBezTo>
                  <a:pt x="1262209" y="3306052"/>
                  <a:pt x="1206110" y="3229385"/>
                  <a:pt x="1211720" y="3175157"/>
                </a:cubicBezTo>
                <a:lnTo>
                  <a:pt x="1228549" y="3001253"/>
                </a:lnTo>
                <a:cubicBezTo>
                  <a:pt x="1228549" y="2950764"/>
                  <a:pt x="1211720" y="2922715"/>
                  <a:pt x="1211720" y="2872226"/>
                </a:cubicBezTo>
                <a:lnTo>
                  <a:pt x="1234159" y="2832958"/>
                </a:lnTo>
                <a:lnTo>
                  <a:pt x="1250988" y="2614175"/>
                </a:lnTo>
                <a:lnTo>
                  <a:pt x="1256599" y="2501979"/>
                </a:lnTo>
                <a:lnTo>
                  <a:pt x="1262209" y="2367343"/>
                </a:lnTo>
                <a:lnTo>
                  <a:pt x="1357574" y="2518809"/>
                </a:lnTo>
                <a:lnTo>
                  <a:pt x="1368794" y="3057351"/>
                </a:lnTo>
                <a:lnTo>
                  <a:pt x="1413673" y="3062960"/>
                </a:lnTo>
                <a:lnTo>
                  <a:pt x="1419283" y="2574906"/>
                </a:lnTo>
                <a:lnTo>
                  <a:pt x="1469772" y="2586126"/>
                </a:lnTo>
                <a:lnTo>
                  <a:pt x="1480991" y="3242474"/>
                </a:lnTo>
                <a:lnTo>
                  <a:pt x="1531479" y="3225645"/>
                </a:lnTo>
                <a:cubicBezTo>
                  <a:pt x="1533349" y="3068570"/>
                  <a:pt x="1535220" y="2911495"/>
                  <a:pt x="1537090" y="2754420"/>
                </a:cubicBezTo>
                <a:cubicBezTo>
                  <a:pt x="1559529" y="2806778"/>
                  <a:pt x="1570748" y="2920845"/>
                  <a:pt x="1604407" y="2911495"/>
                </a:cubicBezTo>
                <a:lnTo>
                  <a:pt x="1991484" y="2715151"/>
                </a:lnTo>
                <a:cubicBezTo>
                  <a:pt x="2066282" y="2672142"/>
                  <a:pt x="2040103" y="2595476"/>
                  <a:pt x="1997094" y="2602955"/>
                </a:cubicBezTo>
                <a:lnTo>
                  <a:pt x="1828800" y="2586126"/>
                </a:lnTo>
                <a:cubicBezTo>
                  <a:pt x="1757742" y="2591735"/>
                  <a:pt x="1742782" y="2552467"/>
                  <a:pt x="1705383" y="2513198"/>
                </a:cubicBezTo>
                <a:lnTo>
                  <a:pt x="1621237" y="2401002"/>
                </a:lnTo>
                <a:lnTo>
                  <a:pt x="1694164" y="2277586"/>
                </a:lnTo>
                <a:lnTo>
                  <a:pt x="1514650" y="1980266"/>
                </a:lnTo>
                <a:lnTo>
                  <a:pt x="1503430" y="1576359"/>
                </a:lnTo>
                <a:cubicBezTo>
                  <a:pt x="1458552" y="1527741"/>
                  <a:pt x="1380014" y="1602537"/>
                  <a:pt x="1312696" y="1598797"/>
                </a:cubicBezTo>
                <a:lnTo>
                  <a:pt x="1323916" y="1436114"/>
                </a:lnTo>
                <a:lnTo>
                  <a:pt x="1262208" y="1295869"/>
                </a:lnTo>
                <a:lnTo>
                  <a:pt x="1284648" y="1189282"/>
                </a:lnTo>
                <a:lnTo>
                  <a:pt x="1256599" y="1026597"/>
                </a:lnTo>
                <a:cubicBezTo>
                  <a:pt x="1256599" y="961149"/>
                  <a:pt x="1279039" y="850824"/>
                  <a:pt x="1256599" y="830254"/>
                </a:cubicBezTo>
                <a:lnTo>
                  <a:pt x="970498" y="661959"/>
                </a:lnTo>
                <a:lnTo>
                  <a:pt x="1015376" y="572202"/>
                </a:lnTo>
                <a:lnTo>
                  <a:pt x="1150012" y="431957"/>
                </a:lnTo>
                <a:cubicBezTo>
                  <a:pt x="1178061" y="375859"/>
                  <a:pt x="1161231" y="319760"/>
                  <a:pt x="1166841" y="263662"/>
                </a:cubicBezTo>
                <a:lnTo>
                  <a:pt x="1161232" y="145856"/>
                </a:lnTo>
                <a:lnTo>
                  <a:pt x="1093914" y="84149"/>
                </a:lnTo>
                <a:lnTo>
                  <a:pt x="987327" y="44880"/>
                </a:lnTo>
                <a:lnTo>
                  <a:pt x="869522" y="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701"/>
          </a:p>
        </p:txBody>
      </p:sp>
      <p:sp>
        <p:nvSpPr>
          <p:cNvPr id="52" name="Freeform 6">
            <a:extLst>
              <a:ext uri="{FF2B5EF4-FFF2-40B4-BE49-F238E27FC236}">
                <a16:creationId xmlns="" xmlns:a16="http://schemas.microsoft.com/office/drawing/2014/main" id="{5938B821-0D7E-4E38-A5CD-AF520603F9EE}"/>
              </a:ext>
            </a:extLst>
          </p:cNvPr>
          <p:cNvSpPr/>
          <p:nvPr/>
        </p:nvSpPr>
        <p:spPr>
          <a:xfrm flipH="1">
            <a:off x="7478345" y="3608266"/>
            <a:ext cx="882615" cy="1122009"/>
          </a:xfrm>
          <a:custGeom>
            <a:avLst/>
            <a:gdLst/>
            <a:ahLst/>
            <a:cxnLst/>
            <a:rect l="l" t="t" r="r" b="b"/>
            <a:pathLst>
              <a:path w="4425823" h="5626251">
                <a:moveTo>
                  <a:pt x="2333544" y="3596735"/>
                </a:moveTo>
                <a:lnTo>
                  <a:pt x="2306249" y="3664974"/>
                </a:lnTo>
                <a:lnTo>
                  <a:pt x="1937759" y="3719565"/>
                </a:lnTo>
                <a:lnTo>
                  <a:pt x="1842225" y="3896986"/>
                </a:lnTo>
                <a:lnTo>
                  <a:pt x="1883168" y="4060759"/>
                </a:lnTo>
                <a:cubicBezTo>
                  <a:pt x="1819479" y="4047111"/>
                  <a:pt x="1755789" y="4210885"/>
                  <a:pt x="1692100" y="4019816"/>
                </a:cubicBezTo>
                <a:lnTo>
                  <a:pt x="1528327" y="4074407"/>
                </a:lnTo>
                <a:lnTo>
                  <a:pt x="1596565" y="4156293"/>
                </a:lnTo>
                <a:lnTo>
                  <a:pt x="1623861" y="5016102"/>
                </a:lnTo>
                <a:lnTo>
                  <a:pt x="2128828" y="5016103"/>
                </a:lnTo>
                <a:lnTo>
                  <a:pt x="2306249" y="4538431"/>
                </a:lnTo>
                <a:lnTo>
                  <a:pt x="2347192" y="4347362"/>
                </a:lnTo>
                <a:lnTo>
                  <a:pt x="2538261" y="3719565"/>
                </a:lnTo>
                <a:close/>
                <a:moveTo>
                  <a:pt x="724533" y="0"/>
                </a:moveTo>
                <a:cubicBezTo>
                  <a:pt x="836693" y="18259"/>
                  <a:pt x="948851" y="-10434"/>
                  <a:pt x="1061010" y="54776"/>
                </a:cubicBezTo>
                <a:cubicBezTo>
                  <a:pt x="1100135" y="161720"/>
                  <a:pt x="1178387" y="268664"/>
                  <a:pt x="1178387" y="375608"/>
                </a:cubicBezTo>
                <a:lnTo>
                  <a:pt x="1115787" y="563409"/>
                </a:lnTo>
                <a:lnTo>
                  <a:pt x="1217513" y="657311"/>
                </a:lnTo>
                <a:lnTo>
                  <a:pt x="1154913" y="751212"/>
                </a:lnTo>
                <a:lnTo>
                  <a:pt x="1186213" y="852938"/>
                </a:lnTo>
                <a:lnTo>
                  <a:pt x="1154913" y="939014"/>
                </a:lnTo>
                <a:lnTo>
                  <a:pt x="1154913" y="1079866"/>
                </a:lnTo>
                <a:lnTo>
                  <a:pt x="967110" y="1087692"/>
                </a:lnTo>
                <a:lnTo>
                  <a:pt x="1397491" y="1690224"/>
                </a:lnTo>
                <a:lnTo>
                  <a:pt x="1507041" y="1525898"/>
                </a:lnTo>
                <a:lnTo>
                  <a:pt x="1600943" y="1189417"/>
                </a:lnTo>
                <a:cubicBezTo>
                  <a:pt x="1673977" y="1085082"/>
                  <a:pt x="1856563" y="996399"/>
                  <a:pt x="1890471" y="1040741"/>
                </a:cubicBezTo>
                <a:cubicBezTo>
                  <a:pt x="1913947" y="1077259"/>
                  <a:pt x="1804397" y="1309403"/>
                  <a:pt x="1843522" y="1455473"/>
                </a:cubicBezTo>
                <a:cubicBezTo>
                  <a:pt x="1739187" y="1546764"/>
                  <a:pt x="1650504" y="1630233"/>
                  <a:pt x="1647894" y="1752825"/>
                </a:cubicBezTo>
                <a:lnTo>
                  <a:pt x="1726144" y="1823250"/>
                </a:lnTo>
                <a:lnTo>
                  <a:pt x="1600943" y="2042355"/>
                </a:lnTo>
                <a:lnTo>
                  <a:pt x="1757446" y="1995403"/>
                </a:lnTo>
                <a:cubicBezTo>
                  <a:pt x="1812222" y="1945844"/>
                  <a:pt x="1876126" y="1867593"/>
                  <a:pt x="1921773" y="1846727"/>
                </a:cubicBezTo>
                <a:cubicBezTo>
                  <a:pt x="1967419" y="1825860"/>
                  <a:pt x="1994808" y="1862377"/>
                  <a:pt x="2031325" y="1870203"/>
                </a:cubicBezTo>
                <a:lnTo>
                  <a:pt x="2101751" y="1721525"/>
                </a:lnTo>
                <a:cubicBezTo>
                  <a:pt x="2144789" y="1712395"/>
                  <a:pt x="2269990" y="1632840"/>
                  <a:pt x="2297378" y="1651098"/>
                </a:cubicBezTo>
                <a:cubicBezTo>
                  <a:pt x="2425188" y="1716308"/>
                  <a:pt x="2255644" y="1750217"/>
                  <a:pt x="2234776" y="1799776"/>
                </a:cubicBezTo>
                <a:cubicBezTo>
                  <a:pt x="2349544" y="1810210"/>
                  <a:pt x="2566040" y="1773691"/>
                  <a:pt x="2579081" y="1831076"/>
                </a:cubicBezTo>
                <a:lnTo>
                  <a:pt x="2602557" y="2011054"/>
                </a:lnTo>
                <a:cubicBezTo>
                  <a:pt x="2581689" y="2018879"/>
                  <a:pt x="2571255" y="2029311"/>
                  <a:pt x="2539955" y="2034528"/>
                </a:cubicBezTo>
                <a:cubicBezTo>
                  <a:pt x="2508655" y="2039745"/>
                  <a:pt x="2491700" y="2043658"/>
                  <a:pt x="2414754" y="2042354"/>
                </a:cubicBezTo>
                <a:cubicBezTo>
                  <a:pt x="2337807" y="2041049"/>
                  <a:pt x="2190434" y="2031921"/>
                  <a:pt x="2078274" y="2026704"/>
                </a:cubicBezTo>
                <a:lnTo>
                  <a:pt x="2172176" y="2237982"/>
                </a:lnTo>
                <a:cubicBezTo>
                  <a:pt x="2018283" y="2326667"/>
                  <a:pt x="1919164" y="2399700"/>
                  <a:pt x="1710495" y="2504034"/>
                </a:cubicBezTo>
                <a:cubicBezTo>
                  <a:pt x="1689629" y="2603151"/>
                  <a:pt x="1848739" y="2616195"/>
                  <a:pt x="1960900" y="2691837"/>
                </a:cubicBezTo>
                <a:lnTo>
                  <a:pt x="2117400" y="2777914"/>
                </a:lnTo>
                <a:cubicBezTo>
                  <a:pt x="2315637" y="2877032"/>
                  <a:pt x="2803399" y="2741395"/>
                  <a:pt x="3040762" y="2887465"/>
                </a:cubicBezTo>
                <a:cubicBezTo>
                  <a:pt x="3155528" y="2986582"/>
                  <a:pt x="3121621" y="3171779"/>
                  <a:pt x="3103362" y="3278721"/>
                </a:cubicBezTo>
                <a:lnTo>
                  <a:pt x="3745022" y="4256859"/>
                </a:lnTo>
                <a:lnTo>
                  <a:pt x="3588519" y="4468136"/>
                </a:lnTo>
                <a:lnTo>
                  <a:pt x="3870223" y="4781140"/>
                </a:lnTo>
                <a:lnTo>
                  <a:pt x="4050201" y="4765490"/>
                </a:lnTo>
                <a:lnTo>
                  <a:pt x="4222353" y="4843740"/>
                </a:lnTo>
                <a:cubicBezTo>
                  <a:pt x="4287562" y="4833307"/>
                  <a:pt x="4344948" y="4713323"/>
                  <a:pt x="4417980" y="4812440"/>
                </a:cubicBezTo>
                <a:cubicBezTo>
                  <a:pt x="4480580" y="4940252"/>
                  <a:pt x="4151926" y="5099361"/>
                  <a:pt x="4018899" y="5242821"/>
                </a:cubicBezTo>
                <a:lnTo>
                  <a:pt x="3901523" y="5203696"/>
                </a:lnTo>
                <a:lnTo>
                  <a:pt x="3948474" y="5266296"/>
                </a:lnTo>
                <a:lnTo>
                  <a:pt x="3713721" y="5383674"/>
                </a:lnTo>
                <a:lnTo>
                  <a:pt x="3549393" y="5141094"/>
                </a:lnTo>
                <a:lnTo>
                  <a:pt x="3572869" y="5031544"/>
                </a:lnTo>
                <a:lnTo>
                  <a:pt x="3392892" y="4718539"/>
                </a:lnTo>
                <a:lnTo>
                  <a:pt x="3275515" y="4773314"/>
                </a:lnTo>
                <a:lnTo>
                  <a:pt x="3009462" y="4280334"/>
                </a:lnTo>
                <a:lnTo>
                  <a:pt x="2978161" y="4436836"/>
                </a:lnTo>
                <a:lnTo>
                  <a:pt x="2657332" y="4413360"/>
                </a:lnTo>
                <a:cubicBezTo>
                  <a:pt x="2626031" y="4614204"/>
                  <a:pt x="2602557" y="4768098"/>
                  <a:pt x="2610382" y="4945467"/>
                </a:cubicBezTo>
                <a:cubicBezTo>
                  <a:pt x="2691240" y="5078494"/>
                  <a:pt x="2725151" y="5117620"/>
                  <a:pt x="2727758" y="5297597"/>
                </a:cubicBezTo>
                <a:lnTo>
                  <a:pt x="2845135" y="5407148"/>
                </a:lnTo>
                <a:cubicBezTo>
                  <a:pt x="2858177" y="5461924"/>
                  <a:pt x="2980770" y="5524523"/>
                  <a:pt x="2884260" y="5571475"/>
                </a:cubicBezTo>
                <a:cubicBezTo>
                  <a:pt x="2790358" y="5587125"/>
                  <a:pt x="2688633" y="5618426"/>
                  <a:pt x="2571255" y="5587125"/>
                </a:cubicBezTo>
                <a:cubicBezTo>
                  <a:pt x="2479962" y="5537565"/>
                  <a:pt x="2404321" y="5464533"/>
                  <a:pt x="2344328" y="5375848"/>
                </a:cubicBezTo>
                <a:lnTo>
                  <a:pt x="2258252" y="5368023"/>
                </a:lnTo>
                <a:lnTo>
                  <a:pt x="2211301" y="5219347"/>
                </a:lnTo>
                <a:lnTo>
                  <a:pt x="2062624" y="5211521"/>
                </a:lnTo>
                <a:lnTo>
                  <a:pt x="2172176" y="5297597"/>
                </a:lnTo>
                <a:lnTo>
                  <a:pt x="2140876" y="5422799"/>
                </a:lnTo>
                <a:lnTo>
                  <a:pt x="2156527" y="5602775"/>
                </a:lnTo>
                <a:lnTo>
                  <a:pt x="2007849" y="5626251"/>
                </a:lnTo>
                <a:lnTo>
                  <a:pt x="1960898" y="5493224"/>
                </a:lnTo>
                <a:lnTo>
                  <a:pt x="2046974" y="5375848"/>
                </a:lnTo>
                <a:lnTo>
                  <a:pt x="1577467" y="5258472"/>
                </a:lnTo>
                <a:lnTo>
                  <a:pt x="1037535" y="5368023"/>
                </a:lnTo>
                <a:lnTo>
                  <a:pt x="998411" y="5563650"/>
                </a:lnTo>
                <a:cubicBezTo>
                  <a:pt x="961894" y="5665377"/>
                  <a:pt x="862776" y="5610601"/>
                  <a:pt x="771483" y="5563650"/>
                </a:cubicBezTo>
                <a:lnTo>
                  <a:pt x="771483" y="5391498"/>
                </a:lnTo>
                <a:lnTo>
                  <a:pt x="849734" y="5375848"/>
                </a:lnTo>
                <a:lnTo>
                  <a:pt x="888859" y="5281947"/>
                </a:lnTo>
                <a:lnTo>
                  <a:pt x="1014061" y="5234996"/>
                </a:lnTo>
                <a:lnTo>
                  <a:pt x="716707" y="5156745"/>
                </a:lnTo>
                <a:cubicBezTo>
                  <a:pt x="708881" y="5240213"/>
                  <a:pt x="763656" y="5354981"/>
                  <a:pt x="693231" y="5407148"/>
                </a:cubicBezTo>
                <a:cubicBezTo>
                  <a:pt x="607156" y="5430624"/>
                  <a:pt x="568029" y="5360198"/>
                  <a:pt x="505429" y="5336723"/>
                </a:cubicBezTo>
                <a:lnTo>
                  <a:pt x="497604" y="5188045"/>
                </a:lnTo>
                <a:lnTo>
                  <a:pt x="591505" y="5172396"/>
                </a:lnTo>
                <a:lnTo>
                  <a:pt x="638457" y="5055018"/>
                </a:lnTo>
                <a:cubicBezTo>
                  <a:pt x="677583" y="4963725"/>
                  <a:pt x="1170564" y="5060235"/>
                  <a:pt x="1436616" y="5062844"/>
                </a:cubicBezTo>
                <a:lnTo>
                  <a:pt x="1389665" y="4069056"/>
                </a:lnTo>
                <a:lnTo>
                  <a:pt x="1428791" y="4037755"/>
                </a:lnTo>
                <a:lnTo>
                  <a:pt x="1444441" y="3943855"/>
                </a:lnTo>
                <a:lnTo>
                  <a:pt x="1319240" y="3920379"/>
                </a:lnTo>
                <a:lnTo>
                  <a:pt x="1240988" y="3810828"/>
                </a:lnTo>
                <a:cubicBezTo>
                  <a:pt x="972325" y="3852563"/>
                  <a:pt x="813217" y="4144699"/>
                  <a:pt x="693232" y="3787353"/>
                </a:cubicBezTo>
                <a:lnTo>
                  <a:pt x="137650" y="1940628"/>
                </a:lnTo>
                <a:cubicBezTo>
                  <a:pt x="56789" y="1677183"/>
                  <a:pt x="-78845" y="1265061"/>
                  <a:pt x="59398" y="1142468"/>
                </a:cubicBezTo>
                <a:cubicBezTo>
                  <a:pt x="234158" y="980749"/>
                  <a:pt x="260243" y="1077257"/>
                  <a:pt x="380227" y="1150292"/>
                </a:cubicBezTo>
                <a:cubicBezTo>
                  <a:pt x="375011" y="1048565"/>
                  <a:pt x="455870" y="837287"/>
                  <a:pt x="560204" y="837287"/>
                </a:cubicBezTo>
                <a:lnTo>
                  <a:pt x="411527" y="563409"/>
                </a:lnTo>
                <a:cubicBezTo>
                  <a:pt x="375011" y="430382"/>
                  <a:pt x="401095" y="320830"/>
                  <a:pt x="442829" y="187803"/>
                </a:cubicBezTo>
                <a:cubicBezTo>
                  <a:pt x="528905" y="54775"/>
                  <a:pt x="630632" y="62602"/>
                  <a:pt x="724533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701"/>
          </a:p>
        </p:txBody>
      </p:sp>
      <p:grpSp>
        <p:nvGrpSpPr>
          <p:cNvPr id="14" name="Group 52">
            <a:extLst>
              <a:ext uri="{FF2B5EF4-FFF2-40B4-BE49-F238E27FC236}">
                <a16:creationId xmlns="" xmlns:a16="http://schemas.microsoft.com/office/drawing/2014/main" id="{6B642D8E-37B0-44E8-95E5-6583F4760622}"/>
              </a:ext>
            </a:extLst>
          </p:cNvPr>
          <p:cNvGrpSpPr/>
          <p:nvPr/>
        </p:nvGrpSpPr>
        <p:grpSpPr>
          <a:xfrm>
            <a:off x="6583831" y="4038134"/>
            <a:ext cx="1420992" cy="692141"/>
            <a:chOff x="4611928" y="4617259"/>
            <a:chExt cx="2808123" cy="1367790"/>
          </a:xfrm>
        </p:grpSpPr>
        <p:sp>
          <p:nvSpPr>
            <p:cNvPr id="54" name="Oval 53">
              <a:extLst>
                <a:ext uri="{FF2B5EF4-FFF2-40B4-BE49-F238E27FC236}">
                  <a16:creationId xmlns="" xmlns:a16="http://schemas.microsoft.com/office/drawing/2014/main" id="{28F2FC2F-08E8-4411-A855-3C7A0030B8EE}"/>
                </a:ext>
              </a:extLst>
            </p:cNvPr>
            <p:cNvSpPr/>
            <p:nvPr/>
          </p:nvSpPr>
          <p:spPr>
            <a:xfrm>
              <a:off x="4611928" y="4617259"/>
              <a:ext cx="2808123" cy="312014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701"/>
            </a:p>
          </p:txBody>
        </p:sp>
        <p:sp>
          <p:nvSpPr>
            <p:cNvPr id="55" name="Rectangle 54">
              <a:extLst>
                <a:ext uri="{FF2B5EF4-FFF2-40B4-BE49-F238E27FC236}">
                  <a16:creationId xmlns="" xmlns:a16="http://schemas.microsoft.com/office/drawing/2014/main" id="{BE380056-28AE-4B4F-8178-95B57FEE4D0E}"/>
                </a:ext>
              </a:extLst>
            </p:cNvPr>
            <p:cNvSpPr/>
            <p:nvPr/>
          </p:nvSpPr>
          <p:spPr>
            <a:xfrm>
              <a:off x="5286306" y="4773267"/>
              <a:ext cx="124805" cy="1211782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701"/>
            </a:p>
          </p:txBody>
        </p:sp>
        <p:sp>
          <p:nvSpPr>
            <p:cNvPr id="56" name="Rectangle 55">
              <a:extLst>
                <a:ext uri="{FF2B5EF4-FFF2-40B4-BE49-F238E27FC236}">
                  <a16:creationId xmlns="" xmlns:a16="http://schemas.microsoft.com/office/drawing/2014/main" id="{B340373E-91C8-4ECF-9EC0-F5A31F6A7C7E}"/>
                </a:ext>
              </a:extLst>
            </p:cNvPr>
            <p:cNvSpPr/>
            <p:nvPr/>
          </p:nvSpPr>
          <p:spPr>
            <a:xfrm>
              <a:off x="6593988" y="4773267"/>
              <a:ext cx="124805" cy="1211782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701"/>
            </a:p>
          </p:txBody>
        </p:sp>
      </p:grpSp>
      <p:grpSp>
        <p:nvGrpSpPr>
          <p:cNvPr id="15" name="그룹 8">
            <a:extLst>
              <a:ext uri="{FF2B5EF4-FFF2-40B4-BE49-F238E27FC236}">
                <a16:creationId xmlns="" xmlns:a16="http://schemas.microsoft.com/office/drawing/2014/main" id="{A471E336-1063-4675-A289-FDB88074E2FE}"/>
              </a:ext>
            </a:extLst>
          </p:cNvPr>
          <p:cNvGrpSpPr/>
          <p:nvPr/>
        </p:nvGrpSpPr>
        <p:grpSpPr>
          <a:xfrm>
            <a:off x="6553695" y="2178328"/>
            <a:ext cx="1685875" cy="887842"/>
            <a:chOff x="4150351" y="1422827"/>
            <a:chExt cx="3920087" cy="2064457"/>
          </a:xfrm>
        </p:grpSpPr>
        <p:sp>
          <p:nvSpPr>
            <p:cNvPr id="58" name="Oval 21">
              <a:extLst>
                <a:ext uri="{FF2B5EF4-FFF2-40B4-BE49-F238E27FC236}">
                  <a16:creationId xmlns="" xmlns:a16="http://schemas.microsoft.com/office/drawing/2014/main" id="{E925341E-93EB-4942-8F3B-3B297C4E3111}"/>
                </a:ext>
              </a:extLst>
            </p:cNvPr>
            <p:cNvSpPr/>
            <p:nvPr/>
          </p:nvSpPr>
          <p:spPr>
            <a:xfrm rot="19890270" flipV="1">
              <a:off x="6946782" y="1604416"/>
              <a:ext cx="1123656" cy="1139787"/>
            </a:xfrm>
            <a:custGeom>
              <a:avLst/>
              <a:gdLst>
                <a:gd name="connsiteX0" fmla="*/ 1365628 w 2495698"/>
                <a:gd name="connsiteY0" fmla="*/ 832740 h 2531525"/>
                <a:gd name="connsiteX1" fmla="*/ 804861 w 2495698"/>
                <a:gd name="connsiteY1" fmla="*/ 1156499 h 2531525"/>
                <a:gd name="connsiteX2" fmla="*/ 1128620 w 2495698"/>
                <a:gd name="connsiteY2" fmla="*/ 1717266 h 2531525"/>
                <a:gd name="connsiteX3" fmla="*/ 1689387 w 2495698"/>
                <a:gd name="connsiteY3" fmla="*/ 1393507 h 2531525"/>
                <a:gd name="connsiteX4" fmla="*/ 1365628 w 2495698"/>
                <a:gd name="connsiteY4" fmla="*/ 832740 h 2531525"/>
                <a:gd name="connsiteX5" fmla="*/ 1447099 w 2495698"/>
                <a:gd name="connsiteY5" fmla="*/ 528685 h 2531525"/>
                <a:gd name="connsiteX6" fmla="*/ 1993442 w 2495698"/>
                <a:gd name="connsiteY6" fmla="*/ 1474978 h 2531525"/>
                <a:gd name="connsiteX7" fmla="*/ 1047149 w 2495698"/>
                <a:gd name="connsiteY7" fmla="*/ 2021321 h 2531525"/>
                <a:gd name="connsiteX8" fmla="*/ 500806 w 2495698"/>
                <a:gd name="connsiteY8" fmla="*/ 1075027 h 2531525"/>
                <a:gd name="connsiteX9" fmla="*/ 1447099 w 2495698"/>
                <a:gd name="connsiteY9" fmla="*/ 528685 h 2531525"/>
                <a:gd name="connsiteX10" fmla="*/ 1476725 w 2495698"/>
                <a:gd name="connsiteY10" fmla="*/ 418119 h 2531525"/>
                <a:gd name="connsiteX11" fmla="*/ 390240 w 2495698"/>
                <a:gd name="connsiteY11" fmla="*/ 1045401 h 2531525"/>
                <a:gd name="connsiteX12" fmla="*/ 1017523 w 2495698"/>
                <a:gd name="connsiteY12" fmla="*/ 2131887 h 2531525"/>
                <a:gd name="connsiteX13" fmla="*/ 2104008 w 2495698"/>
                <a:gd name="connsiteY13" fmla="*/ 1504604 h 2531525"/>
                <a:gd name="connsiteX14" fmla="*/ 1476725 w 2495698"/>
                <a:gd name="connsiteY14" fmla="*/ 418119 h 2531525"/>
                <a:gd name="connsiteX15" fmla="*/ 1759910 w 2495698"/>
                <a:gd name="connsiteY15" fmla="*/ 98812 h 2531525"/>
                <a:gd name="connsiteX16" fmla="*/ 1754625 w 2495698"/>
                <a:gd name="connsiteY16" fmla="*/ 412897 h 2531525"/>
                <a:gd name="connsiteX17" fmla="*/ 1744979 w 2495698"/>
                <a:gd name="connsiteY17" fmla="*/ 410312 h 2531525"/>
                <a:gd name="connsiteX18" fmla="*/ 1954704 w 2495698"/>
                <a:gd name="connsiteY18" fmla="*/ 573108 h 2531525"/>
                <a:gd name="connsiteX19" fmla="*/ 2234317 w 2495698"/>
                <a:gd name="connsiteY19" fmla="*/ 503581 h 2531525"/>
                <a:gd name="connsiteX20" fmla="*/ 2413554 w 2495698"/>
                <a:gd name="connsiteY20" fmla="*/ 840674 h 2531525"/>
                <a:gd name="connsiteX21" fmla="*/ 2214321 w 2495698"/>
                <a:gd name="connsiteY21" fmla="*/ 1020292 h 2531525"/>
                <a:gd name="connsiteX22" fmla="*/ 2246841 w 2495698"/>
                <a:gd name="connsiteY22" fmla="*/ 1303347 h 2531525"/>
                <a:gd name="connsiteX23" fmla="*/ 2495698 w 2495698"/>
                <a:gd name="connsiteY23" fmla="*/ 1441496 h 2531525"/>
                <a:gd name="connsiteX24" fmla="*/ 2396885 w 2495698"/>
                <a:gd name="connsiteY24" fmla="*/ 1810269 h 2531525"/>
                <a:gd name="connsiteX25" fmla="*/ 2094912 w 2495698"/>
                <a:gd name="connsiteY25" fmla="*/ 1805190 h 2531525"/>
                <a:gd name="connsiteX26" fmla="*/ 1958644 w 2495698"/>
                <a:gd name="connsiteY26" fmla="*/ 1977881 h 2531525"/>
                <a:gd name="connsiteX27" fmla="*/ 2057814 w 2495698"/>
                <a:gd name="connsiteY27" fmla="*/ 2236715 h 2531525"/>
                <a:gd name="connsiteX28" fmla="*/ 1745078 w 2495698"/>
                <a:gd name="connsiteY28" fmla="*/ 2455696 h 2531525"/>
                <a:gd name="connsiteX29" fmla="*/ 1507869 w 2495698"/>
                <a:gd name="connsiteY29" fmla="*/ 2249759 h 2531525"/>
                <a:gd name="connsiteX30" fmla="*/ 1536736 w 2495698"/>
                <a:gd name="connsiteY30" fmla="*/ 2229547 h 2531525"/>
                <a:gd name="connsiteX31" fmla="*/ 1251837 w 2495698"/>
                <a:gd name="connsiteY31" fmla="*/ 2272543 h 2531525"/>
                <a:gd name="connsiteX32" fmla="*/ 1108065 w 2495698"/>
                <a:gd name="connsiteY32" fmla="*/ 2531525 h 2531525"/>
                <a:gd name="connsiteX33" fmla="*/ 739291 w 2495698"/>
                <a:gd name="connsiteY33" fmla="*/ 2432713 h 2531525"/>
                <a:gd name="connsiteX34" fmla="*/ 744274 w 2495698"/>
                <a:gd name="connsiteY34" fmla="*/ 2136543 h 2531525"/>
                <a:gd name="connsiteX35" fmla="*/ 535891 w 2495698"/>
                <a:gd name="connsiteY35" fmla="*/ 1973098 h 2531525"/>
                <a:gd name="connsiteX36" fmla="*/ 540671 w 2495698"/>
                <a:gd name="connsiteY36" fmla="*/ 1983347 h 2531525"/>
                <a:gd name="connsiteX37" fmla="*/ 232276 w 2495698"/>
                <a:gd name="connsiteY37" fmla="*/ 2043090 h 2531525"/>
                <a:gd name="connsiteX38" fmla="*/ 70927 w 2495698"/>
                <a:gd name="connsiteY38" fmla="*/ 1697078 h 2531525"/>
                <a:gd name="connsiteX39" fmla="*/ 279495 w 2495698"/>
                <a:gd name="connsiteY39" fmla="*/ 1527966 h 2531525"/>
                <a:gd name="connsiteX40" fmla="*/ 245586 w 2495698"/>
                <a:gd name="connsiteY40" fmla="*/ 1274796 h 2531525"/>
                <a:gd name="connsiteX41" fmla="*/ 0 w 2495698"/>
                <a:gd name="connsiteY41" fmla="*/ 1138462 h 2531525"/>
                <a:gd name="connsiteX42" fmla="*/ 98812 w 2495698"/>
                <a:gd name="connsiteY42" fmla="*/ 769689 h 2531525"/>
                <a:gd name="connsiteX43" fmla="*/ 380240 w 2495698"/>
                <a:gd name="connsiteY43" fmla="*/ 774423 h 2531525"/>
                <a:gd name="connsiteX44" fmla="*/ 516679 w 2495698"/>
                <a:gd name="connsiteY44" fmla="*/ 590627 h 2531525"/>
                <a:gd name="connsiteX45" fmla="*/ 422419 w 2495698"/>
                <a:gd name="connsiteY45" fmla="*/ 299900 h 2531525"/>
                <a:gd name="connsiteX46" fmla="*/ 746189 w 2495698"/>
                <a:gd name="connsiteY46" fmla="*/ 97585 h 2531525"/>
                <a:gd name="connsiteX47" fmla="*/ 972292 w 2495698"/>
                <a:gd name="connsiteY47" fmla="*/ 315656 h 2531525"/>
                <a:gd name="connsiteX48" fmla="*/ 970019 w 2495698"/>
                <a:gd name="connsiteY48" fmla="*/ 317076 h 2531525"/>
                <a:gd name="connsiteX49" fmla="*/ 1248316 w 2495698"/>
                <a:gd name="connsiteY49" fmla="*/ 277231 h 2531525"/>
                <a:gd name="connsiteX50" fmla="*/ 1238669 w 2495698"/>
                <a:gd name="connsiteY50" fmla="*/ 274647 h 2531525"/>
                <a:gd name="connsiteX51" fmla="*/ 1391137 w 2495698"/>
                <a:gd name="connsiteY51" fmla="*/ 0 h 2531525"/>
                <a:gd name="connsiteX52" fmla="*/ 1759910 w 2495698"/>
                <a:gd name="connsiteY52" fmla="*/ 98812 h 2531525"/>
                <a:gd name="connsiteX0" fmla="*/ 1365628 w 2495698"/>
                <a:gd name="connsiteY0" fmla="*/ 832740 h 2531525"/>
                <a:gd name="connsiteX1" fmla="*/ 804861 w 2495698"/>
                <a:gd name="connsiteY1" fmla="*/ 1156499 h 2531525"/>
                <a:gd name="connsiteX2" fmla="*/ 1128620 w 2495698"/>
                <a:gd name="connsiteY2" fmla="*/ 1717266 h 2531525"/>
                <a:gd name="connsiteX3" fmla="*/ 1689387 w 2495698"/>
                <a:gd name="connsiteY3" fmla="*/ 1393507 h 2531525"/>
                <a:gd name="connsiteX4" fmla="*/ 1365628 w 2495698"/>
                <a:gd name="connsiteY4" fmla="*/ 832740 h 2531525"/>
                <a:gd name="connsiteX5" fmla="*/ 1447099 w 2495698"/>
                <a:gd name="connsiteY5" fmla="*/ 528685 h 2531525"/>
                <a:gd name="connsiteX6" fmla="*/ 1993442 w 2495698"/>
                <a:gd name="connsiteY6" fmla="*/ 1474978 h 2531525"/>
                <a:gd name="connsiteX7" fmla="*/ 1047149 w 2495698"/>
                <a:gd name="connsiteY7" fmla="*/ 2021321 h 2531525"/>
                <a:gd name="connsiteX8" fmla="*/ 500806 w 2495698"/>
                <a:gd name="connsiteY8" fmla="*/ 1075027 h 2531525"/>
                <a:gd name="connsiteX9" fmla="*/ 1447099 w 2495698"/>
                <a:gd name="connsiteY9" fmla="*/ 528685 h 2531525"/>
                <a:gd name="connsiteX10" fmla="*/ 1476725 w 2495698"/>
                <a:gd name="connsiteY10" fmla="*/ 418119 h 2531525"/>
                <a:gd name="connsiteX11" fmla="*/ 390240 w 2495698"/>
                <a:gd name="connsiteY11" fmla="*/ 1045401 h 2531525"/>
                <a:gd name="connsiteX12" fmla="*/ 1017523 w 2495698"/>
                <a:gd name="connsiteY12" fmla="*/ 2131887 h 2531525"/>
                <a:gd name="connsiteX13" fmla="*/ 2104008 w 2495698"/>
                <a:gd name="connsiteY13" fmla="*/ 1504604 h 2531525"/>
                <a:gd name="connsiteX14" fmla="*/ 1476725 w 2495698"/>
                <a:gd name="connsiteY14" fmla="*/ 418119 h 2531525"/>
                <a:gd name="connsiteX15" fmla="*/ 1759910 w 2495698"/>
                <a:gd name="connsiteY15" fmla="*/ 98812 h 2531525"/>
                <a:gd name="connsiteX16" fmla="*/ 1754625 w 2495698"/>
                <a:gd name="connsiteY16" fmla="*/ 412897 h 2531525"/>
                <a:gd name="connsiteX17" fmla="*/ 1744979 w 2495698"/>
                <a:gd name="connsiteY17" fmla="*/ 410312 h 2531525"/>
                <a:gd name="connsiteX18" fmla="*/ 1954704 w 2495698"/>
                <a:gd name="connsiteY18" fmla="*/ 573108 h 2531525"/>
                <a:gd name="connsiteX19" fmla="*/ 2234317 w 2495698"/>
                <a:gd name="connsiteY19" fmla="*/ 503581 h 2531525"/>
                <a:gd name="connsiteX20" fmla="*/ 2413554 w 2495698"/>
                <a:gd name="connsiteY20" fmla="*/ 840674 h 2531525"/>
                <a:gd name="connsiteX21" fmla="*/ 2214321 w 2495698"/>
                <a:gd name="connsiteY21" fmla="*/ 1020292 h 2531525"/>
                <a:gd name="connsiteX22" fmla="*/ 2246841 w 2495698"/>
                <a:gd name="connsiteY22" fmla="*/ 1303347 h 2531525"/>
                <a:gd name="connsiteX23" fmla="*/ 2495698 w 2495698"/>
                <a:gd name="connsiteY23" fmla="*/ 1441496 h 2531525"/>
                <a:gd name="connsiteX24" fmla="*/ 2396885 w 2495698"/>
                <a:gd name="connsiteY24" fmla="*/ 1810269 h 2531525"/>
                <a:gd name="connsiteX25" fmla="*/ 2094912 w 2495698"/>
                <a:gd name="connsiteY25" fmla="*/ 1805190 h 2531525"/>
                <a:gd name="connsiteX26" fmla="*/ 1958644 w 2495698"/>
                <a:gd name="connsiteY26" fmla="*/ 1977881 h 2531525"/>
                <a:gd name="connsiteX27" fmla="*/ 2057814 w 2495698"/>
                <a:gd name="connsiteY27" fmla="*/ 2236715 h 2531525"/>
                <a:gd name="connsiteX28" fmla="*/ 1745078 w 2495698"/>
                <a:gd name="connsiteY28" fmla="*/ 2455696 h 2531525"/>
                <a:gd name="connsiteX29" fmla="*/ 1507869 w 2495698"/>
                <a:gd name="connsiteY29" fmla="*/ 2249759 h 2531525"/>
                <a:gd name="connsiteX30" fmla="*/ 1536736 w 2495698"/>
                <a:gd name="connsiteY30" fmla="*/ 2229547 h 2531525"/>
                <a:gd name="connsiteX31" fmla="*/ 1251837 w 2495698"/>
                <a:gd name="connsiteY31" fmla="*/ 2272543 h 2531525"/>
                <a:gd name="connsiteX32" fmla="*/ 1108065 w 2495698"/>
                <a:gd name="connsiteY32" fmla="*/ 2531525 h 2531525"/>
                <a:gd name="connsiteX33" fmla="*/ 739291 w 2495698"/>
                <a:gd name="connsiteY33" fmla="*/ 2432713 h 2531525"/>
                <a:gd name="connsiteX34" fmla="*/ 744274 w 2495698"/>
                <a:gd name="connsiteY34" fmla="*/ 2136543 h 2531525"/>
                <a:gd name="connsiteX35" fmla="*/ 535891 w 2495698"/>
                <a:gd name="connsiteY35" fmla="*/ 1973098 h 2531525"/>
                <a:gd name="connsiteX36" fmla="*/ 540671 w 2495698"/>
                <a:gd name="connsiteY36" fmla="*/ 1983347 h 2531525"/>
                <a:gd name="connsiteX37" fmla="*/ 232276 w 2495698"/>
                <a:gd name="connsiteY37" fmla="*/ 2043090 h 2531525"/>
                <a:gd name="connsiteX38" fmla="*/ 70927 w 2495698"/>
                <a:gd name="connsiteY38" fmla="*/ 1697078 h 2531525"/>
                <a:gd name="connsiteX39" fmla="*/ 279495 w 2495698"/>
                <a:gd name="connsiteY39" fmla="*/ 1527966 h 2531525"/>
                <a:gd name="connsiteX40" fmla="*/ 245586 w 2495698"/>
                <a:gd name="connsiteY40" fmla="*/ 1274796 h 2531525"/>
                <a:gd name="connsiteX41" fmla="*/ 0 w 2495698"/>
                <a:gd name="connsiteY41" fmla="*/ 1138462 h 2531525"/>
                <a:gd name="connsiteX42" fmla="*/ 98812 w 2495698"/>
                <a:gd name="connsiteY42" fmla="*/ 769689 h 2531525"/>
                <a:gd name="connsiteX43" fmla="*/ 380240 w 2495698"/>
                <a:gd name="connsiteY43" fmla="*/ 774423 h 2531525"/>
                <a:gd name="connsiteX44" fmla="*/ 516679 w 2495698"/>
                <a:gd name="connsiteY44" fmla="*/ 590627 h 2531525"/>
                <a:gd name="connsiteX45" fmla="*/ 422419 w 2495698"/>
                <a:gd name="connsiteY45" fmla="*/ 299900 h 2531525"/>
                <a:gd name="connsiteX46" fmla="*/ 746189 w 2495698"/>
                <a:gd name="connsiteY46" fmla="*/ 97585 h 2531525"/>
                <a:gd name="connsiteX47" fmla="*/ 972292 w 2495698"/>
                <a:gd name="connsiteY47" fmla="*/ 315656 h 2531525"/>
                <a:gd name="connsiteX48" fmla="*/ 970019 w 2495698"/>
                <a:gd name="connsiteY48" fmla="*/ 317076 h 2531525"/>
                <a:gd name="connsiteX49" fmla="*/ 1248316 w 2495698"/>
                <a:gd name="connsiteY49" fmla="*/ 277231 h 2531525"/>
                <a:gd name="connsiteX50" fmla="*/ 1238669 w 2495698"/>
                <a:gd name="connsiteY50" fmla="*/ 274647 h 2531525"/>
                <a:gd name="connsiteX51" fmla="*/ 1391137 w 2495698"/>
                <a:gd name="connsiteY51" fmla="*/ 0 h 2531525"/>
                <a:gd name="connsiteX52" fmla="*/ 1759910 w 2495698"/>
                <a:gd name="connsiteY52" fmla="*/ 98812 h 2531525"/>
                <a:gd name="connsiteX0" fmla="*/ 1365628 w 2495698"/>
                <a:gd name="connsiteY0" fmla="*/ 832740 h 2531525"/>
                <a:gd name="connsiteX1" fmla="*/ 804861 w 2495698"/>
                <a:gd name="connsiteY1" fmla="*/ 1156499 h 2531525"/>
                <a:gd name="connsiteX2" fmla="*/ 1128620 w 2495698"/>
                <a:gd name="connsiteY2" fmla="*/ 1717266 h 2531525"/>
                <a:gd name="connsiteX3" fmla="*/ 1689387 w 2495698"/>
                <a:gd name="connsiteY3" fmla="*/ 1393507 h 2531525"/>
                <a:gd name="connsiteX4" fmla="*/ 1365628 w 2495698"/>
                <a:gd name="connsiteY4" fmla="*/ 832740 h 2531525"/>
                <a:gd name="connsiteX5" fmla="*/ 1447099 w 2495698"/>
                <a:gd name="connsiteY5" fmla="*/ 528685 h 2531525"/>
                <a:gd name="connsiteX6" fmla="*/ 1993442 w 2495698"/>
                <a:gd name="connsiteY6" fmla="*/ 1474978 h 2531525"/>
                <a:gd name="connsiteX7" fmla="*/ 1047149 w 2495698"/>
                <a:gd name="connsiteY7" fmla="*/ 2021321 h 2531525"/>
                <a:gd name="connsiteX8" fmla="*/ 500806 w 2495698"/>
                <a:gd name="connsiteY8" fmla="*/ 1075027 h 2531525"/>
                <a:gd name="connsiteX9" fmla="*/ 1447099 w 2495698"/>
                <a:gd name="connsiteY9" fmla="*/ 528685 h 2531525"/>
                <a:gd name="connsiteX10" fmla="*/ 1476725 w 2495698"/>
                <a:gd name="connsiteY10" fmla="*/ 418119 h 2531525"/>
                <a:gd name="connsiteX11" fmla="*/ 390240 w 2495698"/>
                <a:gd name="connsiteY11" fmla="*/ 1045401 h 2531525"/>
                <a:gd name="connsiteX12" fmla="*/ 1017523 w 2495698"/>
                <a:gd name="connsiteY12" fmla="*/ 2131887 h 2531525"/>
                <a:gd name="connsiteX13" fmla="*/ 2104008 w 2495698"/>
                <a:gd name="connsiteY13" fmla="*/ 1504604 h 2531525"/>
                <a:gd name="connsiteX14" fmla="*/ 1476725 w 2495698"/>
                <a:gd name="connsiteY14" fmla="*/ 418119 h 2531525"/>
                <a:gd name="connsiteX15" fmla="*/ 1759910 w 2495698"/>
                <a:gd name="connsiteY15" fmla="*/ 98812 h 2531525"/>
                <a:gd name="connsiteX16" fmla="*/ 1754625 w 2495698"/>
                <a:gd name="connsiteY16" fmla="*/ 412897 h 2531525"/>
                <a:gd name="connsiteX17" fmla="*/ 1744979 w 2495698"/>
                <a:gd name="connsiteY17" fmla="*/ 410312 h 2531525"/>
                <a:gd name="connsiteX18" fmla="*/ 1954704 w 2495698"/>
                <a:gd name="connsiteY18" fmla="*/ 573108 h 2531525"/>
                <a:gd name="connsiteX19" fmla="*/ 2234317 w 2495698"/>
                <a:gd name="connsiteY19" fmla="*/ 503581 h 2531525"/>
                <a:gd name="connsiteX20" fmla="*/ 2413554 w 2495698"/>
                <a:gd name="connsiteY20" fmla="*/ 840674 h 2531525"/>
                <a:gd name="connsiteX21" fmla="*/ 2214321 w 2495698"/>
                <a:gd name="connsiteY21" fmla="*/ 1020292 h 2531525"/>
                <a:gd name="connsiteX22" fmla="*/ 2246841 w 2495698"/>
                <a:gd name="connsiteY22" fmla="*/ 1303347 h 2531525"/>
                <a:gd name="connsiteX23" fmla="*/ 2495698 w 2495698"/>
                <a:gd name="connsiteY23" fmla="*/ 1441496 h 2531525"/>
                <a:gd name="connsiteX24" fmla="*/ 2396885 w 2495698"/>
                <a:gd name="connsiteY24" fmla="*/ 1810269 h 2531525"/>
                <a:gd name="connsiteX25" fmla="*/ 2094912 w 2495698"/>
                <a:gd name="connsiteY25" fmla="*/ 1805190 h 2531525"/>
                <a:gd name="connsiteX26" fmla="*/ 1958644 w 2495698"/>
                <a:gd name="connsiteY26" fmla="*/ 1977881 h 2531525"/>
                <a:gd name="connsiteX27" fmla="*/ 2057814 w 2495698"/>
                <a:gd name="connsiteY27" fmla="*/ 2236715 h 2531525"/>
                <a:gd name="connsiteX28" fmla="*/ 1745078 w 2495698"/>
                <a:gd name="connsiteY28" fmla="*/ 2455696 h 2531525"/>
                <a:gd name="connsiteX29" fmla="*/ 1507869 w 2495698"/>
                <a:gd name="connsiteY29" fmla="*/ 2249759 h 2531525"/>
                <a:gd name="connsiteX30" fmla="*/ 1251837 w 2495698"/>
                <a:gd name="connsiteY30" fmla="*/ 2272543 h 2531525"/>
                <a:gd name="connsiteX31" fmla="*/ 1108065 w 2495698"/>
                <a:gd name="connsiteY31" fmla="*/ 2531525 h 2531525"/>
                <a:gd name="connsiteX32" fmla="*/ 739291 w 2495698"/>
                <a:gd name="connsiteY32" fmla="*/ 2432713 h 2531525"/>
                <a:gd name="connsiteX33" fmla="*/ 744274 w 2495698"/>
                <a:gd name="connsiteY33" fmla="*/ 2136543 h 2531525"/>
                <a:gd name="connsiteX34" fmla="*/ 535891 w 2495698"/>
                <a:gd name="connsiteY34" fmla="*/ 1973098 h 2531525"/>
                <a:gd name="connsiteX35" fmla="*/ 540671 w 2495698"/>
                <a:gd name="connsiteY35" fmla="*/ 1983347 h 2531525"/>
                <a:gd name="connsiteX36" fmla="*/ 232276 w 2495698"/>
                <a:gd name="connsiteY36" fmla="*/ 2043090 h 2531525"/>
                <a:gd name="connsiteX37" fmla="*/ 70927 w 2495698"/>
                <a:gd name="connsiteY37" fmla="*/ 1697078 h 2531525"/>
                <a:gd name="connsiteX38" fmla="*/ 279495 w 2495698"/>
                <a:gd name="connsiteY38" fmla="*/ 1527966 h 2531525"/>
                <a:gd name="connsiteX39" fmla="*/ 245586 w 2495698"/>
                <a:gd name="connsiteY39" fmla="*/ 1274796 h 2531525"/>
                <a:gd name="connsiteX40" fmla="*/ 0 w 2495698"/>
                <a:gd name="connsiteY40" fmla="*/ 1138462 h 2531525"/>
                <a:gd name="connsiteX41" fmla="*/ 98812 w 2495698"/>
                <a:gd name="connsiteY41" fmla="*/ 769689 h 2531525"/>
                <a:gd name="connsiteX42" fmla="*/ 380240 w 2495698"/>
                <a:gd name="connsiteY42" fmla="*/ 774423 h 2531525"/>
                <a:gd name="connsiteX43" fmla="*/ 516679 w 2495698"/>
                <a:gd name="connsiteY43" fmla="*/ 590627 h 2531525"/>
                <a:gd name="connsiteX44" fmla="*/ 422419 w 2495698"/>
                <a:gd name="connsiteY44" fmla="*/ 299900 h 2531525"/>
                <a:gd name="connsiteX45" fmla="*/ 746189 w 2495698"/>
                <a:gd name="connsiteY45" fmla="*/ 97585 h 2531525"/>
                <a:gd name="connsiteX46" fmla="*/ 972292 w 2495698"/>
                <a:gd name="connsiteY46" fmla="*/ 315656 h 2531525"/>
                <a:gd name="connsiteX47" fmla="*/ 970019 w 2495698"/>
                <a:gd name="connsiteY47" fmla="*/ 317076 h 2531525"/>
                <a:gd name="connsiteX48" fmla="*/ 1248316 w 2495698"/>
                <a:gd name="connsiteY48" fmla="*/ 277231 h 2531525"/>
                <a:gd name="connsiteX49" fmla="*/ 1238669 w 2495698"/>
                <a:gd name="connsiteY49" fmla="*/ 274647 h 2531525"/>
                <a:gd name="connsiteX50" fmla="*/ 1391137 w 2495698"/>
                <a:gd name="connsiteY50" fmla="*/ 0 h 2531525"/>
                <a:gd name="connsiteX51" fmla="*/ 1759910 w 2495698"/>
                <a:gd name="connsiteY51" fmla="*/ 98812 h 2531525"/>
                <a:gd name="connsiteX0" fmla="*/ 1365628 w 2495698"/>
                <a:gd name="connsiteY0" fmla="*/ 832740 h 2531525"/>
                <a:gd name="connsiteX1" fmla="*/ 804861 w 2495698"/>
                <a:gd name="connsiteY1" fmla="*/ 1156499 h 2531525"/>
                <a:gd name="connsiteX2" fmla="*/ 1128620 w 2495698"/>
                <a:gd name="connsiteY2" fmla="*/ 1717266 h 2531525"/>
                <a:gd name="connsiteX3" fmla="*/ 1689387 w 2495698"/>
                <a:gd name="connsiteY3" fmla="*/ 1393507 h 2531525"/>
                <a:gd name="connsiteX4" fmla="*/ 1365628 w 2495698"/>
                <a:gd name="connsiteY4" fmla="*/ 832740 h 2531525"/>
                <a:gd name="connsiteX5" fmla="*/ 1447099 w 2495698"/>
                <a:gd name="connsiteY5" fmla="*/ 528685 h 2531525"/>
                <a:gd name="connsiteX6" fmla="*/ 1993442 w 2495698"/>
                <a:gd name="connsiteY6" fmla="*/ 1474978 h 2531525"/>
                <a:gd name="connsiteX7" fmla="*/ 1047149 w 2495698"/>
                <a:gd name="connsiteY7" fmla="*/ 2021321 h 2531525"/>
                <a:gd name="connsiteX8" fmla="*/ 500806 w 2495698"/>
                <a:gd name="connsiteY8" fmla="*/ 1075027 h 2531525"/>
                <a:gd name="connsiteX9" fmla="*/ 1447099 w 2495698"/>
                <a:gd name="connsiteY9" fmla="*/ 528685 h 2531525"/>
                <a:gd name="connsiteX10" fmla="*/ 1476725 w 2495698"/>
                <a:gd name="connsiteY10" fmla="*/ 418119 h 2531525"/>
                <a:gd name="connsiteX11" fmla="*/ 390240 w 2495698"/>
                <a:gd name="connsiteY11" fmla="*/ 1045401 h 2531525"/>
                <a:gd name="connsiteX12" fmla="*/ 1017523 w 2495698"/>
                <a:gd name="connsiteY12" fmla="*/ 2131887 h 2531525"/>
                <a:gd name="connsiteX13" fmla="*/ 2104008 w 2495698"/>
                <a:gd name="connsiteY13" fmla="*/ 1504604 h 2531525"/>
                <a:gd name="connsiteX14" fmla="*/ 1476725 w 2495698"/>
                <a:gd name="connsiteY14" fmla="*/ 418119 h 2531525"/>
                <a:gd name="connsiteX15" fmla="*/ 1759910 w 2495698"/>
                <a:gd name="connsiteY15" fmla="*/ 98812 h 2531525"/>
                <a:gd name="connsiteX16" fmla="*/ 1754625 w 2495698"/>
                <a:gd name="connsiteY16" fmla="*/ 412897 h 2531525"/>
                <a:gd name="connsiteX17" fmla="*/ 1744979 w 2495698"/>
                <a:gd name="connsiteY17" fmla="*/ 410312 h 2531525"/>
                <a:gd name="connsiteX18" fmla="*/ 1954704 w 2495698"/>
                <a:gd name="connsiteY18" fmla="*/ 573108 h 2531525"/>
                <a:gd name="connsiteX19" fmla="*/ 2234317 w 2495698"/>
                <a:gd name="connsiteY19" fmla="*/ 503581 h 2531525"/>
                <a:gd name="connsiteX20" fmla="*/ 2413554 w 2495698"/>
                <a:gd name="connsiteY20" fmla="*/ 840674 h 2531525"/>
                <a:gd name="connsiteX21" fmla="*/ 2214321 w 2495698"/>
                <a:gd name="connsiteY21" fmla="*/ 1020292 h 2531525"/>
                <a:gd name="connsiteX22" fmla="*/ 2246841 w 2495698"/>
                <a:gd name="connsiteY22" fmla="*/ 1303347 h 2531525"/>
                <a:gd name="connsiteX23" fmla="*/ 2495698 w 2495698"/>
                <a:gd name="connsiteY23" fmla="*/ 1441496 h 2531525"/>
                <a:gd name="connsiteX24" fmla="*/ 2396885 w 2495698"/>
                <a:gd name="connsiteY24" fmla="*/ 1810269 h 2531525"/>
                <a:gd name="connsiteX25" fmla="*/ 2094912 w 2495698"/>
                <a:gd name="connsiteY25" fmla="*/ 1805190 h 2531525"/>
                <a:gd name="connsiteX26" fmla="*/ 1958644 w 2495698"/>
                <a:gd name="connsiteY26" fmla="*/ 1977881 h 2531525"/>
                <a:gd name="connsiteX27" fmla="*/ 2057814 w 2495698"/>
                <a:gd name="connsiteY27" fmla="*/ 2236715 h 2531525"/>
                <a:gd name="connsiteX28" fmla="*/ 1745078 w 2495698"/>
                <a:gd name="connsiteY28" fmla="*/ 2455696 h 2531525"/>
                <a:gd name="connsiteX29" fmla="*/ 1507869 w 2495698"/>
                <a:gd name="connsiteY29" fmla="*/ 2249759 h 2531525"/>
                <a:gd name="connsiteX30" fmla="*/ 1251837 w 2495698"/>
                <a:gd name="connsiteY30" fmla="*/ 2272543 h 2531525"/>
                <a:gd name="connsiteX31" fmla="*/ 1108065 w 2495698"/>
                <a:gd name="connsiteY31" fmla="*/ 2531525 h 2531525"/>
                <a:gd name="connsiteX32" fmla="*/ 739291 w 2495698"/>
                <a:gd name="connsiteY32" fmla="*/ 2432713 h 2531525"/>
                <a:gd name="connsiteX33" fmla="*/ 744274 w 2495698"/>
                <a:gd name="connsiteY33" fmla="*/ 2136543 h 2531525"/>
                <a:gd name="connsiteX34" fmla="*/ 535891 w 2495698"/>
                <a:gd name="connsiteY34" fmla="*/ 1973098 h 2531525"/>
                <a:gd name="connsiteX35" fmla="*/ 540671 w 2495698"/>
                <a:gd name="connsiteY35" fmla="*/ 1983347 h 2531525"/>
                <a:gd name="connsiteX36" fmla="*/ 232276 w 2495698"/>
                <a:gd name="connsiteY36" fmla="*/ 2043090 h 2531525"/>
                <a:gd name="connsiteX37" fmla="*/ 70927 w 2495698"/>
                <a:gd name="connsiteY37" fmla="*/ 1697078 h 2531525"/>
                <a:gd name="connsiteX38" fmla="*/ 279495 w 2495698"/>
                <a:gd name="connsiteY38" fmla="*/ 1527966 h 2531525"/>
                <a:gd name="connsiteX39" fmla="*/ 245586 w 2495698"/>
                <a:gd name="connsiteY39" fmla="*/ 1274796 h 2531525"/>
                <a:gd name="connsiteX40" fmla="*/ 0 w 2495698"/>
                <a:gd name="connsiteY40" fmla="*/ 1138462 h 2531525"/>
                <a:gd name="connsiteX41" fmla="*/ 98812 w 2495698"/>
                <a:gd name="connsiteY41" fmla="*/ 769689 h 2531525"/>
                <a:gd name="connsiteX42" fmla="*/ 380240 w 2495698"/>
                <a:gd name="connsiteY42" fmla="*/ 774423 h 2531525"/>
                <a:gd name="connsiteX43" fmla="*/ 516679 w 2495698"/>
                <a:gd name="connsiteY43" fmla="*/ 590627 h 2531525"/>
                <a:gd name="connsiteX44" fmla="*/ 422419 w 2495698"/>
                <a:gd name="connsiteY44" fmla="*/ 299900 h 2531525"/>
                <a:gd name="connsiteX45" fmla="*/ 746189 w 2495698"/>
                <a:gd name="connsiteY45" fmla="*/ 97585 h 2531525"/>
                <a:gd name="connsiteX46" fmla="*/ 972292 w 2495698"/>
                <a:gd name="connsiteY46" fmla="*/ 315656 h 2531525"/>
                <a:gd name="connsiteX47" fmla="*/ 970019 w 2495698"/>
                <a:gd name="connsiteY47" fmla="*/ 317076 h 2531525"/>
                <a:gd name="connsiteX48" fmla="*/ 1248316 w 2495698"/>
                <a:gd name="connsiteY48" fmla="*/ 277231 h 2531525"/>
                <a:gd name="connsiteX49" fmla="*/ 1238669 w 2495698"/>
                <a:gd name="connsiteY49" fmla="*/ 274647 h 2531525"/>
                <a:gd name="connsiteX50" fmla="*/ 1391137 w 2495698"/>
                <a:gd name="connsiteY50" fmla="*/ 0 h 2531525"/>
                <a:gd name="connsiteX51" fmla="*/ 1759910 w 2495698"/>
                <a:gd name="connsiteY51" fmla="*/ 98812 h 2531525"/>
                <a:gd name="connsiteX0" fmla="*/ 1365628 w 2495698"/>
                <a:gd name="connsiteY0" fmla="*/ 832740 h 2531525"/>
                <a:gd name="connsiteX1" fmla="*/ 804861 w 2495698"/>
                <a:gd name="connsiteY1" fmla="*/ 1156499 h 2531525"/>
                <a:gd name="connsiteX2" fmla="*/ 1128620 w 2495698"/>
                <a:gd name="connsiteY2" fmla="*/ 1717266 h 2531525"/>
                <a:gd name="connsiteX3" fmla="*/ 1689387 w 2495698"/>
                <a:gd name="connsiteY3" fmla="*/ 1393507 h 2531525"/>
                <a:gd name="connsiteX4" fmla="*/ 1365628 w 2495698"/>
                <a:gd name="connsiteY4" fmla="*/ 832740 h 2531525"/>
                <a:gd name="connsiteX5" fmla="*/ 1447099 w 2495698"/>
                <a:gd name="connsiteY5" fmla="*/ 528685 h 2531525"/>
                <a:gd name="connsiteX6" fmla="*/ 1993442 w 2495698"/>
                <a:gd name="connsiteY6" fmla="*/ 1474978 h 2531525"/>
                <a:gd name="connsiteX7" fmla="*/ 1047149 w 2495698"/>
                <a:gd name="connsiteY7" fmla="*/ 2021321 h 2531525"/>
                <a:gd name="connsiteX8" fmla="*/ 500806 w 2495698"/>
                <a:gd name="connsiteY8" fmla="*/ 1075027 h 2531525"/>
                <a:gd name="connsiteX9" fmla="*/ 1447099 w 2495698"/>
                <a:gd name="connsiteY9" fmla="*/ 528685 h 2531525"/>
                <a:gd name="connsiteX10" fmla="*/ 1476725 w 2495698"/>
                <a:gd name="connsiteY10" fmla="*/ 418119 h 2531525"/>
                <a:gd name="connsiteX11" fmla="*/ 390240 w 2495698"/>
                <a:gd name="connsiteY11" fmla="*/ 1045401 h 2531525"/>
                <a:gd name="connsiteX12" fmla="*/ 1017523 w 2495698"/>
                <a:gd name="connsiteY12" fmla="*/ 2131887 h 2531525"/>
                <a:gd name="connsiteX13" fmla="*/ 2104008 w 2495698"/>
                <a:gd name="connsiteY13" fmla="*/ 1504604 h 2531525"/>
                <a:gd name="connsiteX14" fmla="*/ 1476725 w 2495698"/>
                <a:gd name="connsiteY14" fmla="*/ 418119 h 2531525"/>
                <a:gd name="connsiteX15" fmla="*/ 1759910 w 2495698"/>
                <a:gd name="connsiteY15" fmla="*/ 98812 h 2531525"/>
                <a:gd name="connsiteX16" fmla="*/ 1754625 w 2495698"/>
                <a:gd name="connsiteY16" fmla="*/ 412897 h 2531525"/>
                <a:gd name="connsiteX17" fmla="*/ 1744979 w 2495698"/>
                <a:gd name="connsiteY17" fmla="*/ 410312 h 2531525"/>
                <a:gd name="connsiteX18" fmla="*/ 1954704 w 2495698"/>
                <a:gd name="connsiteY18" fmla="*/ 573108 h 2531525"/>
                <a:gd name="connsiteX19" fmla="*/ 2234317 w 2495698"/>
                <a:gd name="connsiteY19" fmla="*/ 503581 h 2531525"/>
                <a:gd name="connsiteX20" fmla="*/ 2413554 w 2495698"/>
                <a:gd name="connsiteY20" fmla="*/ 840674 h 2531525"/>
                <a:gd name="connsiteX21" fmla="*/ 2214321 w 2495698"/>
                <a:gd name="connsiteY21" fmla="*/ 1020292 h 2531525"/>
                <a:gd name="connsiteX22" fmla="*/ 2246841 w 2495698"/>
                <a:gd name="connsiteY22" fmla="*/ 1303347 h 2531525"/>
                <a:gd name="connsiteX23" fmla="*/ 2495698 w 2495698"/>
                <a:gd name="connsiteY23" fmla="*/ 1441496 h 2531525"/>
                <a:gd name="connsiteX24" fmla="*/ 2396885 w 2495698"/>
                <a:gd name="connsiteY24" fmla="*/ 1810269 h 2531525"/>
                <a:gd name="connsiteX25" fmla="*/ 2094912 w 2495698"/>
                <a:gd name="connsiteY25" fmla="*/ 1805190 h 2531525"/>
                <a:gd name="connsiteX26" fmla="*/ 1958644 w 2495698"/>
                <a:gd name="connsiteY26" fmla="*/ 1977881 h 2531525"/>
                <a:gd name="connsiteX27" fmla="*/ 2057814 w 2495698"/>
                <a:gd name="connsiteY27" fmla="*/ 2236715 h 2531525"/>
                <a:gd name="connsiteX28" fmla="*/ 1745078 w 2495698"/>
                <a:gd name="connsiteY28" fmla="*/ 2455696 h 2531525"/>
                <a:gd name="connsiteX29" fmla="*/ 1507869 w 2495698"/>
                <a:gd name="connsiteY29" fmla="*/ 2249759 h 2531525"/>
                <a:gd name="connsiteX30" fmla="*/ 1251837 w 2495698"/>
                <a:gd name="connsiteY30" fmla="*/ 2272543 h 2531525"/>
                <a:gd name="connsiteX31" fmla="*/ 1108065 w 2495698"/>
                <a:gd name="connsiteY31" fmla="*/ 2531525 h 2531525"/>
                <a:gd name="connsiteX32" fmla="*/ 739291 w 2495698"/>
                <a:gd name="connsiteY32" fmla="*/ 2432713 h 2531525"/>
                <a:gd name="connsiteX33" fmla="*/ 744274 w 2495698"/>
                <a:gd name="connsiteY33" fmla="*/ 2136543 h 2531525"/>
                <a:gd name="connsiteX34" fmla="*/ 535891 w 2495698"/>
                <a:gd name="connsiteY34" fmla="*/ 1973098 h 2531525"/>
                <a:gd name="connsiteX35" fmla="*/ 540671 w 2495698"/>
                <a:gd name="connsiteY35" fmla="*/ 1983347 h 2531525"/>
                <a:gd name="connsiteX36" fmla="*/ 232276 w 2495698"/>
                <a:gd name="connsiteY36" fmla="*/ 2043090 h 2531525"/>
                <a:gd name="connsiteX37" fmla="*/ 70927 w 2495698"/>
                <a:gd name="connsiteY37" fmla="*/ 1697078 h 2531525"/>
                <a:gd name="connsiteX38" fmla="*/ 279495 w 2495698"/>
                <a:gd name="connsiteY38" fmla="*/ 1527966 h 2531525"/>
                <a:gd name="connsiteX39" fmla="*/ 245586 w 2495698"/>
                <a:gd name="connsiteY39" fmla="*/ 1274796 h 2531525"/>
                <a:gd name="connsiteX40" fmla="*/ 0 w 2495698"/>
                <a:gd name="connsiteY40" fmla="*/ 1138462 h 2531525"/>
                <a:gd name="connsiteX41" fmla="*/ 98812 w 2495698"/>
                <a:gd name="connsiteY41" fmla="*/ 769689 h 2531525"/>
                <a:gd name="connsiteX42" fmla="*/ 380240 w 2495698"/>
                <a:gd name="connsiteY42" fmla="*/ 774423 h 2531525"/>
                <a:gd name="connsiteX43" fmla="*/ 516679 w 2495698"/>
                <a:gd name="connsiteY43" fmla="*/ 590627 h 2531525"/>
                <a:gd name="connsiteX44" fmla="*/ 422419 w 2495698"/>
                <a:gd name="connsiteY44" fmla="*/ 299900 h 2531525"/>
                <a:gd name="connsiteX45" fmla="*/ 746189 w 2495698"/>
                <a:gd name="connsiteY45" fmla="*/ 97585 h 2531525"/>
                <a:gd name="connsiteX46" fmla="*/ 972292 w 2495698"/>
                <a:gd name="connsiteY46" fmla="*/ 315656 h 2531525"/>
                <a:gd name="connsiteX47" fmla="*/ 970019 w 2495698"/>
                <a:gd name="connsiteY47" fmla="*/ 317076 h 2531525"/>
                <a:gd name="connsiteX48" fmla="*/ 1248316 w 2495698"/>
                <a:gd name="connsiteY48" fmla="*/ 277231 h 2531525"/>
                <a:gd name="connsiteX49" fmla="*/ 1238669 w 2495698"/>
                <a:gd name="connsiteY49" fmla="*/ 274647 h 2531525"/>
                <a:gd name="connsiteX50" fmla="*/ 1391137 w 2495698"/>
                <a:gd name="connsiteY50" fmla="*/ 0 h 2531525"/>
                <a:gd name="connsiteX51" fmla="*/ 1759910 w 2495698"/>
                <a:gd name="connsiteY51" fmla="*/ 98812 h 2531525"/>
                <a:gd name="connsiteX0" fmla="*/ 1365628 w 2495698"/>
                <a:gd name="connsiteY0" fmla="*/ 832740 h 2531525"/>
                <a:gd name="connsiteX1" fmla="*/ 804861 w 2495698"/>
                <a:gd name="connsiteY1" fmla="*/ 1156499 h 2531525"/>
                <a:gd name="connsiteX2" fmla="*/ 1128620 w 2495698"/>
                <a:gd name="connsiteY2" fmla="*/ 1717266 h 2531525"/>
                <a:gd name="connsiteX3" fmla="*/ 1689387 w 2495698"/>
                <a:gd name="connsiteY3" fmla="*/ 1393507 h 2531525"/>
                <a:gd name="connsiteX4" fmla="*/ 1365628 w 2495698"/>
                <a:gd name="connsiteY4" fmla="*/ 832740 h 2531525"/>
                <a:gd name="connsiteX5" fmla="*/ 1447099 w 2495698"/>
                <a:gd name="connsiteY5" fmla="*/ 528685 h 2531525"/>
                <a:gd name="connsiteX6" fmla="*/ 1993442 w 2495698"/>
                <a:gd name="connsiteY6" fmla="*/ 1474978 h 2531525"/>
                <a:gd name="connsiteX7" fmla="*/ 1047149 w 2495698"/>
                <a:gd name="connsiteY7" fmla="*/ 2021321 h 2531525"/>
                <a:gd name="connsiteX8" fmla="*/ 500806 w 2495698"/>
                <a:gd name="connsiteY8" fmla="*/ 1075027 h 2531525"/>
                <a:gd name="connsiteX9" fmla="*/ 1447099 w 2495698"/>
                <a:gd name="connsiteY9" fmla="*/ 528685 h 2531525"/>
                <a:gd name="connsiteX10" fmla="*/ 1476725 w 2495698"/>
                <a:gd name="connsiteY10" fmla="*/ 418119 h 2531525"/>
                <a:gd name="connsiteX11" fmla="*/ 390240 w 2495698"/>
                <a:gd name="connsiteY11" fmla="*/ 1045401 h 2531525"/>
                <a:gd name="connsiteX12" fmla="*/ 1017523 w 2495698"/>
                <a:gd name="connsiteY12" fmla="*/ 2131887 h 2531525"/>
                <a:gd name="connsiteX13" fmla="*/ 2104008 w 2495698"/>
                <a:gd name="connsiteY13" fmla="*/ 1504604 h 2531525"/>
                <a:gd name="connsiteX14" fmla="*/ 1476725 w 2495698"/>
                <a:gd name="connsiteY14" fmla="*/ 418119 h 2531525"/>
                <a:gd name="connsiteX15" fmla="*/ 1759910 w 2495698"/>
                <a:gd name="connsiteY15" fmla="*/ 98812 h 2531525"/>
                <a:gd name="connsiteX16" fmla="*/ 1754625 w 2495698"/>
                <a:gd name="connsiteY16" fmla="*/ 412897 h 2531525"/>
                <a:gd name="connsiteX17" fmla="*/ 1744979 w 2495698"/>
                <a:gd name="connsiteY17" fmla="*/ 410312 h 2531525"/>
                <a:gd name="connsiteX18" fmla="*/ 1954704 w 2495698"/>
                <a:gd name="connsiteY18" fmla="*/ 573108 h 2531525"/>
                <a:gd name="connsiteX19" fmla="*/ 2234317 w 2495698"/>
                <a:gd name="connsiteY19" fmla="*/ 503581 h 2531525"/>
                <a:gd name="connsiteX20" fmla="*/ 2413554 w 2495698"/>
                <a:gd name="connsiteY20" fmla="*/ 840674 h 2531525"/>
                <a:gd name="connsiteX21" fmla="*/ 2214321 w 2495698"/>
                <a:gd name="connsiteY21" fmla="*/ 1020292 h 2531525"/>
                <a:gd name="connsiteX22" fmla="*/ 2246841 w 2495698"/>
                <a:gd name="connsiteY22" fmla="*/ 1303347 h 2531525"/>
                <a:gd name="connsiteX23" fmla="*/ 2495698 w 2495698"/>
                <a:gd name="connsiteY23" fmla="*/ 1441496 h 2531525"/>
                <a:gd name="connsiteX24" fmla="*/ 2396885 w 2495698"/>
                <a:gd name="connsiteY24" fmla="*/ 1810269 h 2531525"/>
                <a:gd name="connsiteX25" fmla="*/ 2094912 w 2495698"/>
                <a:gd name="connsiteY25" fmla="*/ 1805190 h 2531525"/>
                <a:gd name="connsiteX26" fmla="*/ 1958644 w 2495698"/>
                <a:gd name="connsiteY26" fmla="*/ 1977881 h 2531525"/>
                <a:gd name="connsiteX27" fmla="*/ 2057814 w 2495698"/>
                <a:gd name="connsiteY27" fmla="*/ 2236715 h 2531525"/>
                <a:gd name="connsiteX28" fmla="*/ 1745078 w 2495698"/>
                <a:gd name="connsiteY28" fmla="*/ 2455696 h 2531525"/>
                <a:gd name="connsiteX29" fmla="*/ 1507869 w 2495698"/>
                <a:gd name="connsiteY29" fmla="*/ 2249759 h 2531525"/>
                <a:gd name="connsiteX30" fmla="*/ 1251837 w 2495698"/>
                <a:gd name="connsiteY30" fmla="*/ 2272543 h 2531525"/>
                <a:gd name="connsiteX31" fmla="*/ 1108065 w 2495698"/>
                <a:gd name="connsiteY31" fmla="*/ 2531525 h 2531525"/>
                <a:gd name="connsiteX32" fmla="*/ 739291 w 2495698"/>
                <a:gd name="connsiteY32" fmla="*/ 2432713 h 2531525"/>
                <a:gd name="connsiteX33" fmla="*/ 744274 w 2495698"/>
                <a:gd name="connsiteY33" fmla="*/ 2136543 h 2531525"/>
                <a:gd name="connsiteX34" fmla="*/ 535891 w 2495698"/>
                <a:gd name="connsiteY34" fmla="*/ 1973098 h 2531525"/>
                <a:gd name="connsiteX35" fmla="*/ 540671 w 2495698"/>
                <a:gd name="connsiteY35" fmla="*/ 1983347 h 2531525"/>
                <a:gd name="connsiteX36" fmla="*/ 232276 w 2495698"/>
                <a:gd name="connsiteY36" fmla="*/ 2043090 h 2531525"/>
                <a:gd name="connsiteX37" fmla="*/ 70927 w 2495698"/>
                <a:gd name="connsiteY37" fmla="*/ 1697078 h 2531525"/>
                <a:gd name="connsiteX38" fmla="*/ 279495 w 2495698"/>
                <a:gd name="connsiteY38" fmla="*/ 1527966 h 2531525"/>
                <a:gd name="connsiteX39" fmla="*/ 245586 w 2495698"/>
                <a:gd name="connsiteY39" fmla="*/ 1274796 h 2531525"/>
                <a:gd name="connsiteX40" fmla="*/ 0 w 2495698"/>
                <a:gd name="connsiteY40" fmla="*/ 1138462 h 2531525"/>
                <a:gd name="connsiteX41" fmla="*/ 98812 w 2495698"/>
                <a:gd name="connsiteY41" fmla="*/ 769689 h 2531525"/>
                <a:gd name="connsiteX42" fmla="*/ 380240 w 2495698"/>
                <a:gd name="connsiteY42" fmla="*/ 774423 h 2531525"/>
                <a:gd name="connsiteX43" fmla="*/ 516679 w 2495698"/>
                <a:gd name="connsiteY43" fmla="*/ 590627 h 2531525"/>
                <a:gd name="connsiteX44" fmla="*/ 422419 w 2495698"/>
                <a:gd name="connsiteY44" fmla="*/ 299900 h 2531525"/>
                <a:gd name="connsiteX45" fmla="*/ 746189 w 2495698"/>
                <a:gd name="connsiteY45" fmla="*/ 97585 h 2531525"/>
                <a:gd name="connsiteX46" fmla="*/ 972292 w 2495698"/>
                <a:gd name="connsiteY46" fmla="*/ 315656 h 2531525"/>
                <a:gd name="connsiteX47" fmla="*/ 970019 w 2495698"/>
                <a:gd name="connsiteY47" fmla="*/ 317076 h 2531525"/>
                <a:gd name="connsiteX48" fmla="*/ 1248316 w 2495698"/>
                <a:gd name="connsiteY48" fmla="*/ 277231 h 2531525"/>
                <a:gd name="connsiteX49" fmla="*/ 1391137 w 2495698"/>
                <a:gd name="connsiteY49" fmla="*/ 0 h 2531525"/>
                <a:gd name="connsiteX50" fmla="*/ 1759910 w 2495698"/>
                <a:gd name="connsiteY50" fmla="*/ 98812 h 2531525"/>
                <a:gd name="connsiteX0" fmla="*/ 1365628 w 2495698"/>
                <a:gd name="connsiteY0" fmla="*/ 832740 h 2531525"/>
                <a:gd name="connsiteX1" fmla="*/ 804861 w 2495698"/>
                <a:gd name="connsiteY1" fmla="*/ 1156499 h 2531525"/>
                <a:gd name="connsiteX2" fmla="*/ 1128620 w 2495698"/>
                <a:gd name="connsiteY2" fmla="*/ 1717266 h 2531525"/>
                <a:gd name="connsiteX3" fmla="*/ 1689387 w 2495698"/>
                <a:gd name="connsiteY3" fmla="*/ 1393507 h 2531525"/>
                <a:gd name="connsiteX4" fmla="*/ 1365628 w 2495698"/>
                <a:gd name="connsiteY4" fmla="*/ 832740 h 2531525"/>
                <a:gd name="connsiteX5" fmla="*/ 1447099 w 2495698"/>
                <a:gd name="connsiteY5" fmla="*/ 528685 h 2531525"/>
                <a:gd name="connsiteX6" fmla="*/ 1993442 w 2495698"/>
                <a:gd name="connsiteY6" fmla="*/ 1474978 h 2531525"/>
                <a:gd name="connsiteX7" fmla="*/ 1047149 w 2495698"/>
                <a:gd name="connsiteY7" fmla="*/ 2021321 h 2531525"/>
                <a:gd name="connsiteX8" fmla="*/ 500806 w 2495698"/>
                <a:gd name="connsiteY8" fmla="*/ 1075027 h 2531525"/>
                <a:gd name="connsiteX9" fmla="*/ 1447099 w 2495698"/>
                <a:gd name="connsiteY9" fmla="*/ 528685 h 2531525"/>
                <a:gd name="connsiteX10" fmla="*/ 1476725 w 2495698"/>
                <a:gd name="connsiteY10" fmla="*/ 418119 h 2531525"/>
                <a:gd name="connsiteX11" fmla="*/ 390240 w 2495698"/>
                <a:gd name="connsiteY11" fmla="*/ 1045401 h 2531525"/>
                <a:gd name="connsiteX12" fmla="*/ 1017523 w 2495698"/>
                <a:gd name="connsiteY12" fmla="*/ 2131887 h 2531525"/>
                <a:gd name="connsiteX13" fmla="*/ 2104008 w 2495698"/>
                <a:gd name="connsiteY13" fmla="*/ 1504604 h 2531525"/>
                <a:gd name="connsiteX14" fmla="*/ 1476725 w 2495698"/>
                <a:gd name="connsiteY14" fmla="*/ 418119 h 2531525"/>
                <a:gd name="connsiteX15" fmla="*/ 1759910 w 2495698"/>
                <a:gd name="connsiteY15" fmla="*/ 98812 h 2531525"/>
                <a:gd name="connsiteX16" fmla="*/ 1754625 w 2495698"/>
                <a:gd name="connsiteY16" fmla="*/ 412897 h 2531525"/>
                <a:gd name="connsiteX17" fmla="*/ 1744979 w 2495698"/>
                <a:gd name="connsiteY17" fmla="*/ 410312 h 2531525"/>
                <a:gd name="connsiteX18" fmla="*/ 1954704 w 2495698"/>
                <a:gd name="connsiteY18" fmla="*/ 573108 h 2531525"/>
                <a:gd name="connsiteX19" fmla="*/ 2234317 w 2495698"/>
                <a:gd name="connsiteY19" fmla="*/ 503581 h 2531525"/>
                <a:gd name="connsiteX20" fmla="*/ 2413554 w 2495698"/>
                <a:gd name="connsiteY20" fmla="*/ 840674 h 2531525"/>
                <a:gd name="connsiteX21" fmla="*/ 2214321 w 2495698"/>
                <a:gd name="connsiteY21" fmla="*/ 1020292 h 2531525"/>
                <a:gd name="connsiteX22" fmla="*/ 2246841 w 2495698"/>
                <a:gd name="connsiteY22" fmla="*/ 1303347 h 2531525"/>
                <a:gd name="connsiteX23" fmla="*/ 2495698 w 2495698"/>
                <a:gd name="connsiteY23" fmla="*/ 1441496 h 2531525"/>
                <a:gd name="connsiteX24" fmla="*/ 2396885 w 2495698"/>
                <a:gd name="connsiteY24" fmla="*/ 1810269 h 2531525"/>
                <a:gd name="connsiteX25" fmla="*/ 2094912 w 2495698"/>
                <a:gd name="connsiteY25" fmla="*/ 1805190 h 2531525"/>
                <a:gd name="connsiteX26" fmla="*/ 1958644 w 2495698"/>
                <a:gd name="connsiteY26" fmla="*/ 1977881 h 2531525"/>
                <a:gd name="connsiteX27" fmla="*/ 2057814 w 2495698"/>
                <a:gd name="connsiteY27" fmla="*/ 2236715 h 2531525"/>
                <a:gd name="connsiteX28" fmla="*/ 1745078 w 2495698"/>
                <a:gd name="connsiteY28" fmla="*/ 2455696 h 2531525"/>
                <a:gd name="connsiteX29" fmla="*/ 1507869 w 2495698"/>
                <a:gd name="connsiteY29" fmla="*/ 2249759 h 2531525"/>
                <a:gd name="connsiteX30" fmla="*/ 1251837 w 2495698"/>
                <a:gd name="connsiteY30" fmla="*/ 2272543 h 2531525"/>
                <a:gd name="connsiteX31" fmla="*/ 1108065 w 2495698"/>
                <a:gd name="connsiteY31" fmla="*/ 2531525 h 2531525"/>
                <a:gd name="connsiteX32" fmla="*/ 739291 w 2495698"/>
                <a:gd name="connsiteY32" fmla="*/ 2432713 h 2531525"/>
                <a:gd name="connsiteX33" fmla="*/ 744274 w 2495698"/>
                <a:gd name="connsiteY33" fmla="*/ 2136543 h 2531525"/>
                <a:gd name="connsiteX34" fmla="*/ 535891 w 2495698"/>
                <a:gd name="connsiteY34" fmla="*/ 1973098 h 2531525"/>
                <a:gd name="connsiteX35" fmla="*/ 540671 w 2495698"/>
                <a:gd name="connsiteY35" fmla="*/ 1983347 h 2531525"/>
                <a:gd name="connsiteX36" fmla="*/ 232276 w 2495698"/>
                <a:gd name="connsiteY36" fmla="*/ 2043090 h 2531525"/>
                <a:gd name="connsiteX37" fmla="*/ 70927 w 2495698"/>
                <a:gd name="connsiteY37" fmla="*/ 1697078 h 2531525"/>
                <a:gd name="connsiteX38" fmla="*/ 279495 w 2495698"/>
                <a:gd name="connsiteY38" fmla="*/ 1527966 h 2531525"/>
                <a:gd name="connsiteX39" fmla="*/ 245586 w 2495698"/>
                <a:gd name="connsiteY39" fmla="*/ 1274796 h 2531525"/>
                <a:gd name="connsiteX40" fmla="*/ 0 w 2495698"/>
                <a:gd name="connsiteY40" fmla="*/ 1138462 h 2531525"/>
                <a:gd name="connsiteX41" fmla="*/ 98812 w 2495698"/>
                <a:gd name="connsiteY41" fmla="*/ 769689 h 2531525"/>
                <a:gd name="connsiteX42" fmla="*/ 380240 w 2495698"/>
                <a:gd name="connsiteY42" fmla="*/ 774423 h 2531525"/>
                <a:gd name="connsiteX43" fmla="*/ 516679 w 2495698"/>
                <a:gd name="connsiteY43" fmla="*/ 590627 h 2531525"/>
                <a:gd name="connsiteX44" fmla="*/ 422419 w 2495698"/>
                <a:gd name="connsiteY44" fmla="*/ 299900 h 2531525"/>
                <a:gd name="connsiteX45" fmla="*/ 746189 w 2495698"/>
                <a:gd name="connsiteY45" fmla="*/ 97585 h 2531525"/>
                <a:gd name="connsiteX46" fmla="*/ 972292 w 2495698"/>
                <a:gd name="connsiteY46" fmla="*/ 315656 h 2531525"/>
                <a:gd name="connsiteX47" fmla="*/ 970019 w 2495698"/>
                <a:gd name="connsiteY47" fmla="*/ 317076 h 2531525"/>
                <a:gd name="connsiteX48" fmla="*/ 1248316 w 2495698"/>
                <a:gd name="connsiteY48" fmla="*/ 277231 h 2531525"/>
                <a:gd name="connsiteX49" fmla="*/ 1391137 w 2495698"/>
                <a:gd name="connsiteY49" fmla="*/ 0 h 2531525"/>
                <a:gd name="connsiteX50" fmla="*/ 1759910 w 2495698"/>
                <a:gd name="connsiteY50" fmla="*/ 98812 h 2531525"/>
                <a:gd name="connsiteX0" fmla="*/ 1365628 w 2495698"/>
                <a:gd name="connsiteY0" fmla="*/ 832740 h 2531525"/>
                <a:gd name="connsiteX1" fmla="*/ 804861 w 2495698"/>
                <a:gd name="connsiteY1" fmla="*/ 1156499 h 2531525"/>
                <a:gd name="connsiteX2" fmla="*/ 1128620 w 2495698"/>
                <a:gd name="connsiteY2" fmla="*/ 1717266 h 2531525"/>
                <a:gd name="connsiteX3" fmla="*/ 1689387 w 2495698"/>
                <a:gd name="connsiteY3" fmla="*/ 1393507 h 2531525"/>
                <a:gd name="connsiteX4" fmla="*/ 1365628 w 2495698"/>
                <a:gd name="connsiteY4" fmla="*/ 832740 h 2531525"/>
                <a:gd name="connsiteX5" fmla="*/ 1447099 w 2495698"/>
                <a:gd name="connsiteY5" fmla="*/ 528685 h 2531525"/>
                <a:gd name="connsiteX6" fmla="*/ 1993442 w 2495698"/>
                <a:gd name="connsiteY6" fmla="*/ 1474978 h 2531525"/>
                <a:gd name="connsiteX7" fmla="*/ 1047149 w 2495698"/>
                <a:gd name="connsiteY7" fmla="*/ 2021321 h 2531525"/>
                <a:gd name="connsiteX8" fmla="*/ 500806 w 2495698"/>
                <a:gd name="connsiteY8" fmla="*/ 1075027 h 2531525"/>
                <a:gd name="connsiteX9" fmla="*/ 1447099 w 2495698"/>
                <a:gd name="connsiteY9" fmla="*/ 528685 h 2531525"/>
                <a:gd name="connsiteX10" fmla="*/ 1476725 w 2495698"/>
                <a:gd name="connsiteY10" fmla="*/ 418119 h 2531525"/>
                <a:gd name="connsiteX11" fmla="*/ 390240 w 2495698"/>
                <a:gd name="connsiteY11" fmla="*/ 1045401 h 2531525"/>
                <a:gd name="connsiteX12" fmla="*/ 1017523 w 2495698"/>
                <a:gd name="connsiteY12" fmla="*/ 2131887 h 2531525"/>
                <a:gd name="connsiteX13" fmla="*/ 2104008 w 2495698"/>
                <a:gd name="connsiteY13" fmla="*/ 1504604 h 2531525"/>
                <a:gd name="connsiteX14" fmla="*/ 1476725 w 2495698"/>
                <a:gd name="connsiteY14" fmla="*/ 418119 h 2531525"/>
                <a:gd name="connsiteX15" fmla="*/ 1759910 w 2495698"/>
                <a:gd name="connsiteY15" fmla="*/ 98812 h 2531525"/>
                <a:gd name="connsiteX16" fmla="*/ 1754625 w 2495698"/>
                <a:gd name="connsiteY16" fmla="*/ 412897 h 2531525"/>
                <a:gd name="connsiteX17" fmla="*/ 1744979 w 2495698"/>
                <a:gd name="connsiteY17" fmla="*/ 410312 h 2531525"/>
                <a:gd name="connsiteX18" fmla="*/ 1954704 w 2495698"/>
                <a:gd name="connsiteY18" fmla="*/ 573108 h 2531525"/>
                <a:gd name="connsiteX19" fmla="*/ 2234317 w 2495698"/>
                <a:gd name="connsiteY19" fmla="*/ 503581 h 2531525"/>
                <a:gd name="connsiteX20" fmla="*/ 2413554 w 2495698"/>
                <a:gd name="connsiteY20" fmla="*/ 840674 h 2531525"/>
                <a:gd name="connsiteX21" fmla="*/ 2214321 w 2495698"/>
                <a:gd name="connsiteY21" fmla="*/ 1020292 h 2531525"/>
                <a:gd name="connsiteX22" fmla="*/ 2246841 w 2495698"/>
                <a:gd name="connsiteY22" fmla="*/ 1303347 h 2531525"/>
                <a:gd name="connsiteX23" fmla="*/ 2495698 w 2495698"/>
                <a:gd name="connsiteY23" fmla="*/ 1441496 h 2531525"/>
                <a:gd name="connsiteX24" fmla="*/ 2396885 w 2495698"/>
                <a:gd name="connsiteY24" fmla="*/ 1810269 h 2531525"/>
                <a:gd name="connsiteX25" fmla="*/ 2094912 w 2495698"/>
                <a:gd name="connsiteY25" fmla="*/ 1805190 h 2531525"/>
                <a:gd name="connsiteX26" fmla="*/ 1958644 w 2495698"/>
                <a:gd name="connsiteY26" fmla="*/ 1977881 h 2531525"/>
                <a:gd name="connsiteX27" fmla="*/ 2057814 w 2495698"/>
                <a:gd name="connsiteY27" fmla="*/ 2236715 h 2531525"/>
                <a:gd name="connsiteX28" fmla="*/ 1745078 w 2495698"/>
                <a:gd name="connsiteY28" fmla="*/ 2455696 h 2531525"/>
                <a:gd name="connsiteX29" fmla="*/ 1507869 w 2495698"/>
                <a:gd name="connsiteY29" fmla="*/ 2249759 h 2531525"/>
                <a:gd name="connsiteX30" fmla="*/ 1251837 w 2495698"/>
                <a:gd name="connsiteY30" fmla="*/ 2272543 h 2531525"/>
                <a:gd name="connsiteX31" fmla="*/ 1108065 w 2495698"/>
                <a:gd name="connsiteY31" fmla="*/ 2531525 h 2531525"/>
                <a:gd name="connsiteX32" fmla="*/ 739291 w 2495698"/>
                <a:gd name="connsiteY32" fmla="*/ 2432713 h 2531525"/>
                <a:gd name="connsiteX33" fmla="*/ 744274 w 2495698"/>
                <a:gd name="connsiteY33" fmla="*/ 2136543 h 2531525"/>
                <a:gd name="connsiteX34" fmla="*/ 535891 w 2495698"/>
                <a:gd name="connsiteY34" fmla="*/ 1973098 h 2531525"/>
                <a:gd name="connsiteX35" fmla="*/ 540671 w 2495698"/>
                <a:gd name="connsiteY35" fmla="*/ 1983347 h 2531525"/>
                <a:gd name="connsiteX36" fmla="*/ 232276 w 2495698"/>
                <a:gd name="connsiteY36" fmla="*/ 2043090 h 2531525"/>
                <a:gd name="connsiteX37" fmla="*/ 70927 w 2495698"/>
                <a:gd name="connsiteY37" fmla="*/ 1697078 h 2531525"/>
                <a:gd name="connsiteX38" fmla="*/ 279495 w 2495698"/>
                <a:gd name="connsiteY38" fmla="*/ 1527966 h 2531525"/>
                <a:gd name="connsiteX39" fmla="*/ 245586 w 2495698"/>
                <a:gd name="connsiteY39" fmla="*/ 1274796 h 2531525"/>
                <a:gd name="connsiteX40" fmla="*/ 0 w 2495698"/>
                <a:gd name="connsiteY40" fmla="*/ 1138462 h 2531525"/>
                <a:gd name="connsiteX41" fmla="*/ 98812 w 2495698"/>
                <a:gd name="connsiteY41" fmla="*/ 769689 h 2531525"/>
                <a:gd name="connsiteX42" fmla="*/ 380240 w 2495698"/>
                <a:gd name="connsiteY42" fmla="*/ 774423 h 2531525"/>
                <a:gd name="connsiteX43" fmla="*/ 516679 w 2495698"/>
                <a:gd name="connsiteY43" fmla="*/ 590627 h 2531525"/>
                <a:gd name="connsiteX44" fmla="*/ 422419 w 2495698"/>
                <a:gd name="connsiteY44" fmla="*/ 299900 h 2531525"/>
                <a:gd name="connsiteX45" fmla="*/ 746189 w 2495698"/>
                <a:gd name="connsiteY45" fmla="*/ 97585 h 2531525"/>
                <a:gd name="connsiteX46" fmla="*/ 972292 w 2495698"/>
                <a:gd name="connsiteY46" fmla="*/ 315656 h 2531525"/>
                <a:gd name="connsiteX47" fmla="*/ 970019 w 2495698"/>
                <a:gd name="connsiteY47" fmla="*/ 317076 h 2531525"/>
                <a:gd name="connsiteX48" fmla="*/ 1248316 w 2495698"/>
                <a:gd name="connsiteY48" fmla="*/ 277231 h 2531525"/>
                <a:gd name="connsiteX49" fmla="*/ 1391137 w 2495698"/>
                <a:gd name="connsiteY49" fmla="*/ 0 h 2531525"/>
                <a:gd name="connsiteX50" fmla="*/ 1759910 w 2495698"/>
                <a:gd name="connsiteY50" fmla="*/ 98812 h 2531525"/>
                <a:gd name="connsiteX0" fmla="*/ 1365628 w 2495698"/>
                <a:gd name="connsiteY0" fmla="*/ 832740 h 2531525"/>
                <a:gd name="connsiteX1" fmla="*/ 804861 w 2495698"/>
                <a:gd name="connsiteY1" fmla="*/ 1156499 h 2531525"/>
                <a:gd name="connsiteX2" fmla="*/ 1128620 w 2495698"/>
                <a:gd name="connsiteY2" fmla="*/ 1717266 h 2531525"/>
                <a:gd name="connsiteX3" fmla="*/ 1689387 w 2495698"/>
                <a:gd name="connsiteY3" fmla="*/ 1393507 h 2531525"/>
                <a:gd name="connsiteX4" fmla="*/ 1365628 w 2495698"/>
                <a:gd name="connsiteY4" fmla="*/ 832740 h 2531525"/>
                <a:gd name="connsiteX5" fmla="*/ 1447099 w 2495698"/>
                <a:gd name="connsiteY5" fmla="*/ 528685 h 2531525"/>
                <a:gd name="connsiteX6" fmla="*/ 1993442 w 2495698"/>
                <a:gd name="connsiteY6" fmla="*/ 1474978 h 2531525"/>
                <a:gd name="connsiteX7" fmla="*/ 1047149 w 2495698"/>
                <a:gd name="connsiteY7" fmla="*/ 2021321 h 2531525"/>
                <a:gd name="connsiteX8" fmla="*/ 500806 w 2495698"/>
                <a:gd name="connsiteY8" fmla="*/ 1075027 h 2531525"/>
                <a:gd name="connsiteX9" fmla="*/ 1447099 w 2495698"/>
                <a:gd name="connsiteY9" fmla="*/ 528685 h 2531525"/>
                <a:gd name="connsiteX10" fmla="*/ 1476725 w 2495698"/>
                <a:gd name="connsiteY10" fmla="*/ 418119 h 2531525"/>
                <a:gd name="connsiteX11" fmla="*/ 390240 w 2495698"/>
                <a:gd name="connsiteY11" fmla="*/ 1045401 h 2531525"/>
                <a:gd name="connsiteX12" fmla="*/ 1017523 w 2495698"/>
                <a:gd name="connsiteY12" fmla="*/ 2131887 h 2531525"/>
                <a:gd name="connsiteX13" fmla="*/ 2104008 w 2495698"/>
                <a:gd name="connsiteY13" fmla="*/ 1504604 h 2531525"/>
                <a:gd name="connsiteX14" fmla="*/ 1476725 w 2495698"/>
                <a:gd name="connsiteY14" fmla="*/ 418119 h 2531525"/>
                <a:gd name="connsiteX15" fmla="*/ 1759910 w 2495698"/>
                <a:gd name="connsiteY15" fmla="*/ 98812 h 2531525"/>
                <a:gd name="connsiteX16" fmla="*/ 1754625 w 2495698"/>
                <a:gd name="connsiteY16" fmla="*/ 412897 h 2531525"/>
                <a:gd name="connsiteX17" fmla="*/ 1744979 w 2495698"/>
                <a:gd name="connsiteY17" fmla="*/ 410312 h 2531525"/>
                <a:gd name="connsiteX18" fmla="*/ 1954704 w 2495698"/>
                <a:gd name="connsiteY18" fmla="*/ 573108 h 2531525"/>
                <a:gd name="connsiteX19" fmla="*/ 2234317 w 2495698"/>
                <a:gd name="connsiteY19" fmla="*/ 503581 h 2531525"/>
                <a:gd name="connsiteX20" fmla="*/ 2413554 w 2495698"/>
                <a:gd name="connsiteY20" fmla="*/ 840674 h 2531525"/>
                <a:gd name="connsiteX21" fmla="*/ 2214321 w 2495698"/>
                <a:gd name="connsiteY21" fmla="*/ 1020292 h 2531525"/>
                <a:gd name="connsiteX22" fmla="*/ 2246841 w 2495698"/>
                <a:gd name="connsiteY22" fmla="*/ 1303347 h 2531525"/>
                <a:gd name="connsiteX23" fmla="*/ 2495698 w 2495698"/>
                <a:gd name="connsiteY23" fmla="*/ 1441496 h 2531525"/>
                <a:gd name="connsiteX24" fmla="*/ 2396885 w 2495698"/>
                <a:gd name="connsiteY24" fmla="*/ 1810269 h 2531525"/>
                <a:gd name="connsiteX25" fmla="*/ 2094912 w 2495698"/>
                <a:gd name="connsiteY25" fmla="*/ 1805190 h 2531525"/>
                <a:gd name="connsiteX26" fmla="*/ 1958644 w 2495698"/>
                <a:gd name="connsiteY26" fmla="*/ 1977881 h 2531525"/>
                <a:gd name="connsiteX27" fmla="*/ 2057814 w 2495698"/>
                <a:gd name="connsiteY27" fmla="*/ 2236715 h 2531525"/>
                <a:gd name="connsiteX28" fmla="*/ 1745078 w 2495698"/>
                <a:gd name="connsiteY28" fmla="*/ 2455696 h 2531525"/>
                <a:gd name="connsiteX29" fmla="*/ 1507869 w 2495698"/>
                <a:gd name="connsiteY29" fmla="*/ 2249759 h 2531525"/>
                <a:gd name="connsiteX30" fmla="*/ 1251837 w 2495698"/>
                <a:gd name="connsiteY30" fmla="*/ 2272543 h 2531525"/>
                <a:gd name="connsiteX31" fmla="*/ 1108065 w 2495698"/>
                <a:gd name="connsiteY31" fmla="*/ 2531525 h 2531525"/>
                <a:gd name="connsiteX32" fmla="*/ 739291 w 2495698"/>
                <a:gd name="connsiteY32" fmla="*/ 2432713 h 2531525"/>
                <a:gd name="connsiteX33" fmla="*/ 744274 w 2495698"/>
                <a:gd name="connsiteY33" fmla="*/ 2136543 h 2531525"/>
                <a:gd name="connsiteX34" fmla="*/ 535891 w 2495698"/>
                <a:gd name="connsiteY34" fmla="*/ 1973098 h 2531525"/>
                <a:gd name="connsiteX35" fmla="*/ 540671 w 2495698"/>
                <a:gd name="connsiteY35" fmla="*/ 1983347 h 2531525"/>
                <a:gd name="connsiteX36" fmla="*/ 232276 w 2495698"/>
                <a:gd name="connsiteY36" fmla="*/ 2043090 h 2531525"/>
                <a:gd name="connsiteX37" fmla="*/ 70927 w 2495698"/>
                <a:gd name="connsiteY37" fmla="*/ 1697078 h 2531525"/>
                <a:gd name="connsiteX38" fmla="*/ 279495 w 2495698"/>
                <a:gd name="connsiteY38" fmla="*/ 1527966 h 2531525"/>
                <a:gd name="connsiteX39" fmla="*/ 245586 w 2495698"/>
                <a:gd name="connsiteY39" fmla="*/ 1274796 h 2531525"/>
                <a:gd name="connsiteX40" fmla="*/ 0 w 2495698"/>
                <a:gd name="connsiteY40" fmla="*/ 1138462 h 2531525"/>
                <a:gd name="connsiteX41" fmla="*/ 98812 w 2495698"/>
                <a:gd name="connsiteY41" fmla="*/ 769689 h 2531525"/>
                <a:gd name="connsiteX42" fmla="*/ 380240 w 2495698"/>
                <a:gd name="connsiteY42" fmla="*/ 774423 h 2531525"/>
                <a:gd name="connsiteX43" fmla="*/ 516679 w 2495698"/>
                <a:gd name="connsiteY43" fmla="*/ 590627 h 2531525"/>
                <a:gd name="connsiteX44" fmla="*/ 422419 w 2495698"/>
                <a:gd name="connsiteY44" fmla="*/ 299900 h 2531525"/>
                <a:gd name="connsiteX45" fmla="*/ 746189 w 2495698"/>
                <a:gd name="connsiteY45" fmla="*/ 97585 h 2531525"/>
                <a:gd name="connsiteX46" fmla="*/ 972292 w 2495698"/>
                <a:gd name="connsiteY46" fmla="*/ 315656 h 2531525"/>
                <a:gd name="connsiteX47" fmla="*/ 970019 w 2495698"/>
                <a:gd name="connsiteY47" fmla="*/ 317076 h 2531525"/>
                <a:gd name="connsiteX48" fmla="*/ 1248316 w 2495698"/>
                <a:gd name="connsiteY48" fmla="*/ 277231 h 2531525"/>
                <a:gd name="connsiteX49" fmla="*/ 1391137 w 2495698"/>
                <a:gd name="connsiteY49" fmla="*/ 0 h 2531525"/>
                <a:gd name="connsiteX50" fmla="*/ 1759910 w 2495698"/>
                <a:gd name="connsiteY50" fmla="*/ 98812 h 2531525"/>
                <a:gd name="connsiteX0" fmla="*/ 1365628 w 2495698"/>
                <a:gd name="connsiteY0" fmla="*/ 832740 h 2531525"/>
                <a:gd name="connsiteX1" fmla="*/ 804861 w 2495698"/>
                <a:gd name="connsiteY1" fmla="*/ 1156499 h 2531525"/>
                <a:gd name="connsiteX2" fmla="*/ 1128620 w 2495698"/>
                <a:gd name="connsiteY2" fmla="*/ 1717266 h 2531525"/>
                <a:gd name="connsiteX3" fmla="*/ 1689387 w 2495698"/>
                <a:gd name="connsiteY3" fmla="*/ 1393507 h 2531525"/>
                <a:gd name="connsiteX4" fmla="*/ 1365628 w 2495698"/>
                <a:gd name="connsiteY4" fmla="*/ 832740 h 2531525"/>
                <a:gd name="connsiteX5" fmla="*/ 1447099 w 2495698"/>
                <a:gd name="connsiteY5" fmla="*/ 528685 h 2531525"/>
                <a:gd name="connsiteX6" fmla="*/ 1993442 w 2495698"/>
                <a:gd name="connsiteY6" fmla="*/ 1474978 h 2531525"/>
                <a:gd name="connsiteX7" fmla="*/ 1047149 w 2495698"/>
                <a:gd name="connsiteY7" fmla="*/ 2021321 h 2531525"/>
                <a:gd name="connsiteX8" fmla="*/ 500806 w 2495698"/>
                <a:gd name="connsiteY8" fmla="*/ 1075027 h 2531525"/>
                <a:gd name="connsiteX9" fmla="*/ 1447099 w 2495698"/>
                <a:gd name="connsiteY9" fmla="*/ 528685 h 2531525"/>
                <a:gd name="connsiteX10" fmla="*/ 1476725 w 2495698"/>
                <a:gd name="connsiteY10" fmla="*/ 418119 h 2531525"/>
                <a:gd name="connsiteX11" fmla="*/ 390240 w 2495698"/>
                <a:gd name="connsiteY11" fmla="*/ 1045401 h 2531525"/>
                <a:gd name="connsiteX12" fmla="*/ 1017523 w 2495698"/>
                <a:gd name="connsiteY12" fmla="*/ 2131887 h 2531525"/>
                <a:gd name="connsiteX13" fmla="*/ 2104008 w 2495698"/>
                <a:gd name="connsiteY13" fmla="*/ 1504604 h 2531525"/>
                <a:gd name="connsiteX14" fmla="*/ 1476725 w 2495698"/>
                <a:gd name="connsiteY14" fmla="*/ 418119 h 2531525"/>
                <a:gd name="connsiteX15" fmla="*/ 1759910 w 2495698"/>
                <a:gd name="connsiteY15" fmla="*/ 98812 h 2531525"/>
                <a:gd name="connsiteX16" fmla="*/ 1754625 w 2495698"/>
                <a:gd name="connsiteY16" fmla="*/ 412897 h 2531525"/>
                <a:gd name="connsiteX17" fmla="*/ 1744979 w 2495698"/>
                <a:gd name="connsiteY17" fmla="*/ 410312 h 2531525"/>
                <a:gd name="connsiteX18" fmla="*/ 1954704 w 2495698"/>
                <a:gd name="connsiteY18" fmla="*/ 573108 h 2531525"/>
                <a:gd name="connsiteX19" fmla="*/ 2234317 w 2495698"/>
                <a:gd name="connsiteY19" fmla="*/ 503581 h 2531525"/>
                <a:gd name="connsiteX20" fmla="*/ 2413554 w 2495698"/>
                <a:gd name="connsiteY20" fmla="*/ 840674 h 2531525"/>
                <a:gd name="connsiteX21" fmla="*/ 2214321 w 2495698"/>
                <a:gd name="connsiteY21" fmla="*/ 1020292 h 2531525"/>
                <a:gd name="connsiteX22" fmla="*/ 2246841 w 2495698"/>
                <a:gd name="connsiteY22" fmla="*/ 1303347 h 2531525"/>
                <a:gd name="connsiteX23" fmla="*/ 2495698 w 2495698"/>
                <a:gd name="connsiteY23" fmla="*/ 1441496 h 2531525"/>
                <a:gd name="connsiteX24" fmla="*/ 2396885 w 2495698"/>
                <a:gd name="connsiteY24" fmla="*/ 1810269 h 2531525"/>
                <a:gd name="connsiteX25" fmla="*/ 2094912 w 2495698"/>
                <a:gd name="connsiteY25" fmla="*/ 1805190 h 2531525"/>
                <a:gd name="connsiteX26" fmla="*/ 1958644 w 2495698"/>
                <a:gd name="connsiteY26" fmla="*/ 1977881 h 2531525"/>
                <a:gd name="connsiteX27" fmla="*/ 2057814 w 2495698"/>
                <a:gd name="connsiteY27" fmla="*/ 2236715 h 2531525"/>
                <a:gd name="connsiteX28" fmla="*/ 1745078 w 2495698"/>
                <a:gd name="connsiteY28" fmla="*/ 2455696 h 2531525"/>
                <a:gd name="connsiteX29" fmla="*/ 1507869 w 2495698"/>
                <a:gd name="connsiteY29" fmla="*/ 2249759 h 2531525"/>
                <a:gd name="connsiteX30" fmla="*/ 1251837 w 2495698"/>
                <a:gd name="connsiteY30" fmla="*/ 2272543 h 2531525"/>
                <a:gd name="connsiteX31" fmla="*/ 1108065 w 2495698"/>
                <a:gd name="connsiteY31" fmla="*/ 2531525 h 2531525"/>
                <a:gd name="connsiteX32" fmla="*/ 739291 w 2495698"/>
                <a:gd name="connsiteY32" fmla="*/ 2432713 h 2531525"/>
                <a:gd name="connsiteX33" fmla="*/ 744274 w 2495698"/>
                <a:gd name="connsiteY33" fmla="*/ 2136543 h 2531525"/>
                <a:gd name="connsiteX34" fmla="*/ 535891 w 2495698"/>
                <a:gd name="connsiteY34" fmla="*/ 1973098 h 2531525"/>
                <a:gd name="connsiteX35" fmla="*/ 540671 w 2495698"/>
                <a:gd name="connsiteY35" fmla="*/ 1983347 h 2531525"/>
                <a:gd name="connsiteX36" fmla="*/ 232276 w 2495698"/>
                <a:gd name="connsiteY36" fmla="*/ 2043090 h 2531525"/>
                <a:gd name="connsiteX37" fmla="*/ 70927 w 2495698"/>
                <a:gd name="connsiteY37" fmla="*/ 1697078 h 2531525"/>
                <a:gd name="connsiteX38" fmla="*/ 279495 w 2495698"/>
                <a:gd name="connsiteY38" fmla="*/ 1527966 h 2531525"/>
                <a:gd name="connsiteX39" fmla="*/ 245586 w 2495698"/>
                <a:gd name="connsiteY39" fmla="*/ 1274796 h 2531525"/>
                <a:gd name="connsiteX40" fmla="*/ 0 w 2495698"/>
                <a:gd name="connsiteY40" fmla="*/ 1138462 h 2531525"/>
                <a:gd name="connsiteX41" fmla="*/ 98812 w 2495698"/>
                <a:gd name="connsiteY41" fmla="*/ 769689 h 2531525"/>
                <a:gd name="connsiteX42" fmla="*/ 380240 w 2495698"/>
                <a:gd name="connsiteY42" fmla="*/ 774423 h 2531525"/>
                <a:gd name="connsiteX43" fmla="*/ 516679 w 2495698"/>
                <a:gd name="connsiteY43" fmla="*/ 590627 h 2531525"/>
                <a:gd name="connsiteX44" fmla="*/ 422419 w 2495698"/>
                <a:gd name="connsiteY44" fmla="*/ 299900 h 2531525"/>
                <a:gd name="connsiteX45" fmla="*/ 746189 w 2495698"/>
                <a:gd name="connsiteY45" fmla="*/ 97585 h 2531525"/>
                <a:gd name="connsiteX46" fmla="*/ 972292 w 2495698"/>
                <a:gd name="connsiteY46" fmla="*/ 315656 h 2531525"/>
                <a:gd name="connsiteX47" fmla="*/ 970019 w 2495698"/>
                <a:gd name="connsiteY47" fmla="*/ 317076 h 2531525"/>
                <a:gd name="connsiteX48" fmla="*/ 1248316 w 2495698"/>
                <a:gd name="connsiteY48" fmla="*/ 277231 h 2531525"/>
                <a:gd name="connsiteX49" fmla="*/ 1391137 w 2495698"/>
                <a:gd name="connsiteY49" fmla="*/ 0 h 2531525"/>
                <a:gd name="connsiteX50" fmla="*/ 1759910 w 2495698"/>
                <a:gd name="connsiteY50" fmla="*/ 98812 h 2531525"/>
                <a:gd name="connsiteX0" fmla="*/ 1365628 w 2495698"/>
                <a:gd name="connsiteY0" fmla="*/ 832740 h 2531525"/>
                <a:gd name="connsiteX1" fmla="*/ 804861 w 2495698"/>
                <a:gd name="connsiteY1" fmla="*/ 1156499 h 2531525"/>
                <a:gd name="connsiteX2" fmla="*/ 1128620 w 2495698"/>
                <a:gd name="connsiteY2" fmla="*/ 1717266 h 2531525"/>
                <a:gd name="connsiteX3" fmla="*/ 1689387 w 2495698"/>
                <a:gd name="connsiteY3" fmla="*/ 1393507 h 2531525"/>
                <a:gd name="connsiteX4" fmla="*/ 1365628 w 2495698"/>
                <a:gd name="connsiteY4" fmla="*/ 832740 h 2531525"/>
                <a:gd name="connsiteX5" fmla="*/ 1447099 w 2495698"/>
                <a:gd name="connsiteY5" fmla="*/ 528685 h 2531525"/>
                <a:gd name="connsiteX6" fmla="*/ 1993442 w 2495698"/>
                <a:gd name="connsiteY6" fmla="*/ 1474978 h 2531525"/>
                <a:gd name="connsiteX7" fmla="*/ 1047149 w 2495698"/>
                <a:gd name="connsiteY7" fmla="*/ 2021321 h 2531525"/>
                <a:gd name="connsiteX8" fmla="*/ 500806 w 2495698"/>
                <a:gd name="connsiteY8" fmla="*/ 1075027 h 2531525"/>
                <a:gd name="connsiteX9" fmla="*/ 1447099 w 2495698"/>
                <a:gd name="connsiteY9" fmla="*/ 528685 h 2531525"/>
                <a:gd name="connsiteX10" fmla="*/ 1476725 w 2495698"/>
                <a:gd name="connsiteY10" fmla="*/ 418119 h 2531525"/>
                <a:gd name="connsiteX11" fmla="*/ 390240 w 2495698"/>
                <a:gd name="connsiteY11" fmla="*/ 1045401 h 2531525"/>
                <a:gd name="connsiteX12" fmla="*/ 1017523 w 2495698"/>
                <a:gd name="connsiteY12" fmla="*/ 2131887 h 2531525"/>
                <a:gd name="connsiteX13" fmla="*/ 2104008 w 2495698"/>
                <a:gd name="connsiteY13" fmla="*/ 1504604 h 2531525"/>
                <a:gd name="connsiteX14" fmla="*/ 1476725 w 2495698"/>
                <a:gd name="connsiteY14" fmla="*/ 418119 h 2531525"/>
                <a:gd name="connsiteX15" fmla="*/ 1759910 w 2495698"/>
                <a:gd name="connsiteY15" fmla="*/ 98812 h 2531525"/>
                <a:gd name="connsiteX16" fmla="*/ 1754625 w 2495698"/>
                <a:gd name="connsiteY16" fmla="*/ 412897 h 2531525"/>
                <a:gd name="connsiteX17" fmla="*/ 1954704 w 2495698"/>
                <a:gd name="connsiteY17" fmla="*/ 573108 h 2531525"/>
                <a:gd name="connsiteX18" fmla="*/ 2234317 w 2495698"/>
                <a:gd name="connsiteY18" fmla="*/ 503581 h 2531525"/>
                <a:gd name="connsiteX19" fmla="*/ 2413554 w 2495698"/>
                <a:gd name="connsiteY19" fmla="*/ 840674 h 2531525"/>
                <a:gd name="connsiteX20" fmla="*/ 2214321 w 2495698"/>
                <a:gd name="connsiteY20" fmla="*/ 1020292 h 2531525"/>
                <a:gd name="connsiteX21" fmla="*/ 2246841 w 2495698"/>
                <a:gd name="connsiteY21" fmla="*/ 1303347 h 2531525"/>
                <a:gd name="connsiteX22" fmla="*/ 2495698 w 2495698"/>
                <a:gd name="connsiteY22" fmla="*/ 1441496 h 2531525"/>
                <a:gd name="connsiteX23" fmla="*/ 2396885 w 2495698"/>
                <a:gd name="connsiteY23" fmla="*/ 1810269 h 2531525"/>
                <a:gd name="connsiteX24" fmla="*/ 2094912 w 2495698"/>
                <a:gd name="connsiteY24" fmla="*/ 1805190 h 2531525"/>
                <a:gd name="connsiteX25" fmla="*/ 1958644 w 2495698"/>
                <a:gd name="connsiteY25" fmla="*/ 1977881 h 2531525"/>
                <a:gd name="connsiteX26" fmla="*/ 2057814 w 2495698"/>
                <a:gd name="connsiteY26" fmla="*/ 2236715 h 2531525"/>
                <a:gd name="connsiteX27" fmla="*/ 1745078 w 2495698"/>
                <a:gd name="connsiteY27" fmla="*/ 2455696 h 2531525"/>
                <a:gd name="connsiteX28" fmla="*/ 1507869 w 2495698"/>
                <a:gd name="connsiteY28" fmla="*/ 2249759 h 2531525"/>
                <a:gd name="connsiteX29" fmla="*/ 1251837 w 2495698"/>
                <a:gd name="connsiteY29" fmla="*/ 2272543 h 2531525"/>
                <a:gd name="connsiteX30" fmla="*/ 1108065 w 2495698"/>
                <a:gd name="connsiteY30" fmla="*/ 2531525 h 2531525"/>
                <a:gd name="connsiteX31" fmla="*/ 739291 w 2495698"/>
                <a:gd name="connsiteY31" fmla="*/ 2432713 h 2531525"/>
                <a:gd name="connsiteX32" fmla="*/ 744274 w 2495698"/>
                <a:gd name="connsiteY32" fmla="*/ 2136543 h 2531525"/>
                <a:gd name="connsiteX33" fmla="*/ 535891 w 2495698"/>
                <a:gd name="connsiteY33" fmla="*/ 1973098 h 2531525"/>
                <a:gd name="connsiteX34" fmla="*/ 540671 w 2495698"/>
                <a:gd name="connsiteY34" fmla="*/ 1983347 h 2531525"/>
                <a:gd name="connsiteX35" fmla="*/ 232276 w 2495698"/>
                <a:gd name="connsiteY35" fmla="*/ 2043090 h 2531525"/>
                <a:gd name="connsiteX36" fmla="*/ 70927 w 2495698"/>
                <a:gd name="connsiteY36" fmla="*/ 1697078 h 2531525"/>
                <a:gd name="connsiteX37" fmla="*/ 279495 w 2495698"/>
                <a:gd name="connsiteY37" fmla="*/ 1527966 h 2531525"/>
                <a:gd name="connsiteX38" fmla="*/ 245586 w 2495698"/>
                <a:gd name="connsiteY38" fmla="*/ 1274796 h 2531525"/>
                <a:gd name="connsiteX39" fmla="*/ 0 w 2495698"/>
                <a:gd name="connsiteY39" fmla="*/ 1138462 h 2531525"/>
                <a:gd name="connsiteX40" fmla="*/ 98812 w 2495698"/>
                <a:gd name="connsiteY40" fmla="*/ 769689 h 2531525"/>
                <a:gd name="connsiteX41" fmla="*/ 380240 w 2495698"/>
                <a:gd name="connsiteY41" fmla="*/ 774423 h 2531525"/>
                <a:gd name="connsiteX42" fmla="*/ 516679 w 2495698"/>
                <a:gd name="connsiteY42" fmla="*/ 590627 h 2531525"/>
                <a:gd name="connsiteX43" fmla="*/ 422419 w 2495698"/>
                <a:gd name="connsiteY43" fmla="*/ 299900 h 2531525"/>
                <a:gd name="connsiteX44" fmla="*/ 746189 w 2495698"/>
                <a:gd name="connsiteY44" fmla="*/ 97585 h 2531525"/>
                <a:gd name="connsiteX45" fmla="*/ 972292 w 2495698"/>
                <a:gd name="connsiteY45" fmla="*/ 315656 h 2531525"/>
                <a:gd name="connsiteX46" fmla="*/ 970019 w 2495698"/>
                <a:gd name="connsiteY46" fmla="*/ 317076 h 2531525"/>
                <a:gd name="connsiteX47" fmla="*/ 1248316 w 2495698"/>
                <a:gd name="connsiteY47" fmla="*/ 277231 h 2531525"/>
                <a:gd name="connsiteX48" fmla="*/ 1391137 w 2495698"/>
                <a:gd name="connsiteY48" fmla="*/ 0 h 2531525"/>
                <a:gd name="connsiteX49" fmla="*/ 1759910 w 2495698"/>
                <a:gd name="connsiteY49" fmla="*/ 98812 h 2531525"/>
                <a:gd name="connsiteX0" fmla="*/ 1365628 w 2495698"/>
                <a:gd name="connsiteY0" fmla="*/ 832740 h 2531525"/>
                <a:gd name="connsiteX1" fmla="*/ 804861 w 2495698"/>
                <a:gd name="connsiteY1" fmla="*/ 1156499 h 2531525"/>
                <a:gd name="connsiteX2" fmla="*/ 1128620 w 2495698"/>
                <a:gd name="connsiteY2" fmla="*/ 1717266 h 2531525"/>
                <a:gd name="connsiteX3" fmla="*/ 1689387 w 2495698"/>
                <a:gd name="connsiteY3" fmla="*/ 1393507 h 2531525"/>
                <a:gd name="connsiteX4" fmla="*/ 1365628 w 2495698"/>
                <a:gd name="connsiteY4" fmla="*/ 832740 h 2531525"/>
                <a:gd name="connsiteX5" fmla="*/ 1447099 w 2495698"/>
                <a:gd name="connsiteY5" fmla="*/ 528685 h 2531525"/>
                <a:gd name="connsiteX6" fmla="*/ 1993442 w 2495698"/>
                <a:gd name="connsiteY6" fmla="*/ 1474978 h 2531525"/>
                <a:gd name="connsiteX7" fmla="*/ 1047149 w 2495698"/>
                <a:gd name="connsiteY7" fmla="*/ 2021321 h 2531525"/>
                <a:gd name="connsiteX8" fmla="*/ 500806 w 2495698"/>
                <a:gd name="connsiteY8" fmla="*/ 1075027 h 2531525"/>
                <a:gd name="connsiteX9" fmla="*/ 1447099 w 2495698"/>
                <a:gd name="connsiteY9" fmla="*/ 528685 h 2531525"/>
                <a:gd name="connsiteX10" fmla="*/ 1476725 w 2495698"/>
                <a:gd name="connsiteY10" fmla="*/ 418119 h 2531525"/>
                <a:gd name="connsiteX11" fmla="*/ 390240 w 2495698"/>
                <a:gd name="connsiteY11" fmla="*/ 1045401 h 2531525"/>
                <a:gd name="connsiteX12" fmla="*/ 1017523 w 2495698"/>
                <a:gd name="connsiteY12" fmla="*/ 2131887 h 2531525"/>
                <a:gd name="connsiteX13" fmla="*/ 2104008 w 2495698"/>
                <a:gd name="connsiteY13" fmla="*/ 1504604 h 2531525"/>
                <a:gd name="connsiteX14" fmla="*/ 1476725 w 2495698"/>
                <a:gd name="connsiteY14" fmla="*/ 418119 h 2531525"/>
                <a:gd name="connsiteX15" fmla="*/ 1759910 w 2495698"/>
                <a:gd name="connsiteY15" fmla="*/ 98812 h 2531525"/>
                <a:gd name="connsiteX16" fmla="*/ 1754625 w 2495698"/>
                <a:gd name="connsiteY16" fmla="*/ 412897 h 2531525"/>
                <a:gd name="connsiteX17" fmla="*/ 1954704 w 2495698"/>
                <a:gd name="connsiteY17" fmla="*/ 573108 h 2531525"/>
                <a:gd name="connsiteX18" fmla="*/ 2234317 w 2495698"/>
                <a:gd name="connsiteY18" fmla="*/ 503581 h 2531525"/>
                <a:gd name="connsiteX19" fmla="*/ 2413554 w 2495698"/>
                <a:gd name="connsiteY19" fmla="*/ 840674 h 2531525"/>
                <a:gd name="connsiteX20" fmla="*/ 2214321 w 2495698"/>
                <a:gd name="connsiteY20" fmla="*/ 1020292 h 2531525"/>
                <a:gd name="connsiteX21" fmla="*/ 2246841 w 2495698"/>
                <a:gd name="connsiteY21" fmla="*/ 1303347 h 2531525"/>
                <a:gd name="connsiteX22" fmla="*/ 2495698 w 2495698"/>
                <a:gd name="connsiteY22" fmla="*/ 1441496 h 2531525"/>
                <a:gd name="connsiteX23" fmla="*/ 2396885 w 2495698"/>
                <a:gd name="connsiteY23" fmla="*/ 1810269 h 2531525"/>
                <a:gd name="connsiteX24" fmla="*/ 2094912 w 2495698"/>
                <a:gd name="connsiteY24" fmla="*/ 1805190 h 2531525"/>
                <a:gd name="connsiteX25" fmla="*/ 1958644 w 2495698"/>
                <a:gd name="connsiteY25" fmla="*/ 1977881 h 2531525"/>
                <a:gd name="connsiteX26" fmla="*/ 2057814 w 2495698"/>
                <a:gd name="connsiteY26" fmla="*/ 2236715 h 2531525"/>
                <a:gd name="connsiteX27" fmla="*/ 1745078 w 2495698"/>
                <a:gd name="connsiteY27" fmla="*/ 2455696 h 2531525"/>
                <a:gd name="connsiteX28" fmla="*/ 1507869 w 2495698"/>
                <a:gd name="connsiteY28" fmla="*/ 2249759 h 2531525"/>
                <a:gd name="connsiteX29" fmla="*/ 1251837 w 2495698"/>
                <a:gd name="connsiteY29" fmla="*/ 2272543 h 2531525"/>
                <a:gd name="connsiteX30" fmla="*/ 1108065 w 2495698"/>
                <a:gd name="connsiteY30" fmla="*/ 2531525 h 2531525"/>
                <a:gd name="connsiteX31" fmla="*/ 739291 w 2495698"/>
                <a:gd name="connsiteY31" fmla="*/ 2432713 h 2531525"/>
                <a:gd name="connsiteX32" fmla="*/ 744274 w 2495698"/>
                <a:gd name="connsiteY32" fmla="*/ 2136543 h 2531525"/>
                <a:gd name="connsiteX33" fmla="*/ 535891 w 2495698"/>
                <a:gd name="connsiteY33" fmla="*/ 1973098 h 2531525"/>
                <a:gd name="connsiteX34" fmla="*/ 232276 w 2495698"/>
                <a:gd name="connsiteY34" fmla="*/ 2043090 h 2531525"/>
                <a:gd name="connsiteX35" fmla="*/ 70927 w 2495698"/>
                <a:gd name="connsiteY35" fmla="*/ 1697078 h 2531525"/>
                <a:gd name="connsiteX36" fmla="*/ 279495 w 2495698"/>
                <a:gd name="connsiteY36" fmla="*/ 1527966 h 2531525"/>
                <a:gd name="connsiteX37" fmla="*/ 245586 w 2495698"/>
                <a:gd name="connsiteY37" fmla="*/ 1274796 h 2531525"/>
                <a:gd name="connsiteX38" fmla="*/ 0 w 2495698"/>
                <a:gd name="connsiteY38" fmla="*/ 1138462 h 2531525"/>
                <a:gd name="connsiteX39" fmla="*/ 98812 w 2495698"/>
                <a:gd name="connsiteY39" fmla="*/ 769689 h 2531525"/>
                <a:gd name="connsiteX40" fmla="*/ 380240 w 2495698"/>
                <a:gd name="connsiteY40" fmla="*/ 774423 h 2531525"/>
                <a:gd name="connsiteX41" fmla="*/ 516679 w 2495698"/>
                <a:gd name="connsiteY41" fmla="*/ 590627 h 2531525"/>
                <a:gd name="connsiteX42" fmla="*/ 422419 w 2495698"/>
                <a:gd name="connsiteY42" fmla="*/ 299900 h 2531525"/>
                <a:gd name="connsiteX43" fmla="*/ 746189 w 2495698"/>
                <a:gd name="connsiteY43" fmla="*/ 97585 h 2531525"/>
                <a:gd name="connsiteX44" fmla="*/ 972292 w 2495698"/>
                <a:gd name="connsiteY44" fmla="*/ 315656 h 2531525"/>
                <a:gd name="connsiteX45" fmla="*/ 970019 w 2495698"/>
                <a:gd name="connsiteY45" fmla="*/ 317076 h 2531525"/>
                <a:gd name="connsiteX46" fmla="*/ 1248316 w 2495698"/>
                <a:gd name="connsiteY46" fmla="*/ 277231 h 2531525"/>
                <a:gd name="connsiteX47" fmla="*/ 1391137 w 2495698"/>
                <a:gd name="connsiteY47" fmla="*/ 0 h 2531525"/>
                <a:gd name="connsiteX48" fmla="*/ 1759910 w 2495698"/>
                <a:gd name="connsiteY48" fmla="*/ 98812 h 2531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2495698" h="2531525">
                  <a:moveTo>
                    <a:pt x="1365628" y="832740"/>
                  </a:moveTo>
                  <a:cubicBezTo>
                    <a:pt x="1121373" y="767293"/>
                    <a:pt x="870309" y="912244"/>
                    <a:pt x="804861" y="1156499"/>
                  </a:cubicBezTo>
                  <a:cubicBezTo>
                    <a:pt x="739413" y="1400754"/>
                    <a:pt x="884365" y="1651818"/>
                    <a:pt x="1128620" y="1717266"/>
                  </a:cubicBezTo>
                  <a:cubicBezTo>
                    <a:pt x="1372875" y="1782713"/>
                    <a:pt x="1623939" y="1637762"/>
                    <a:pt x="1689387" y="1393507"/>
                  </a:cubicBezTo>
                  <a:cubicBezTo>
                    <a:pt x="1754835" y="1149252"/>
                    <a:pt x="1609883" y="898188"/>
                    <a:pt x="1365628" y="832740"/>
                  </a:cubicBezTo>
                  <a:close/>
                  <a:moveTo>
                    <a:pt x="1447099" y="528685"/>
                  </a:moveTo>
                  <a:cubicBezTo>
                    <a:pt x="1859279" y="639128"/>
                    <a:pt x="2103885" y="1062799"/>
                    <a:pt x="1993442" y="1474978"/>
                  </a:cubicBezTo>
                  <a:cubicBezTo>
                    <a:pt x="1882999" y="1887158"/>
                    <a:pt x="1459328" y="2131764"/>
                    <a:pt x="1047149" y="2021321"/>
                  </a:cubicBezTo>
                  <a:cubicBezTo>
                    <a:pt x="634969" y="1910878"/>
                    <a:pt x="390363" y="1487207"/>
                    <a:pt x="500806" y="1075027"/>
                  </a:cubicBezTo>
                  <a:cubicBezTo>
                    <a:pt x="611249" y="662848"/>
                    <a:pt x="1034920" y="418242"/>
                    <a:pt x="1447099" y="528685"/>
                  </a:cubicBezTo>
                  <a:close/>
                  <a:moveTo>
                    <a:pt x="1476725" y="418119"/>
                  </a:moveTo>
                  <a:cubicBezTo>
                    <a:pt x="1003481" y="291314"/>
                    <a:pt x="517045" y="572157"/>
                    <a:pt x="390240" y="1045401"/>
                  </a:cubicBezTo>
                  <a:cubicBezTo>
                    <a:pt x="263435" y="1518646"/>
                    <a:pt x="544279" y="2005081"/>
                    <a:pt x="1017523" y="2131887"/>
                  </a:cubicBezTo>
                  <a:cubicBezTo>
                    <a:pt x="1490767" y="2258692"/>
                    <a:pt x="1977202" y="1977848"/>
                    <a:pt x="2104008" y="1504604"/>
                  </a:cubicBezTo>
                  <a:cubicBezTo>
                    <a:pt x="2230813" y="1031360"/>
                    <a:pt x="1949969" y="544925"/>
                    <a:pt x="1476725" y="418119"/>
                  </a:cubicBezTo>
                  <a:close/>
                  <a:moveTo>
                    <a:pt x="1759910" y="98812"/>
                  </a:moveTo>
                  <a:cubicBezTo>
                    <a:pt x="1758148" y="203507"/>
                    <a:pt x="1756387" y="308202"/>
                    <a:pt x="1754625" y="412897"/>
                  </a:cubicBezTo>
                  <a:lnTo>
                    <a:pt x="1954704" y="573108"/>
                  </a:lnTo>
                  <a:lnTo>
                    <a:pt x="2234317" y="503581"/>
                  </a:lnTo>
                  <a:lnTo>
                    <a:pt x="2413554" y="840674"/>
                  </a:lnTo>
                  <a:lnTo>
                    <a:pt x="2214321" y="1020292"/>
                  </a:lnTo>
                  <a:cubicBezTo>
                    <a:pt x="2239296" y="1111262"/>
                    <a:pt x="2251067" y="1206519"/>
                    <a:pt x="2246841" y="1303347"/>
                  </a:cubicBezTo>
                  <a:lnTo>
                    <a:pt x="2495698" y="1441496"/>
                  </a:lnTo>
                  <a:lnTo>
                    <a:pt x="2396885" y="1810269"/>
                  </a:lnTo>
                  <a:lnTo>
                    <a:pt x="2094912" y="1805190"/>
                  </a:lnTo>
                  <a:cubicBezTo>
                    <a:pt x="2056732" y="1868983"/>
                    <a:pt x="2010475" y="1926517"/>
                    <a:pt x="1958644" y="1977881"/>
                  </a:cubicBezTo>
                  <a:lnTo>
                    <a:pt x="2057814" y="2236715"/>
                  </a:lnTo>
                  <a:lnTo>
                    <a:pt x="1745078" y="2455696"/>
                  </a:lnTo>
                  <a:lnTo>
                    <a:pt x="1507869" y="2249759"/>
                  </a:lnTo>
                  <a:lnTo>
                    <a:pt x="1251837" y="2272543"/>
                  </a:lnTo>
                  <a:lnTo>
                    <a:pt x="1108065" y="2531525"/>
                  </a:lnTo>
                  <a:lnTo>
                    <a:pt x="739291" y="2432713"/>
                  </a:lnTo>
                  <a:lnTo>
                    <a:pt x="744274" y="2136543"/>
                  </a:lnTo>
                  <a:cubicBezTo>
                    <a:pt x="666128" y="2092006"/>
                    <a:pt x="595548" y="2037539"/>
                    <a:pt x="535891" y="1973098"/>
                  </a:cubicBezTo>
                  <a:lnTo>
                    <a:pt x="232276" y="2043090"/>
                  </a:lnTo>
                  <a:lnTo>
                    <a:pt x="70927" y="1697078"/>
                  </a:lnTo>
                  <a:lnTo>
                    <a:pt x="279495" y="1527966"/>
                  </a:lnTo>
                  <a:cubicBezTo>
                    <a:pt x="257233" y="1446371"/>
                    <a:pt x="245603" y="1361336"/>
                    <a:pt x="245586" y="1274796"/>
                  </a:cubicBezTo>
                  <a:lnTo>
                    <a:pt x="0" y="1138462"/>
                  </a:lnTo>
                  <a:lnTo>
                    <a:pt x="98812" y="769689"/>
                  </a:lnTo>
                  <a:lnTo>
                    <a:pt x="380240" y="774423"/>
                  </a:lnTo>
                  <a:cubicBezTo>
                    <a:pt x="418421" y="707046"/>
                    <a:pt x="464524" y="645614"/>
                    <a:pt x="516679" y="590627"/>
                  </a:cubicBezTo>
                  <a:lnTo>
                    <a:pt x="422419" y="299900"/>
                  </a:lnTo>
                  <a:lnTo>
                    <a:pt x="746189" y="97585"/>
                  </a:lnTo>
                  <a:lnTo>
                    <a:pt x="972292" y="315656"/>
                  </a:lnTo>
                  <a:lnTo>
                    <a:pt x="970019" y="317076"/>
                  </a:lnTo>
                  <a:cubicBezTo>
                    <a:pt x="1058903" y="289108"/>
                    <a:pt x="1152743" y="276181"/>
                    <a:pt x="1248316" y="277231"/>
                  </a:cubicBezTo>
                  <a:lnTo>
                    <a:pt x="1391137" y="0"/>
                  </a:lnTo>
                  <a:lnTo>
                    <a:pt x="1759910" y="98812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ko-KR" altLang="en-US" sz="2701"/>
            </a:p>
          </p:txBody>
        </p:sp>
        <p:sp>
          <p:nvSpPr>
            <p:cNvPr id="59" name="Oval 21">
              <a:extLst>
                <a:ext uri="{FF2B5EF4-FFF2-40B4-BE49-F238E27FC236}">
                  <a16:creationId xmlns="" xmlns:a16="http://schemas.microsoft.com/office/drawing/2014/main" id="{5407C3E4-9AC6-4329-8971-88F6044E575D}"/>
                </a:ext>
              </a:extLst>
            </p:cNvPr>
            <p:cNvSpPr/>
            <p:nvPr/>
          </p:nvSpPr>
          <p:spPr>
            <a:xfrm rot="18850474" flipV="1">
              <a:off x="5702728" y="1977997"/>
              <a:ext cx="1343822" cy="1363113"/>
            </a:xfrm>
            <a:custGeom>
              <a:avLst/>
              <a:gdLst>
                <a:gd name="connsiteX0" fmla="*/ 1365628 w 2495698"/>
                <a:gd name="connsiteY0" fmla="*/ 832740 h 2531525"/>
                <a:gd name="connsiteX1" fmla="*/ 804861 w 2495698"/>
                <a:gd name="connsiteY1" fmla="*/ 1156499 h 2531525"/>
                <a:gd name="connsiteX2" fmla="*/ 1128620 w 2495698"/>
                <a:gd name="connsiteY2" fmla="*/ 1717266 h 2531525"/>
                <a:gd name="connsiteX3" fmla="*/ 1689387 w 2495698"/>
                <a:gd name="connsiteY3" fmla="*/ 1393507 h 2531525"/>
                <a:gd name="connsiteX4" fmla="*/ 1365628 w 2495698"/>
                <a:gd name="connsiteY4" fmla="*/ 832740 h 2531525"/>
                <a:gd name="connsiteX5" fmla="*/ 1447099 w 2495698"/>
                <a:gd name="connsiteY5" fmla="*/ 528685 h 2531525"/>
                <a:gd name="connsiteX6" fmla="*/ 1993442 w 2495698"/>
                <a:gd name="connsiteY6" fmla="*/ 1474978 h 2531525"/>
                <a:gd name="connsiteX7" fmla="*/ 1047149 w 2495698"/>
                <a:gd name="connsiteY7" fmla="*/ 2021321 h 2531525"/>
                <a:gd name="connsiteX8" fmla="*/ 500806 w 2495698"/>
                <a:gd name="connsiteY8" fmla="*/ 1075027 h 2531525"/>
                <a:gd name="connsiteX9" fmla="*/ 1447099 w 2495698"/>
                <a:gd name="connsiteY9" fmla="*/ 528685 h 2531525"/>
                <a:gd name="connsiteX10" fmla="*/ 1476725 w 2495698"/>
                <a:gd name="connsiteY10" fmla="*/ 418119 h 2531525"/>
                <a:gd name="connsiteX11" fmla="*/ 390240 w 2495698"/>
                <a:gd name="connsiteY11" fmla="*/ 1045401 h 2531525"/>
                <a:gd name="connsiteX12" fmla="*/ 1017523 w 2495698"/>
                <a:gd name="connsiteY12" fmla="*/ 2131887 h 2531525"/>
                <a:gd name="connsiteX13" fmla="*/ 2104008 w 2495698"/>
                <a:gd name="connsiteY13" fmla="*/ 1504604 h 2531525"/>
                <a:gd name="connsiteX14" fmla="*/ 1476725 w 2495698"/>
                <a:gd name="connsiteY14" fmla="*/ 418119 h 2531525"/>
                <a:gd name="connsiteX15" fmla="*/ 1759910 w 2495698"/>
                <a:gd name="connsiteY15" fmla="*/ 98812 h 2531525"/>
                <a:gd name="connsiteX16" fmla="*/ 1754625 w 2495698"/>
                <a:gd name="connsiteY16" fmla="*/ 412897 h 2531525"/>
                <a:gd name="connsiteX17" fmla="*/ 1744979 w 2495698"/>
                <a:gd name="connsiteY17" fmla="*/ 410312 h 2531525"/>
                <a:gd name="connsiteX18" fmla="*/ 1954704 w 2495698"/>
                <a:gd name="connsiteY18" fmla="*/ 573108 h 2531525"/>
                <a:gd name="connsiteX19" fmla="*/ 2234317 w 2495698"/>
                <a:gd name="connsiteY19" fmla="*/ 503581 h 2531525"/>
                <a:gd name="connsiteX20" fmla="*/ 2413554 w 2495698"/>
                <a:gd name="connsiteY20" fmla="*/ 840674 h 2531525"/>
                <a:gd name="connsiteX21" fmla="*/ 2214321 w 2495698"/>
                <a:gd name="connsiteY21" fmla="*/ 1020292 h 2531525"/>
                <a:gd name="connsiteX22" fmla="*/ 2246841 w 2495698"/>
                <a:gd name="connsiteY22" fmla="*/ 1303347 h 2531525"/>
                <a:gd name="connsiteX23" fmla="*/ 2495698 w 2495698"/>
                <a:gd name="connsiteY23" fmla="*/ 1441496 h 2531525"/>
                <a:gd name="connsiteX24" fmla="*/ 2396885 w 2495698"/>
                <a:gd name="connsiteY24" fmla="*/ 1810269 h 2531525"/>
                <a:gd name="connsiteX25" fmla="*/ 2094912 w 2495698"/>
                <a:gd name="connsiteY25" fmla="*/ 1805190 h 2531525"/>
                <a:gd name="connsiteX26" fmla="*/ 1958644 w 2495698"/>
                <a:gd name="connsiteY26" fmla="*/ 1977881 h 2531525"/>
                <a:gd name="connsiteX27" fmla="*/ 2057814 w 2495698"/>
                <a:gd name="connsiteY27" fmla="*/ 2236715 h 2531525"/>
                <a:gd name="connsiteX28" fmla="*/ 1745078 w 2495698"/>
                <a:gd name="connsiteY28" fmla="*/ 2455696 h 2531525"/>
                <a:gd name="connsiteX29" fmla="*/ 1507869 w 2495698"/>
                <a:gd name="connsiteY29" fmla="*/ 2249759 h 2531525"/>
                <a:gd name="connsiteX30" fmla="*/ 1536736 w 2495698"/>
                <a:gd name="connsiteY30" fmla="*/ 2229547 h 2531525"/>
                <a:gd name="connsiteX31" fmla="*/ 1251837 w 2495698"/>
                <a:gd name="connsiteY31" fmla="*/ 2272543 h 2531525"/>
                <a:gd name="connsiteX32" fmla="*/ 1108065 w 2495698"/>
                <a:gd name="connsiteY32" fmla="*/ 2531525 h 2531525"/>
                <a:gd name="connsiteX33" fmla="*/ 739291 w 2495698"/>
                <a:gd name="connsiteY33" fmla="*/ 2432713 h 2531525"/>
                <a:gd name="connsiteX34" fmla="*/ 744274 w 2495698"/>
                <a:gd name="connsiteY34" fmla="*/ 2136543 h 2531525"/>
                <a:gd name="connsiteX35" fmla="*/ 535891 w 2495698"/>
                <a:gd name="connsiteY35" fmla="*/ 1973098 h 2531525"/>
                <a:gd name="connsiteX36" fmla="*/ 540671 w 2495698"/>
                <a:gd name="connsiteY36" fmla="*/ 1983347 h 2531525"/>
                <a:gd name="connsiteX37" fmla="*/ 232276 w 2495698"/>
                <a:gd name="connsiteY37" fmla="*/ 2043090 h 2531525"/>
                <a:gd name="connsiteX38" fmla="*/ 70927 w 2495698"/>
                <a:gd name="connsiteY38" fmla="*/ 1697078 h 2531525"/>
                <a:gd name="connsiteX39" fmla="*/ 279495 w 2495698"/>
                <a:gd name="connsiteY39" fmla="*/ 1527966 h 2531525"/>
                <a:gd name="connsiteX40" fmla="*/ 245586 w 2495698"/>
                <a:gd name="connsiteY40" fmla="*/ 1274796 h 2531525"/>
                <a:gd name="connsiteX41" fmla="*/ 0 w 2495698"/>
                <a:gd name="connsiteY41" fmla="*/ 1138462 h 2531525"/>
                <a:gd name="connsiteX42" fmla="*/ 98812 w 2495698"/>
                <a:gd name="connsiteY42" fmla="*/ 769689 h 2531525"/>
                <a:gd name="connsiteX43" fmla="*/ 380240 w 2495698"/>
                <a:gd name="connsiteY43" fmla="*/ 774423 h 2531525"/>
                <a:gd name="connsiteX44" fmla="*/ 516679 w 2495698"/>
                <a:gd name="connsiteY44" fmla="*/ 590627 h 2531525"/>
                <a:gd name="connsiteX45" fmla="*/ 422419 w 2495698"/>
                <a:gd name="connsiteY45" fmla="*/ 299900 h 2531525"/>
                <a:gd name="connsiteX46" fmla="*/ 746189 w 2495698"/>
                <a:gd name="connsiteY46" fmla="*/ 97585 h 2531525"/>
                <a:gd name="connsiteX47" fmla="*/ 972292 w 2495698"/>
                <a:gd name="connsiteY47" fmla="*/ 315656 h 2531525"/>
                <a:gd name="connsiteX48" fmla="*/ 970019 w 2495698"/>
                <a:gd name="connsiteY48" fmla="*/ 317076 h 2531525"/>
                <a:gd name="connsiteX49" fmla="*/ 1248316 w 2495698"/>
                <a:gd name="connsiteY49" fmla="*/ 277231 h 2531525"/>
                <a:gd name="connsiteX50" fmla="*/ 1238669 w 2495698"/>
                <a:gd name="connsiteY50" fmla="*/ 274647 h 2531525"/>
                <a:gd name="connsiteX51" fmla="*/ 1391137 w 2495698"/>
                <a:gd name="connsiteY51" fmla="*/ 0 h 2531525"/>
                <a:gd name="connsiteX52" fmla="*/ 1759910 w 2495698"/>
                <a:gd name="connsiteY52" fmla="*/ 98812 h 2531525"/>
                <a:gd name="connsiteX0" fmla="*/ 1365628 w 2495698"/>
                <a:gd name="connsiteY0" fmla="*/ 832740 h 2531525"/>
                <a:gd name="connsiteX1" fmla="*/ 804861 w 2495698"/>
                <a:gd name="connsiteY1" fmla="*/ 1156499 h 2531525"/>
                <a:gd name="connsiteX2" fmla="*/ 1128620 w 2495698"/>
                <a:gd name="connsiteY2" fmla="*/ 1717266 h 2531525"/>
                <a:gd name="connsiteX3" fmla="*/ 1689387 w 2495698"/>
                <a:gd name="connsiteY3" fmla="*/ 1393507 h 2531525"/>
                <a:gd name="connsiteX4" fmla="*/ 1365628 w 2495698"/>
                <a:gd name="connsiteY4" fmla="*/ 832740 h 2531525"/>
                <a:gd name="connsiteX5" fmla="*/ 1447099 w 2495698"/>
                <a:gd name="connsiteY5" fmla="*/ 528685 h 2531525"/>
                <a:gd name="connsiteX6" fmla="*/ 1993442 w 2495698"/>
                <a:gd name="connsiteY6" fmla="*/ 1474978 h 2531525"/>
                <a:gd name="connsiteX7" fmla="*/ 1047149 w 2495698"/>
                <a:gd name="connsiteY7" fmla="*/ 2021321 h 2531525"/>
                <a:gd name="connsiteX8" fmla="*/ 500806 w 2495698"/>
                <a:gd name="connsiteY8" fmla="*/ 1075027 h 2531525"/>
                <a:gd name="connsiteX9" fmla="*/ 1447099 w 2495698"/>
                <a:gd name="connsiteY9" fmla="*/ 528685 h 2531525"/>
                <a:gd name="connsiteX10" fmla="*/ 1476725 w 2495698"/>
                <a:gd name="connsiteY10" fmla="*/ 418119 h 2531525"/>
                <a:gd name="connsiteX11" fmla="*/ 390240 w 2495698"/>
                <a:gd name="connsiteY11" fmla="*/ 1045401 h 2531525"/>
                <a:gd name="connsiteX12" fmla="*/ 1017523 w 2495698"/>
                <a:gd name="connsiteY12" fmla="*/ 2131887 h 2531525"/>
                <a:gd name="connsiteX13" fmla="*/ 2104008 w 2495698"/>
                <a:gd name="connsiteY13" fmla="*/ 1504604 h 2531525"/>
                <a:gd name="connsiteX14" fmla="*/ 1476725 w 2495698"/>
                <a:gd name="connsiteY14" fmla="*/ 418119 h 2531525"/>
                <a:gd name="connsiteX15" fmla="*/ 1759910 w 2495698"/>
                <a:gd name="connsiteY15" fmla="*/ 98812 h 2531525"/>
                <a:gd name="connsiteX16" fmla="*/ 1754625 w 2495698"/>
                <a:gd name="connsiteY16" fmla="*/ 412897 h 2531525"/>
                <a:gd name="connsiteX17" fmla="*/ 1744979 w 2495698"/>
                <a:gd name="connsiteY17" fmla="*/ 410312 h 2531525"/>
                <a:gd name="connsiteX18" fmla="*/ 1954704 w 2495698"/>
                <a:gd name="connsiteY18" fmla="*/ 573108 h 2531525"/>
                <a:gd name="connsiteX19" fmla="*/ 2234317 w 2495698"/>
                <a:gd name="connsiteY19" fmla="*/ 503581 h 2531525"/>
                <a:gd name="connsiteX20" fmla="*/ 2413554 w 2495698"/>
                <a:gd name="connsiteY20" fmla="*/ 840674 h 2531525"/>
                <a:gd name="connsiteX21" fmla="*/ 2214321 w 2495698"/>
                <a:gd name="connsiteY21" fmla="*/ 1020292 h 2531525"/>
                <a:gd name="connsiteX22" fmla="*/ 2246841 w 2495698"/>
                <a:gd name="connsiteY22" fmla="*/ 1303347 h 2531525"/>
                <a:gd name="connsiteX23" fmla="*/ 2495698 w 2495698"/>
                <a:gd name="connsiteY23" fmla="*/ 1441496 h 2531525"/>
                <a:gd name="connsiteX24" fmla="*/ 2396885 w 2495698"/>
                <a:gd name="connsiteY24" fmla="*/ 1810269 h 2531525"/>
                <a:gd name="connsiteX25" fmla="*/ 2094912 w 2495698"/>
                <a:gd name="connsiteY25" fmla="*/ 1805190 h 2531525"/>
                <a:gd name="connsiteX26" fmla="*/ 1958644 w 2495698"/>
                <a:gd name="connsiteY26" fmla="*/ 1977881 h 2531525"/>
                <a:gd name="connsiteX27" fmla="*/ 2057814 w 2495698"/>
                <a:gd name="connsiteY27" fmla="*/ 2236715 h 2531525"/>
                <a:gd name="connsiteX28" fmla="*/ 1745078 w 2495698"/>
                <a:gd name="connsiteY28" fmla="*/ 2455696 h 2531525"/>
                <a:gd name="connsiteX29" fmla="*/ 1507869 w 2495698"/>
                <a:gd name="connsiteY29" fmla="*/ 2249759 h 2531525"/>
                <a:gd name="connsiteX30" fmla="*/ 1536736 w 2495698"/>
                <a:gd name="connsiteY30" fmla="*/ 2229547 h 2531525"/>
                <a:gd name="connsiteX31" fmla="*/ 1251837 w 2495698"/>
                <a:gd name="connsiteY31" fmla="*/ 2272543 h 2531525"/>
                <a:gd name="connsiteX32" fmla="*/ 1108065 w 2495698"/>
                <a:gd name="connsiteY32" fmla="*/ 2531525 h 2531525"/>
                <a:gd name="connsiteX33" fmla="*/ 739291 w 2495698"/>
                <a:gd name="connsiteY33" fmla="*/ 2432713 h 2531525"/>
                <a:gd name="connsiteX34" fmla="*/ 744274 w 2495698"/>
                <a:gd name="connsiteY34" fmla="*/ 2136543 h 2531525"/>
                <a:gd name="connsiteX35" fmla="*/ 535891 w 2495698"/>
                <a:gd name="connsiteY35" fmla="*/ 1973098 h 2531525"/>
                <a:gd name="connsiteX36" fmla="*/ 540671 w 2495698"/>
                <a:gd name="connsiteY36" fmla="*/ 1983347 h 2531525"/>
                <a:gd name="connsiteX37" fmla="*/ 232276 w 2495698"/>
                <a:gd name="connsiteY37" fmla="*/ 2043090 h 2531525"/>
                <a:gd name="connsiteX38" fmla="*/ 70927 w 2495698"/>
                <a:gd name="connsiteY38" fmla="*/ 1697078 h 2531525"/>
                <a:gd name="connsiteX39" fmla="*/ 279495 w 2495698"/>
                <a:gd name="connsiteY39" fmla="*/ 1527966 h 2531525"/>
                <a:gd name="connsiteX40" fmla="*/ 245586 w 2495698"/>
                <a:gd name="connsiteY40" fmla="*/ 1274796 h 2531525"/>
                <a:gd name="connsiteX41" fmla="*/ 0 w 2495698"/>
                <a:gd name="connsiteY41" fmla="*/ 1138462 h 2531525"/>
                <a:gd name="connsiteX42" fmla="*/ 98812 w 2495698"/>
                <a:gd name="connsiteY42" fmla="*/ 769689 h 2531525"/>
                <a:gd name="connsiteX43" fmla="*/ 380240 w 2495698"/>
                <a:gd name="connsiteY43" fmla="*/ 774423 h 2531525"/>
                <a:gd name="connsiteX44" fmla="*/ 516679 w 2495698"/>
                <a:gd name="connsiteY44" fmla="*/ 590627 h 2531525"/>
                <a:gd name="connsiteX45" fmla="*/ 422419 w 2495698"/>
                <a:gd name="connsiteY45" fmla="*/ 299900 h 2531525"/>
                <a:gd name="connsiteX46" fmla="*/ 746189 w 2495698"/>
                <a:gd name="connsiteY46" fmla="*/ 97585 h 2531525"/>
                <a:gd name="connsiteX47" fmla="*/ 972292 w 2495698"/>
                <a:gd name="connsiteY47" fmla="*/ 315656 h 2531525"/>
                <a:gd name="connsiteX48" fmla="*/ 970019 w 2495698"/>
                <a:gd name="connsiteY48" fmla="*/ 317076 h 2531525"/>
                <a:gd name="connsiteX49" fmla="*/ 1248316 w 2495698"/>
                <a:gd name="connsiteY49" fmla="*/ 277231 h 2531525"/>
                <a:gd name="connsiteX50" fmla="*/ 1238669 w 2495698"/>
                <a:gd name="connsiteY50" fmla="*/ 274647 h 2531525"/>
                <a:gd name="connsiteX51" fmla="*/ 1391137 w 2495698"/>
                <a:gd name="connsiteY51" fmla="*/ 0 h 2531525"/>
                <a:gd name="connsiteX52" fmla="*/ 1759910 w 2495698"/>
                <a:gd name="connsiteY52" fmla="*/ 98812 h 2531525"/>
                <a:gd name="connsiteX0" fmla="*/ 1365628 w 2495698"/>
                <a:gd name="connsiteY0" fmla="*/ 832740 h 2531525"/>
                <a:gd name="connsiteX1" fmla="*/ 804861 w 2495698"/>
                <a:gd name="connsiteY1" fmla="*/ 1156499 h 2531525"/>
                <a:gd name="connsiteX2" fmla="*/ 1128620 w 2495698"/>
                <a:gd name="connsiteY2" fmla="*/ 1717266 h 2531525"/>
                <a:gd name="connsiteX3" fmla="*/ 1689387 w 2495698"/>
                <a:gd name="connsiteY3" fmla="*/ 1393507 h 2531525"/>
                <a:gd name="connsiteX4" fmla="*/ 1365628 w 2495698"/>
                <a:gd name="connsiteY4" fmla="*/ 832740 h 2531525"/>
                <a:gd name="connsiteX5" fmla="*/ 1447099 w 2495698"/>
                <a:gd name="connsiteY5" fmla="*/ 528685 h 2531525"/>
                <a:gd name="connsiteX6" fmla="*/ 1993442 w 2495698"/>
                <a:gd name="connsiteY6" fmla="*/ 1474978 h 2531525"/>
                <a:gd name="connsiteX7" fmla="*/ 1047149 w 2495698"/>
                <a:gd name="connsiteY7" fmla="*/ 2021321 h 2531525"/>
                <a:gd name="connsiteX8" fmla="*/ 500806 w 2495698"/>
                <a:gd name="connsiteY8" fmla="*/ 1075027 h 2531525"/>
                <a:gd name="connsiteX9" fmla="*/ 1447099 w 2495698"/>
                <a:gd name="connsiteY9" fmla="*/ 528685 h 2531525"/>
                <a:gd name="connsiteX10" fmla="*/ 1476725 w 2495698"/>
                <a:gd name="connsiteY10" fmla="*/ 418119 h 2531525"/>
                <a:gd name="connsiteX11" fmla="*/ 390240 w 2495698"/>
                <a:gd name="connsiteY11" fmla="*/ 1045401 h 2531525"/>
                <a:gd name="connsiteX12" fmla="*/ 1017523 w 2495698"/>
                <a:gd name="connsiteY12" fmla="*/ 2131887 h 2531525"/>
                <a:gd name="connsiteX13" fmla="*/ 2104008 w 2495698"/>
                <a:gd name="connsiteY13" fmla="*/ 1504604 h 2531525"/>
                <a:gd name="connsiteX14" fmla="*/ 1476725 w 2495698"/>
                <a:gd name="connsiteY14" fmla="*/ 418119 h 2531525"/>
                <a:gd name="connsiteX15" fmla="*/ 1759910 w 2495698"/>
                <a:gd name="connsiteY15" fmla="*/ 98812 h 2531525"/>
                <a:gd name="connsiteX16" fmla="*/ 1754625 w 2495698"/>
                <a:gd name="connsiteY16" fmla="*/ 412897 h 2531525"/>
                <a:gd name="connsiteX17" fmla="*/ 1744979 w 2495698"/>
                <a:gd name="connsiteY17" fmla="*/ 410312 h 2531525"/>
                <a:gd name="connsiteX18" fmla="*/ 1954704 w 2495698"/>
                <a:gd name="connsiteY18" fmla="*/ 573108 h 2531525"/>
                <a:gd name="connsiteX19" fmla="*/ 2234317 w 2495698"/>
                <a:gd name="connsiteY19" fmla="*/ 503581 h 2531525"/>
                <a:gd name="connsiteX20" fmla="*/ 2413554 w 2495698"/>
                <a:gd name="connsiteY20" fmla="*/ 840674 h 2531525"/>
                <a:gd name="connsiteX21" fmla="*/ 2214321 w 2495698"/>
                <a:gd name="connsiteY21" fmla="*/ 1020292 h 2531525"/>
                <a:gd name="connsiteX22" fmla="*/ 2246841 w 2495698"/>
                <a:gd name="connsiteY22" fmla="*/ 1303347 h 2531525"/>
                <a:gd name="connsiteX23" fmla="*/ 2495698 w 2495698"/>
                <a:gd name="connsiteY23" fmla="*/ 1441496 h 2531525"/>
                <a:gd name="connsiteX24" fmla="*/ 2396885 w 2495698"/>
                <a:gd name="connsiteY24" fmla="*/ 1810269 h 2531525"/>
                <a:gd name="connsiteX25" fmla="*/ 2094912 w 2495698"/>
                <a:gd name="connsiteY25" fmla="*/ 1805190 h 2531525"/>
                <a:gd name="connsiteX26" fmla="*/ 1958644 w 2495698"/>
                <a:gd name="connsiteY26" fmla="*/ 1977881 h 2531525"/>
                <a:gd name="connsiteX27" fmla="*/ 2057814 w 2495698"/>
                <a:gd name="connsiteY27" fmla="*/ 2236715 h 2531525"/>
                <a:gd name="connsiteX28" fmla="*/ 1745078 w 2495698"/>
                <a:gd name="connsiteY28" fmla="*/ 2455696 h 2531525"/>
                <a:gd name="connsiteX29" fmla="*/ 1507869 w 2495698"/>
                <a:gd name="connsiteY29" fmla="*/ 2249759 h 2531525"/>
                <a:gd name="connsiteX30" fmla="*/ 1251837 w 2495698"/>
                <a:gd name="connsiteY30" fmla="*/ 2272543 h 2531525"/>
                <a:gd name="connsiteX31" fmla="*/ 1108065 w 2495698"/>
                <a:gd name="connsiteY31" fmla="*/ 2531525 h 2531525"/>
                <a:gd name="connsiteX32" fmla="*/ 739291 w 2495698"/>
                <a:gd name="connsiteY32" fmla="*/ 2432713 h 2531525"/>
                <a:gd name="connsiteX33" fmla="*/ 744274 w 2495698"/>
                <a:gd name="connsiteY33" fmla="*/ 2136543 h 2531525"/>
                <a:gd name="connsiteX34" fmla="*/ 535891 w 2495698"/>
                <a:gd name="connsiteY34" fmla="*/ 1973098 h 2531525"/>
                <a:gd name="connsiteX35" fmla="*/ 540671 w 2495698"/>
                <a:gd name="connsiteY35" fmla="*/ 1983347 h 2531525"/>
                <a:gd name="connsiteX36" fmla="*/ 232276 w 2495698"/>
                <a:gd name="connsiteY36" fmla="*/ 2043090 h 2531525"/>
                <a:gd name="connsiteX37" fmla="*/ 70927 w 2495698"/>
                <a:gd name="connsiteY37" fmla="*/ 1697078 h 2531525"/>
                <a:gd name="connsiteX38" fmla="*/ 279495 w 2495698"/>
                <a:gd name="connsiteY38" fmla="*/ 1527966 h 2531525"/>
                <a:gd name="connsiteX39" fmla="*/ 245586 w 2495698"/>
                <a:gd name="connsiteY39" fmla="*/ 1274796 h 2531525"/>
                <a:gd name="connsiteX40" fmla="*/ 0 w 2495698"/>
                <a:gd name="connsiteY40" fmla="*/ 1138462 h 2531525"/>
                <a:gd name="connsiteX41" fmla="*/ 98812 w 2495698"/>
                <a:gd name="connsiteY41" fmla="*/ 769689 h 2531525"/>
                <a:gd name="connsiteX42" fmla="*/ 380240 w 2495698"/>
                <a:gd name="connsiteY42" fmla="*/ 774423 h 2531525"/>
                <a:gd name="connsiteX43" fmla="*/ 516679 w 2495698"/>
                <a:gd name="connsiteY43" fmla="*/ 590627 h 2531525"/>
                <a:gd name="connsiteX44" fmla="*/ 422419 w 2495698"/>
                <a:gd name="connsiteY44" fmla="*/ 299900 h 2531525"/>
                <a:gd name="connsiteX45" fmla="*/ 746189 w 2495698"/>
                <a:gd name="connsiteY45" fmla="*/ 97585 h 2531525"/>
                <a:gd name="connsiteX46" fmla="*/ 972292 w 2495698"/>
                <a:gd name="connsiteY46" fmla="*/ 315656 h 2531525"/>
                <a:gd name="connsiteX47" fmla="*/ 970019 w 2495698"/>
                <a:gd name="connsiteY47" fmla="*/ 317076 h 2531525"/>
                <a:gd name="connsiteX48" fmla="*/ 1248316 w 2495698"/>
                <a:gd name="connsiteY48" fmla="*/ 277231 h 2531525"/>
                <a:gd name="connsiteX49" fmla="*/ 1238669 w 2495698"/>
                <a:gd name="connsiteY49" fmla="*/ 274647 h 2531525"/>
                <a:gd name="connsiteX50" fmla="*/ 1391137 w 2495698"/>
                <a:gd name="connsiteY50" fmla="*/ 0 h 2531525"/>
                <a:gd name="connsiteX51" fmla="*/ 1759910 w 2495698"/>
                <a:gd name="connsiteY51" fmla="*/ 98812 h 2531525"/>
                <a:gd name="connsiteX0" fmla="*/ 1365628 w 2495698"/>
                <a:gd name="connsiteY0" fmla="*/ 832740 h 2531525"/>
                <a:gd name="connsiteX1" fmla="*/ 804861 w 2495698"/>
                <a:gd name="connsiteY1" fmla="*/ 1156499 h 2531525"/>
                <a:gd name="connsiteX2" fmla="*/ 1128620 w 2495698"/>
                <a:gd name="connsiteY2" fmla="*/ 1717266 h 2531525"/>
                <a:gd name="connsiteX3" fmla="*/ 1689387 w 2495698"/>
                <a:gd name="connsiteY3" fmla="*/ 1393507 h 2531525"/>
                <a:gd name="connsiteX4" fmla="*/ 1365628 w 2495698"/>
                <a:gd name="connsiteY4" fmla="*/ 832740 h 2531525"/>
                <a:gd name="connsiteX5" fmla="*/ 1447099 w 2495698"/>
                <a:gd name="connsiteY5" fmla="*/ 528685 h 2531525"/>
                <a:gd name="connsiteX6" fmla="*/ 1993442 w 2495698"/>
                <a:gd name="connsiteY6" fmla="*/ 1474978 h 2531525"/>
                <a:gd name="connsiteX7" fmla="*/ 1047149 w 2495698"/>
                <a:gd name="connsiteY7" fmla="*/ 2021321 h 2531525"/>
                <a:gd name="connsiteX8" fmla="*/ 500806 w 2495698"/>
                <a:gd name="connsiteY8" fmla="*/ 1075027 h 2531525"/>
                <a:gd name="connsiteX9" fmla="*/ 1447099 w 2495698"/>
                <a:gd name="connsiteY9" fmla="*/ 528685 h 2531525"/>
                <a:gd name="connsiteX10" fmla="*/ 1476725 w 2495698"/>
                <a:gd name="connsiteY10" fmla="*/ 418119 h 2531525"/>
                <a:gd name="connsiteX11" fmla="*/ 390240 w 2495698"/>
                <a:gd name="connsiteY11" fmla="*/ 1045401 h 2531525"/>
                <a:gd name="connsiteX12" fmla="*/ 1017523 w 2495698"/>
                <a:gd name="connsiteY12" fmla="*/ 2131887 h 2531525"/>
                <a:gd name="connsiteX13" fmla="*/ 2104008 w 2495698"/>
                <a:gd name="connsiteY13" fmla="*/ 1504604 h 2531525"/>
                <a:gd name="connsiteX14" fmla="*/ 1476725 w 2495698"/>
                <a:gd name="connsiteY14" fmla="*/ 418119 h 2531525"/>
                <a:gd name="connsiteX15" fmla="*/ 1759910 w 2495698"/>
                <a:gd name="connsiteY15" fmla="*/ 98812 h 2531525"/>
                <a:gd name="connsiteX16" fmla="*/ 1754625 w 2495698"/>
                <a:gd name="connsiteY16" fmla="*/ 412897 h 2531525"/>
                <a:gd name="connsiteX17" fmla="*/ 1744979 w 2495698"/>
                <a:gd name="connsiteY17" fmla="*/ 410312 h 2531525"/>
                <a:gd name="connsiteX18" fmla="*/ 1954704 w 2495698"/>
                <a:gd name="connsiteY18" fmla="*/ 573108 h 2531525"/>
                <a:gd name="connsiteX19" fmla="*/ 2234317 w 2495698"/>
                <a:gd name="connsiteY19" fmla="*/ 503581 h 2531525"/>
                <a:gd name="connsiteX20" fmla="*/ 2413554 w 2495698"/>
                <a:gd name="connsiteY20" fmla="*/ 840674 h 2531525"/>
                <a:gd name="connsiteX21" fmla="*/ 2214321 w 2495698"/>
                <a:gd name="connsiteY21" fmla="*/ 1020292 h 2531525"/>
                <a:gd name="connsiteX22" fmla="*/ 2246841 w 2495698"/>
                <a:gd name="connsiteY22" fmla="*/ 1303347 h 2531525"/>
                <a:gd name="connsiteX23" fmla="*/ 2495698 w 2495698"/>
                <a:gd name="connsiteY23" fmla="*/ 1441496 h 2531525"/>
                <a:gd name="connsiteX24" fmla="*/ 2396885 w 2495698"/>
                <a:gd name="connsiteY24" fmla="*/ 1810269 h 2531525"/>
                <a:gd name="connsiteX25" fmla="*/ 2094912 w 2495698"/>
                <a:gd name="connsiteY25" fmla="*/ 1805190 h 2531525"/>
                <a:gd name="connsiteX26" fmla="*/ 1958644 w 2495698"/>
                <a:gd name="connsiteY26" fmla="*/ 1977881 h 2531525"/>
                <a:gd name="connsiteX27" fmla="*/ 2057814 w 2495698"/>
                <a:gd name="connsiteY27" fmla="*/ 2236715 h 2531525"/>
                <a:gd name="connsiteX28" fmla="*/ 1745078 w 2495698"/>
                <a:gd name="connsiteY28" fmla="*/ 2455696 h 2531525"/>
                <a:gd name="connsiteX29" fmla="*/ 1507869 w 2495698"/>
                <a:gd name="connsiteY29" fmla="*/ 2249759 h 2531525"/>
                <a:gd name="connsiteX30" fmla="*/ 1251837 w 2495698"/>
                <a:gd name="connsiteY30" fmla="*/ 2272543 h 2531525"/>
                <a:gd name="connsiteX31" fmla="*/ 1108065 w 2495698"/>
                <a:gd name="connsiteY31" fmla="*/ 2531525 h 2531525"/>
                <a:gd name="connsiteX32" fmla="*/ 739291 w 2495698"/>
                <a:gd name="connsiteY32" fmla="*/ 2432713 h 2531525"/>
                <a:gd name="connsiteX33" fmla="*/ 744274 w 2495698"/>
                <a:gd name="connsiteY33" fmla="*/ 2136543 h 2531525"/>
                <a:gd name="connsiteX34" fmla="*/ 535891 w 2495698"/>
                <a:gd name="connsiteY34" fmla="*/ 1973098 h 2531525"/>
                <a:gd name="connsiteX35" fmla="*/ 540671 w 2495698"/>
                <a:gd name="connsiteY35" fmla="*/ 1983347 h 2531525"/>
                <a:gd name="connsiteX36" fmla="*/ 232276 w 2495698"/>
                <a:gd name="connsiteY36" fmla="*/ 2043090 h 2531525"/>
                <a:gd name="connsiteX37" fmla="*/ 70927 w 2495698"/>
                <a:gd name="connsiteY37" fmla="*/ 1697078 h 2531525"/>
                <a:gd name="connsiteX38" fmla="*/ 279495 w 2495698"/>
                <a:gd name="connsiteY38" fmla="*/ 1527966 h 2531525"/>
                <a:gd name="connsiteX39" fmla="*/ 245586 w 2495698"/>
                <a:gd name="connsiteY39" fmla="*/ 1274796 h 2531525"/>
                <a:gd name="connsiteX40" fmla="*/ 0 w 2495698"/>
                <a:gd name="connsiteY40" fmla="*/ 1138462 h 2531525"/>
                <a:gd name="connsiteX41" fmla="*/ 98812 w 2495698"/>
                <a:gd name="connsiteY41" fmla="*/ 769689 h 2531525"/>
                <a:gd name="connsiteX42" fmla="*/ 380240 w 2495698"/>
                <a:gd name="connsiteY42" fmla="*/ 774423 h 2531525"/>
                <a:gd name="connsiteX43" fmla="*/ 516679 w 2495698"/>
                <a:gd name="connsiteY43" fmla="*/ 590627 h 2531525"/>
                <a:gd name="connsiteX44" fmla="*/ 422419 w 2495698"/>
                <a:gd name="connsiteY44" fmla="*/ 299900 h 2531525"/>
                <a:gd name="connsiteX45" fmla="*/ 746189 w 2495698"/>
                <a:gd name="connsiteY45" fmla="*/ 97585 h 2531525"/>
                <a:gd name="connsiteX46" fmla="*/ 972292 w 2495698"/>
                <a:gd name="connsiteY46" fmla="*/ 315656 h 2531525"/>
                <a:gd name="connsiteX47" fmla="*/ 970019 w 2495698"/>
                <a:gd name="connsiteY47" fmla="*/ 317076 h 2531525"/>
                <a:gd name="connsiteX48" fmla="*/ 1248316 w 2495698"/>
                <a:gd name="connsiteY48" fmla="*/ 277231 h 2531525"/>
                <a:gd name="connsiteX49" fmla="*/ 1238669 w 2495698"/>
                <a:gd name="connsiteY49" fmla="*/ 274647 h 2531525"/>
                <a:gd name="connsiteX50" fmla="*/ 1391137 w 2495698"/>
                <a:gd name="connsiteY50" fmla="*/ 0 h 2531525"/>
                <a:gd name="connsiteX51" fmla="*/ 1759910 w 2495698"/>
                <a:gd name="connsiteY51" fmla="*/ 98812 h 2531525"/>
                <a:gd name="connsiteX0" fmla="*/ 1365628 w 2495698"/>
                <a:gd name="connsiteY0" fmla="*/ 832740 h 2531525"/>
                <a:gd name="connsiteX1" fmla="*/ 804861 w 2495698"/>
                <a:gd name="connsiteY1" fmla="*/ 1156499 h 2531525"/>
                <a:gd name="connsiteX2" fmla="*/ 1128620 w 2495698"/>
                <a:gd name="connsiteY2" fmla="*/ 1717266 h 2531525"/>
                <a:gd name="connsiteX3" fmla="*/ 1689387 w 2495698"/>
                <a:gd name="connsiteY3" fmla="*/ 1393507 h 2531525"/>
                <a:gd name="connsiteX4" fmla="*/ 1365628 w 2495698"/>
                <a:gd name="connsiteY4" fmla="*/ 832740 h 2531525"/>
                <a:gd name="connsiteX5" fmla="*/ 1447099 w 2495698"/>
                <a:gd name="connsiteY5" fmla="*/ 528685 h 2531525"/>
                <a:gd name="connsiteX6" fmla="*/ 1993442 w 2495698"/>
                <a:gd name="connsiteY6" fmla="*/ 1474978 h 2531525"/>
                <a:gd name="connsiteX7" fmla="*/ 1047149 w 2495698"/>
                <a:gd name="connsiteY7" fmla="*/ 2021321 h 2531525"/>
                <a:gd name="connsiteX8" fmla="*/ 500806 w 2495698"/>
                <a:gd name="connsiteY8" fmla="*/ 1075027 h 2531525"/>
                <a:gd name="connsiteX9" fmla="*/ 1447099 w 2495698"/>
                <a:gd name="connsiteY9" fmla="*/ 528685 h 2531525"/>
                <a:gd name="connsiteX10" fmla="*/ 1476725 w 2495698"/>
                <a:gd name="connsiteY10" fmla="*/ 418119 h 2531525"/>
                <a:gd name="connsiteX11" fmla="*/ 390240 w 2495698"/>
                <a:gd name="connsiteY11" fmla="*/ 1045401 h 2531525"/>
                <a:gd name="connsiteX12" fmla="*/ 1017523 w 2495698"/>
                <a:gd name="connsiteY12" fmla="*/ 2131887 h 2531525"/>
                <a:gd name="connsiteX13" fmla="*/ 2104008 w 2495698"/>
                <a:gd name="connsiteY13" fmla="*/ 1504604 h 2531525"/>
                <a:gd name="connsiteX14" fmla="*/ 1476725 w 2495698"/>
                <a:gd name="connsiteY14" fmla="*/ 418119 h 2531525"/>
                <a:gd name="connsiteX15" fmla="*/ 1759910 w 2495698"/>
                <a:gd name="connsiteY15" fmla="*/ 98812 h 2531525"/>
                <a:gd name="connsiteX16" fmla="*/ 1754625 w 2495698"/>
                <a:gd name="connsiteY16" fmla="*/ 412897 h 2531525"/>
                <a:gd name="connsiteX17" fmla="*/ 1744979 w 2495698"/>
                <a:gd name="connsiteY17" fmla="*/ 410312 h 2531525"/>
                <a:gd name="connsiteX18" fmla="*/ 1954704 w 2495698"/>
                <a:gd name="connsiteY18" fmla="*/ 573108 h 2531525"/>
                <a:gd name="connsiteX19" fmla="*/ 2234317 w 2495698"/>
                <a:gd name="connsiteY19" fmla="*/ 503581 h 2531525"/>
                <a:gd name="connsiteX20" fmla="*/ 2413554 w 2495698"/>
                <a:gd name="connsiteY20" fmla="*/ 840674 h 2531525"/>
                <a:gd name="connsiteX21" fmla="*/ 2214321 w 2495698"/>
                <a:gd name="connsiteY21" fmla="*/ 1020292 h 2531525"/>
                <a:gd name="connsiteX22" fmla="*/ 2246841 w 2495698"/>
                <a:gd name="connsiteY22" fmla="*/ 1303347 h 2531525"/>
                <a:gd name="connsiteX23" fmla="*/ 2495698 w 2495698"/>
                <a:gd name="connsiteY23" fmla="*/ 1441496 h 2531525"/>
                <a:gd name="connsiteX24" fmla="*/ 2396885 w 2495698"/>
                <a:gd name="connsiteY24" fmla="*/ 1810269 h 2531525"/>
                <a:gd name="connsiteX25" fmla="*/ 2094912 w 2495698"/>
                <a:gd name="connsiteY25" fmla="*/ 1805190 h 2531525"/>
                <a:gd name="connsiteX26" fmla="*/ 1958644 w 2495698"/>
                <a:gd name="connsiteY26" fmla="*/ 1977881 h 2531525"/>
                <a:gd name="connsiteX27" fmla="*/ 2057814 w 2495698"/>
                <a:gd name="connsiteY27" fmla="*/ 2236715 h 2531525"/>
                <a:gd name="connsiteX28" fmla="*/ 1745078 w 2495698"/>
                <a:gd name="connsiteY28" fmla="*/ 2455696 h 2531525"/>
                <a:gd name="connsiteX29" fmla="*/ 1507869 w 2495698"/>
                <a:gd name="connsiteY29" fmla="*/ 2249759 h 2531525"/>
                <a:gd name="connsiteX30" fmla="*/ 1251837 w 2495698"/>
                <a:gd name="connsiteY30" fmla="*/ 2272543 h 2531525"/>
                <a:gd name="connsiteX31" fmla="*/ 1108065 w 2495698"/>
                <a:gd name="connsiteY31" fmla="*/ 2531525 h 2531525"/>
                <a:gd name="connsiteX32" fmla="*/ 739291 w 2495698"/>
                <a:gd name="connsiteY32" fmla="*/ 2432713 h 2531525"/>
                <a:gd name="connsiteX33" fmla="*/ 744274 w 2495698"/>
                <a:gd name="connsiteY33" fmla="*/ 2136543 h 2531525"/>
                <a:gd name="connsiteX34" fmla="*/ 535891 w 2495698"/>
                <a:gd name="connsiteY34" fmla="*/ 1973098 h 2531525"/>
                <a:gd name="connsiteX35" fmla="*/ 540671 w 2495698"/>
                <a:gd name="connsiteY35" fmla="*/ 1983347 h 2531525"/>
                <a:gd name="connsiteX36" fmla="*/ 232276 w 2495698"/>
                <a:gd name="connsiteY36" fmla="*/ 2043090 h 2531525"/>
                <a:gd name="connsiteX37" fmla="*/ 70927 w 2495698"/>
                <a:gd name="connsiteY37" fmla="*/ 1697078 h 2531525"/>
                <a:gd name="connsiteX38" fmla="*/ 279495 w 2495698"/>
                <a:gd name="connsiteY38" fmla="*/ 1527966 h 2531525"/>
                <a:gd name="connsiteX39" fmla="*/ 245586 w 2495698"/>
                <a:gd name="connsiteY39" fmla="*/ 1274796 h 2531525"/>
                <a:gd name="connsiteX40" fmla="*/ 0 w 2495698"/>
                <a:gd name="connsiteY40" fmla="*/ 1138462 h 2531525"/>
                <a:gd name="connsiteX41" fmla="*/ 98812 w 2495698"/>
                <a:gd name="connsiteY41" fmla="*/ 769689 h 2531525"/>
                <a:gd name="connsiteX42" fmla="*/ 380240 w 2495698"/>
                <a:gd name="connsiteY42" fmla="*/ 774423 h 2531525"/>
                <a:gd name="connsiteX43" fmla="*/ 516679 w 2495698"/>
                <a:gd name="connsiteY43" fmla="*/ 590627 h 2531525"/>
                <a:gd name="connsiteX44" fmla="*/ 422419 w 2495698"/>
                <a:gd name="connsiteY44" fmla="*/ 299900 h 2531525"/>
                <a:gd name="connsiteX45" fmla="*/ 746189 w 2495698"/>
                <a:gd name="connsiteY45" fmla="*/ 97585 h 2531525"/>
                <a:gd name="connsiteX46" fmla="*/ 972292 w 2495698"/>
                <a:gd name="connsiteY46" fmla="*/ 315656 h 2531525"/>
                <a:gd name="connsiteX47" fmla="*/ 970019 w 2495698"/>
                <a:gd name="connsiteY47" fmla="*/ 317076 h 2531525"/>
                <a:gd name="connsiteX48" fmla="*/ 1248316 w 2495698"/>
                <a:gd name="connsiteY48" fmla="*/ 277231 h 2531525"/>
                <a:gd name="connsiteX49" fmla="*/ 1238669 w 2495698"/>
                <a:gd name="connsiteY49" fmla="*/ 274647 h 2531525"/>
                <a:gd name="connsiteX50" fmla="*/ 1391137 w 2495698"/>
                <a:gd name="connsiteY50" fmla="*/ 0 h 2531525"/>
                <a:gd name="connsiteX51" fmla="*/ 1759910 w 2495698"/>
                <a:gd name="connsiteY51" fmla="*/ 98812 h 2531525"/>
                <a:gd name="connsiteX0" fmla="*/ 1365628 w 2495698"/>
                <a:gd name="connsiteY0" fmla="*/ 832740 h 2531525"/>
                <a:gd name="connsiteX1" fmla="*/ 804861 w 2495698"/>
                <a:gd name="connsiteY1" fmla="*/ 1156499 h 2531525"/>
                <a:gd name="connsiteX2" fmla="*/ 1128620 w 2495698"/>
                <a:gd name="connsiteY2" fmla="*/ 1717266 h 2531525"/>
                <a:gd name="connsiteX3" fmla="*/ 1689387 w 2495698"/>
                <a:gd name="connsiteY3" fmla="*/ 1393507 h 2531525"/>
                <a:gd name="connsiteX4" fmla="*/ 1365628 w 2495698"/>
                <a:gd name="connsiteY4" fmla="*/ 832740 h 2531525"/>
                <a:gd name="connsiteX5" fmla="*/ 1447099 w 2495698"/>
                <a:gd name="connsiteY5" fmla="*/ 528685 h 2531525"/>
                <a:gd name="connsiteX6" fmla="*/ 1993442 w 2495698"/>
                <a:gd name="connsiteY6" fmla="*/ 1474978 h 2531525"/>
                <a:gd name="connsiteX7" fmla="*/ 1047149 w 2495698"/>
                <a:gd name="connsiteY7" fmla="*/ 2021321 h 2531525"/>
                <a:gd name="connsiteX8" fmla="*/ 500806 w 2495698"/>
                <a:gd name="connsiteY8" fmla="*/ 1075027 h 2531525"/>
                <a:gd name="connsiteX9" fmla="*/ 1447099 w 2495698"/>
                <a:gd name="connsiteY9" fmla="*/ 528685 h 2531525"/>
                <a:gd name="connsiteX10" fmla="*/ 1476725 w 2495698"/>
                <a:gd name="connsiteY10" fmla="*/ 418119 h 2531525"/>
                <a:gd name="connsiteX11" fmla="*/ 390240 w 2495698"/>
                <a:gd name="connsiteY11" fmla="*/ 1045401 h 2531525"/>
                <a:gd name="connsiteX12" fmla="*/ 1017523 w 2495698"/>
                <a:gd name="connsiteY12" fmla="*/ 2131887 h 2531525"/>
                <a:gd name="connsiteX13" fmla="*/ 2104008 w 2495698"/>
                <a:gd name="connsiteY13" fmla="*/ 1504604 h 2531525"/>
                <a:gd name="connsiteX14" fmla="*/ 1476725 w 2495698"/>
                <a:gd name="connsiteY14" fmla="*/ 418119 h 2531525"/>
                <a:gd name="connsiteX15" fmla="*/ 1759910 w 2495698"/>
                <a:gd name="connsiteY15" fmla="*/ 98812 h 2531525"/>
                <a:gd name="connsiteX16" fmla="*/ 1754625 w 2495698"/>
                <a:gd name="connsiteY16" fmla="*/ 412897 h 2531525"/>
                <a:gd name="connsiteX17" fmla="*/ 1744979 w 2495698"/>
                <a:gd name="connsiteY17" fmla="*/ 410312 h 2531525"/>
                <a:gd name="connsiteX18" fmla="*/ 1954704 w 2495698"/>
                <a:gd name="connsiteY18" fmla="*/ 573108 h 2531525"/>
                <a:gd name="connsiteX19" fmla="*/ 2234317 w 2495698"/>
                <a:gd name="connsiteY19" fmla="*/ 503581 h 2531525"/>
                <a:gd name="connsiteX20" fmla="*/ 2413554 w 2495698"/>
                <a:gd name="connsiteY20" fmla="*/ 840674 h 2531525"/>
                <a:gd name="connsiteX21" fmla="*/ 2214321 w 2495698"/>
                <a:gd name="connsiteY21" fmla="*/ 1020292 h 2531525"/>
                <a:gd name="connsiteX22" fmla="*/ 2246841 w 2495698"/>
                <a:gd name="connsiteY22" fmla="*/ 1303347 h 2531525"/>
                <a:gd name="connsiteX23" fmla="*/ 2495698 w 2495698"/>
                <a:gd name="connsiteY23" fmla="*/ 1441496 h 2531525"/>
                <a:gd name="connsiteX24" fmla="*/ 2396885 w 2495698"/>
                <a:gd name="connsiteY24" fmla="*/ 1810269 h 2531525"/>
                <a:gd name="connsiteX25" fmla="*/ 2094912 w 2495698"/>
                <a:gd name="connsiteY25" fmla="*/ 1805190 h 2531525"/>
                <a:gd name="connsiteX26" fmla="*/ 1958644 w 2495698"/>
                <a:gd name="connsiteY26" fmla="*/ 1977881 h 2531525"/>
                <a:gd name="connsiteX27" fmla="*/ 2057814 w 2495698"/>
                <a:gd name="connsiteY27" fmla="*/ 2236715 h 2531525"/>
                <a:gd name="connsiteX28" fmla="*/ 1745078 w 2495698"/>
                <a:gd name="connsiteY28" fmla="*/ 2455696 h 2531525"/>
                <a:gd name="connsiteX29" fmla="*/ 1507869 w 2495698"/>
                <a:gd name="connsiteY29" fmla="*/ 2249759 h 2531525"/>
                <a:gd name="connsiteX30" fmla="*/ 1251837 w 2495698"/>
                <a:gd name="connsiteY30" fmla="*/ 2272543 h 2531525"/>
                <a:gd name="connsiteX31" fmla="*/ 1108065 w 2495698"/>
                <a:gd name="connsiteY31" fmla="*/ 2531525 h 2531525"/>
                <a:gd name="connsiteX32" fmla="*/ 739291 w 2495698"/>
                <a:gd name="connsiteY32" fmla="*/ 2432713 h 2531525"/>
                <a:gd name="connsiteX33" fmla="*/ 744274 w 2495698"/>
                <a:gd name="connsiteY33" fmla="*/ 2136543 h 2531525"/>
                <a:gd name="connsiteX34" fmla="*/ 535891 w 2495698"/>
                <a:gd name="connsiteY34" fmla="*/ 1973098 h 2531525"/>
                <a:gd name="connsiteX35" fmla="*/ 540671 w 2495698"/>
                <a:gd name="connsiteY35" fmla="*/ 1983347 h 2531525"/>
                <a:gd name="connsiteX36" fmla="*/ 232276 w 2495698"/>
                <a:gd name="connsiteY36" fmla="*/ 2043090 h 2531525"/>
                <a:gd name="connsiteX37" fmla="*/ 70927 w 2495698"/>
                <a:gd name="connsiteY37" fmla="*/ 1697078 h 2531525"/>
                <a:gd name="connsiteX38" fmla="*/ 279495 w 2495698"/>
                <a:gd name="connsiteY38" fmla="*/ 1527966 h 2531525"/>
                <a:gd name="connsiteX39" fmla="*/ 245586 w 2495698"/>
                <a:gd name="connsiteY39" fmla="*/ 1274796 h 2531525"/>
                <a:gd name="connsiteX40" fmla="*/ 0 w 2495698"/>
                <a:gd name="connsiteY40" fmla="*/ 1138462 h 2531525"/>
                <a:gd name="connsiteX41" fmla="*/ 98812 w 2495698"/>
                <a:gd name="connsiteY41" fmla="*/ 769689 h 2531525"/>
                <a:gd name="connsiteX42" fmla="*/ 380240 w 2495698"/>
                <a:gd name="connsiteY42" fmla="*/ 774423 h 2531525"/>
                <a:gd name="connsiteX43" fmla="*/ 516679 w 2495698"/>
                <a:gd name="connsiteY43" fmla="*/ 590627 h 2531525"/>
                <a:gd name="connsiteX44" fmla="*/ 422419 w 2495698"/>
                <a:gd name="connsiteY44" fmla="*/ 299900 h 2531525"/>
                <a:gd name="connsiteX45" fmla="*/ 746189 w 2495698"/>
                <a:gd name="connsiteY45" fmla="*/ 97585 h 2531525"/>
                <a:gd name="connsiteX46" fmla="*/ 972292 w 2495698"/>
                <a:gd name="connsiteY46" fmla="*/ 315656 h 2531525"/>
                <a:gd name="connsiteX47" fmla="*/ 970019 w 2495698"/>
                <a:gd name="connsiteY47" fmla="*/ 317076 h 2531525"/>
                <a:gd name="connsiteX48" fmla="*/ 1248316 w 2495698"/>
                <a:gd name="connsiteY48" fmla="*/ 277231 h 2531525"/>
                <a:gd name="connsiteX49" fmla="*/ 1391137 w 2495698"/>
                <a:gd name="connsiteY49" fmla="*/ 0 h 2531525"/>
                <a:gd name="connsiteX50" fmla="*/ 1759910 w 2495698"/>
                <a:gd name="connsiteY50" fmla="*/ 98812 h 2531525"/>
                <a:gd name="connsiteX0" fmla="*/ 1365628 w 2495698"/>
                <a:gd name="connsiteY0" fmla="*/ 832740 h 2531525"/>
                <a:gd name="connsiteX1" fmla="*/ 804861 w 2495698"/>
                <a:gd name="connsiteY1" fmla="*/ 1156499 h 2531525"/>
                <a:gd name="connsiteX2" fmla="*/ 1128620 w 2495698"/>
                <a:gd name="connsiteY2" fmla="*/ 1717266 h 2531525"/>
                <a:gd name="connsiteX3" fmla="*/ 1689387 w 2495698"/>
                <a:gd name="connsiteY3" fmla="*/ 1393507 h 2531525"/>
                <a:gd name="connsiteX4" fmla="*/ 1365628 w 2495698"/>
                <a:gd name="connsiteY4" fmla="*/ 832740 h 2531525"/>
                <a:gd name="connsiteX5" fmla="*/ 1447099 w 2495698"/>
                <a:gd name="connsiteY5" fmla="*/ 528685 h 2531525"/>
                <a:gd name="connsiteX6" fmla="*/ 1993442 w 2495698"/>
                <a:gd name="connsiteY6" fmla="*/ 1474978 h 2531525"/>
                <a:gd name="connsiteX7" fmla="*/ 1047149 w 2495698"/>
                <a:gd name="connsiteY7" fmla="*/ 2021321 h 2531525"/>
                <a:gd name="connsiteX8" fmla="*/ 500806 w 2495698"/>
                <a:gd name="connsiteY8" fmla="*/ 1075027 h 2531525"/>
                <a:gd name="connsiteX9" fmla="*/ 1447099 w 2495698"/>
                <a:gd name="connsiteY9" fmla="*/ 528685 h 2531525"/>
                <a:gd name="connsiteX10" fmla="*/ 1476725 w 2495698"/>
                <a:gd name="connsiteY10" fmla="*/ 418119 h 2531525"/>
                <a:gd name="connsiteX11" fmla="*/ 390240 w 2495698"/>
                <a:gd name="connsiteY11" fmla="*/ 1045401 h 2531525"/>
                <a:gd name="connsiteX12" fmla="*/ 1017523 w 2495698"/>
                <a:gd name="connsiteY12" fmla="*/ 2131887 h 2531525"/>
                <a:gd name="connsiteX13" fmla="*/ 2104008 w 2495698"/>
                <a:gd name="connsiteY13" fmla="*/ 1504604 h 2531525"/>
                <a:gd name="connsiteX14" fmla="*/ 1476725 w 2495698"/>
                <a:gd name="connsiteY14" fmla="*/ 418119 h 2531525"/>
                <a:gd name="connsiteX15" fmla="*/ 1759910 w 2495698"/>
                <a:gd name="connsiteY15" fmla="*/ 98812 h 2531525"/>
                <a:gd name="connsiteX16" fmla="*/ 1754625 w 2495698"/>
                <a:gd name="connsiteY16" fmla="*/ 412897 h 2531525"/>
                <a:gd name="connsiteX17" fmla="*/ 1744979 w 2495698"/>
                <a:gd name="connsiteY17" fmla="*/ 410312 h 2531525"/>
                <a:gd name="connsiteX18" fmla="*/ 1954704 w 2495698"/>
                <a:gd name="connsiteY18" fmla="*/ 573108 h 2531525"/>
                <a:gd name="connsiteX19" fmla="*/ 2234317 w 2495698"/>
                <a:gd name="connsiteY19" fmla="*/ 503581 h 2531525"/>
                <a:gd name="connsiteX20" fmla="*/ 2413554 w 2495698"/>
                <a:gd name="connsiteY20" fmla="*/ 840674 h 2531525"/>
                <a:gd name="connsiteX21" fmla="*/ 2214321 w 2495698"/>
                <a:gd name="connsiteY21" fmla="*/ 1020292 h 2531525"/>
                <a:gd name="connsiteX22" fmla="*/ 2246841 w 2495698"/>
                <a:gd name="connsiteY22" fmla="*/ 1303347 h 2531525"/>
                <a:gd name="connsiteX23" fmla="*/ 2495698 w 2495698"/>
                <a:gd name="connsiteY23" fmla="*/ 1441496 h 2531525"/>
                <a:gd name="connsiteX24" fmla="*/ 2396885 w 2495698"/>
                <a:gd name="connsiteY24" fmla="*/ 1810269 h 2531525"/>
                <a:gd name="connsiteX25" fmla="*/ 2094912 w 2495698"/>
                <a:gd name="connsiteY25" fmla="*/ 1805190 h 2531525"/>
                <a:gd name="connsiteX26" fmla="*/ 1958644 w 2495698"/>
                <a:gd name="connsiteY26" fmla="*/ 1977881 h 2531525"/>
                <a:gd name="connsiteX27" fmla="*/ 2057814 w 2495698"/>
                <a:gd name="connsiteY27" fmla="*/ 2236715 h 2531525"/>
                <a:gd name="connsiteX28" fmla="*/ 1745078 w 2495698"/>
                <a:gd name="connsiteY28" fmla="*/ 2455696 h 2531525"/>
                <a:gd name="connsiteX29" fmla="*/ 1507869 w 2495698"/>
                <a:gd name="connsiteY29" fmla="*/ 2249759 h 2531525"/>
                <a:gd name="connsiteX30" fmla="*/ 1251837 w 2495698"/>
                <a:gd name="connsiteY30" fmla="*/ 2272543 h 2531525"/>
                <a:gd name="connsiteX31" fmla="*/ 1108065 w 2495698"/>
                <a:gd name="connsiteY31" fmla="*/ 2531525 h 2531525"/>
                <a:gd name="connsiteX32" fmla="*/ 739291 w 2495698"/>
                <a:gd name="connsiteY32" fmla="*/ 2432713 h 2531525"/>
                <a:gd name="connsiteX33" fmla="*/ 744274 w 2495698"/>
                <a:gd name="connsiteY33" fmla="*/ 2136543 h 2531525"/>
                <a:gd name="connsiteX34" fmla="*/ 535891 w 2495698"/>
                <a:gd name="connsiteY34" fmla="*/ 1973098 h 2531525"/>
                <a:gd name="connsiteX35" fmla="*/ 540671 w 2495698"/>
                <a:gd name="connsiteY35" fmla="*/ 1983347 h 2531525"/>
                <a:gd name="connsiteX36" fmla="*/ 232276 w 2495698"/>
                <a:gd name="connsiteY36" fmla="*/ 2043090 h 2531525"/>
                <a:gd name="connsiteX37" fmla="*/ 70927 w 2495698"/>
                <a:gd name="connsiteY37" fmla="*/ 1697078 h 2531525"/>
                <a:gd name="connsiteX38" fmla="*/ 279495 w 2495698"/>
                <a:gd name="connsiteY38" fmla="*/ 1527966 h 2531525"/>
                <a:gd name="connsiteX39" fmla="*/ 245586 w 2495698"/>
                <a:gd name="connsiteY39" fmla="*/ 1274796 h 2531525"/>
                <a:gd name="connsiteX40" fmla="*/ 0 w 2495698"/>
                <a:gd name="connsiteY40" fmla="*/ 1138462 h 2531525"/>
                <a:gd name="connsiteX41" fmla="*/ 98812 w 2495698"/>
                <a:gd name="connsiteY41" fmla="*/ 769689 h 2531525"/>
                <a:gd name="connsiteX42" fmla="*/ 380240 w 2495698"/>
                <a:gd name="connsiteY42" fmla="*/ 774423 h 2531525"/>
                <a:gd name="connsiteX43" fmla="*/ 516679 w 2495698"/>
                <a:gd name="connsiteY43" fmla="*/ 590627 h 2531525"/>
                <a:gd name="connsiteX44" fmla="*/ 422419 w 2495698"/>
                <a:gd name="connsiteY44" fmla="*/ 299900 h 2531525"/>
                <a:gd name="connsiteX45" fmla="*/ 746189 w 2495698"/>
                <a:gd name="connsiteY45" fmla="*/ 97585 h 2531525"/>
                <a:gd name="connsiteX46" fmla="*/ 972292 w 2495698"/>
                <a:gd name="connsiteY46" fmla="*/ 315656 h 2531525"/>
                <a:gd name="connsiteX47" fmla="*/ 970019 w 2495698"/>
                <a:gd name="connsiteY47" fmla="*/ 317076 h 2531525"/>
                <a:gd name="connsiteX48" fmla="*/ 1248316 w 2495698"/>
                <a:gd name="connsiteY48" fmla="*/ 277231 h 2531525"/>
                <a:gd name="connsiteX49" fmla="*/ 1391137 w 2495698"/>
                <a:gd name="connsiteY49" fmla="*/ 0 h 2531525"/>
                <a:gd name="connsiteX50" fmla="*/ 1759910 w 2495698"/>
                <a:gd name="connsiteY50" fmla="*/ 98812 h 2531525"/>
                <a:gd name="connsiteX0" fmla="*/ 1365628 w 2495698"/>
                <a:gd name="connsiteY0" fmla="*/ 832740 h 2531525"/>
                <a:gd name="connsiteX1" fmla="*/ 804861 w 2495698"/>
                <a:gd name="connsiteY1" fmla="*/ 1156499 h 2531525"/>
                <a:gd name="connsiteX2" fmla="*/ 1128620 w 2495698"/>
                <a:gd name="connsiteY2" fmla="*/ 1717266 h 2531525"/>
                <a:gd name="connsiteX3" fmla="*/ 1689387 w 2495698"/>
                <a:gd name="connsiteY3" fmla="*/ 1393507 h 2531525"/>
                <a:gd name="connsiteX4" fmla="*/ 1365628 w 2495698"/>
                <a:gd name="connsiteY4" fmla="*/ 832740 h 2531525"/>
                <a:gd name="connsiteX5" fmla="*/ 1447099 w 2495698"/>
                <a:gd name="connsiteY5" fmla="*/ 528685 h 2531525"/>
                <a:gd name="connsiteX6" fmla="*/ 1993442 w 2495698"/>
                <a:gd name="connsiteY6" fmla="*/ 1474978 h 2531525"/>
                <a:gd name="connsiteX7" fmla="*/ 1047149 w 2495698"/>
                <a:gd name="connsiteY7" fmla="*/ 2021321 h 2531525"/>
                <a:gd name="connsiteX8" fmla="*/ 500806 w 2495698"/>
                <a:gd name="connsiteY8" fmla="*/ 1075027 h 2531525"/>
                <a:gd name="connsiteX9" fmla="*/ 1447099 w 2495698"/>
                <a:gd name="connsiteY9" fmla="*/ 528685 h 2531525"/>
                <a:gd name="connsiteX10" fmla="*/ 1476725 w 2495698"/>
                <a:gd name="connsiteY10" fmla="*/ 418119 h 2531525"/>
                <a:gd name="connsiteX11" fmla="*/ 390240 w 2495698"/>
                <a:gd name="connsiteY11" fmla="*/ 1045401 h 2531525"/>
                <a:gd name="connsiteX12" fmla="*/ 1017523 w 2495698"/>
                <a:gd name="connsiteY12" fmla="*/ 2131887 h 2531525"/>
                <a:gd name="connsiteX13" fmla="*/ 2104008 w 2495698"/>
                <a:gd name="connsiteY13" fmla="*/ 1504604 h 2531525"/>
                <a:gd name="connsiteX14" fmla="*/ 1476725 w 2495698"/>
                <a:gd name="connsiteY14" fmla="*/ 418119 h 2531525"/>
                <a:gd name="connsiteX15" fmla="*/ 1759910 w 2495698"/>
                <a:gd name="connsiteY15" fmla="*/ 98812 h 2531525"/>
                <a:gd name="connsiteX16" fmla="*/ 1754625 w 2495698"/>
                <a:gd name="connsiteY16" fmla="*/ 412897 h 2531525"/>
                <a:gd name="connsiteX17" fmla="*/ 1744979 w 2495698"/>
                <a:gd name="connsiteY17" fmla="*/ 410312 h 2531525"/>
                <a:gd name="connsiteX18" fmla="*/ 1954704 w 2495698"/>
                <a:gd name="connsiteY18" fmla="*/ 573108 h 2531525"/>
                <a:gd name="connsiteX19" fmla="*/ 2234317 w 2495698"/>
                <a:gd name="connsiteY19" fmla="*/ 503581 h 2531525"/>
                <a:gd name="connsiteX20" fmla="*/ 2413554 w 2495698"/>
                <a:gd name="connsiteY20" fmla="*/ 840674 h 2531525"/>
                <a:gd name="connsiteX21" fmla="*/ 2214321 w 2495698"/>
                <a:gd name="connsiteY21" fmla="*/ 1020292 h 2531525"/>
                <a:gd name="connsiteX22" fmla="*/ 2246841 w 2495698"/>
                <a:gd name="connsiteY22" fmla="*/ 1303347 h 2531525"/>
                <a:gd name="connsiteX23" fmla="*/ 2495698 w 2495698"/>
                <a:gd name="connsiteY23" fmla="*/ 1441496 h 2531525"/>
                <a:gd name="connsiteX24" fmla="*/ 2396885 w 2495698"/>
                <a:gd name="connsiteY24" fmla="*/ 1810269 h 2531525"/>
                <a:gd name="connsiteX25" fmla="*/ 2094912 w 2495698"/>
                <a:gd name="connsiteY25" fmla="*/ 1805190 h 2531525"/>
                <a:gd name="connsiteX26" fmla="*/ 1958644 w 2495698"/>
                <a:gd name="connsiteY26" fmla="*/ 1977881 h 2531525"/>
                <a:gd name="connsiteX27" fmla="*/ 2057814 w 2495698"/>
                <a:gd name="connsiteY27" fmla="*/ 2236715 h 2531525"/>
                <a:gd name="connsiteX28" fmla="*/ 1745078 w 2495698"/>
                <a:gd name="connsiteY28" fmla="*/ 2455696 h 2531525"/>
                <a:gd name="connsiteX29" fmla="*/ 1507869 w 2495698"/>
                <a:gd name="connsiteY29" fmla="*/ 2249759 h 2531525"/>
                <a:gd name="connsiteX30" fmla="*/ 1251837 w 2495698"/>
                <a:gd name="connsiteY30" fmla="*/ 2272543 h 2531525"/>
                <a:gd name="connsiteX31" fmla="*/ 1108065 w 2495698"/>
                <a:gd name="connsiteY31" fmla="*/ 2531525 h 2531525"/>
                <a:gd name="connsiteX32" fmla="*/ 739291 w 2495698"/>
                <a:gd name="connsiteY32" fmla="*/ 2432713 h 2531525"/>
                <a:gd name="connsiteX33" fmla="*/ 744274 w 2495698"/>
                <a:gd name="connsiteY33" fmla="*/ 2136543 h 2531525"/>
                <a:gd name="connsiteX34" fmla="*/ 535891 w 2495698"/>
                <a:gd name="connsiteY34" fmla="*/ 1973098 h 2531525"/>
                <a:gd name="connsiteX35" fmla="*/ 540671 w 2495698"/>
                <a:gd name="connsiteY35" fmla="*/ 1983347 h 2531525"/>
                <a:gd name="connsiteX36" fmla="*/ 232276 w 2495698"/>
                <a:gd name="connsiteY36" fmla="*/ 2043090 h 2531525"/>
                <a:gd name="connsiteX37" fmla="*/ 70927 w 2495698"/>
                <a:gd name="connsiteY37" fmla="*/ 1697078 h 2531525"/>
                <a:gd name="connsiteX38" fmla="*/ 279495 w 2495698"/>
                <a:gd name="connsiteY38" fmla="*/ 1527966 h 2531525"/>
                <a:gd name="connsiteX39" fmla="*/ 245586 w 2495698"/>
                <a:gd name="connsiteY39" fmla="*/ 1274796 h 2531525"/>
                <a:gd name="connsiteX40" fmla="*/ 0 w 2495698"/>
                <a:gd name="connsiteY40" fmla="*/ 1138462 h 2531525"/>
                <a:gd name="connsiteX41" fmla="*/ 98812 w 2495698"/>
                <a:gd name="connsiteY41" fmla="*/ 769689 h 2531525"/>
                <a:gd name="connsiteX42" fmla="*/ 380240 w 2495698"/>
                <a:gd name="connsiteY42" fmla="*/ 774423 h 2531525"/>
                <a:gd name="connsiteX43" fmla="*/ 516679 w 2495698"/>
                <a:gd name="connsiteY43" fmla="*/ 590627 h 2531525"/>
                <a:gd name="connsiteX44" fmla="*/ 422419 w 2495698"/>
                <a:gd name="connsiteY44" fmla="*/ 299900 h 2531525"/>
                <a:gd name="connsiteX45" fmla="*/ 746189 w 2495698"/>
                <a:gd name="connsiteY45" fmla="*/ 97585 h 2531525"/>
                <a:gd name="connsiteX46" fmla="*/ 972292 w 2495698"/>
                <a:gd name="connsiteY46" fmla="*/ 315656 h 2531525"/>
                <a:gd name="connsiteX47" fmla="*/ 970019 w 2495698"/>
                <a:gd name="connsiteY47" fmla="*/ 317076 h 2531525"/>
                <a:gd name="connsiteX48" fmla="*/ 1248316 w 2495698"/>
                <a:gd name="connsiteY48" fmla="*/ 277231 h 2531525"/>
                <a:gd name="connsiteX49" fmla="*/ 1391137 w 2495698"/>
                <a:gd name="connsiteY49" fmla="*/ 0 h 2531525"/>
                <a:gd name="connsiteX50" fmla="*/ 1759910 w 2495698"/>
                <a:gd name="connsiteY50" fmla="*/ 98812 h 2531525"/>
                <a:gd name="connsiteX0" fmla="*/ 1365628 w 2495698"/>
                <a:gd name="connsiteY0" fmla="*/ 832740 h 2531525"/>
                <a:gd name="connsiteX1" fmla="*/ 804861 w 2495698"/>
                <a:gd name="connsiteY1" fmla="*/ 1156499 h 2531525"/>
                <a:gd name="connsiteX2" fmla="*/ 1128620 w 2495698"/>
                <a:gd name="connsiteY2" fmla="*/ 1717266 h 2531525"/>
                <a:gd name="connsiteX3" fmla="*/ 1689387 w 2495698"/>
                <a:gd name="connsiteY3" fmla="*/ 1393507 h 2531525"/>
                <a:gd name="connsiteX4" fmla="*/ 1365628 w 2495698"/>
                <a:gd name="connsiteY4" fmla="*/ 832740 h 2531525"/>
                <a:gd name="connsiteX5" fmla="*/ 1447099 w 2495698"/>
                <a:gd name="connsiteY5" fmla="*/ 528685 h 2531525"/>
                <a:gd name="connsiteX6" fmla="*/ 1993442 w 2495698"/>
                <a:gd name="connsiteY6" fmla="*/ 1474978 h 2531525"/>
                <a:gd name="connsiteX7" fmla="*/ 1047149 w 2495698"/>
                <a:gd name="connsiteY7" fmla="*/ 2021321 h 2531525"/>
                <a:gd name="connsiteX8" fmla="*/ 500806 w 2495698"/>
                <a:gd name="connsiteY8" fmla="*/ 1075027 h 2531525"/>
                <a:gd name="connsiteX9" fmla="*/ 1447099 w 2495698"/>
                <a:gd name="connsiteY9" fmla="*/ 528685 h 2531525"/>
                <a:gd name="connsiteX10" fmla="*/ 1476725 w 2495698"/>
                <a:gd name="connsiteY10" fmla="*/ 418119 h 2531525"/>
                <a:gd name="connsiteX11" fmla="*/ 390240 w 2495698"/>
                <a:gd name="connsiteY11" fmla="*/ 1045401 h 2531525"/>
                <a:gd name="connsiteX12" fmla="*/ 1017523 w 2495698"/>
                <a:gd name="connsiteY12" fmla="*/ 2131887 h 2531525"/>
                <a:gd name="connsiteX13" fmla="*/ 2104008 w 2495698"/>
                <a:gd name="connsiteY13" fmla="*/ 1504604 h 2531525"/>
                <a:gd name="connsiteX14" fmla="*/ 1476725 w 2495698"/>
                <a:gd name="connsiteY14" fmla="*/ 418119 h 2531525"/>
                <a:gd name="connsiteX15" fmla="*/ 1759910 w 2495698"/>
                <a:gd name="connsiteY15" fmla="*/ 98812 h 2531525"/>
                <a:gd name="connsiteX16" fmla="*/ 1754625 w 2495698"/>
                <a:gd name="connsiteY16" fmla="*/ 412897 h 2531525"/>
                <a:gd name="connsiteX17" fmla="*/ 1744979 w 2495698"/>
                <a:gd name="connsiteY17" fmla="*/ 410312 h 2531525"/>
                <a:gd name="connsiteX18" fmla="*/ 1954704 w 2495698"/>
                <a:gd name="connsiteY18" fmla="*/ 573108 h 2531525"/>
                <a:gd name="connsiteX19" fmla="*/ 2234317 w 2495698"/>
                <a:gd name="connsiteY19" fmla="*/ 503581 h 2531525"/>
                <a:gd name="connsiteX20" fmla="*/ 2413554 w 2495698"/>
                <a:gd name="connsiteY20" fmla="*/ 840674 h 2531525"/>
                <a:gd name="connsiteX21" fmla="*/ 2214321 w 2495698"/>
                <a:gd name="connsiteY21" fmla="*/ 1020292 h 2531525"/>
                <a:gd name="connsiteX22" fmla="*/ 2246841 w 2495698"/>
                <a:gd name="connsiteY22" fmla="*/ 1303347 h 2531525"/>
                <a:gd name="connsiteX23" fmla="*/ 2495698 w 2495698"/>
                <a:gd name="connsiteY23" fmla="*/ 1441496 h 2531525"/>
                <a:gd name="connsiteX24" fmla="*/ 2396885 w 2495698"/>
                <a:gd name="connsiteY24" fmla="*/ 1810269 h 2531525"/>
                <a:gd name="connsiteX25" fmla="*/ 2094912 w 2495698"/>
                <a:gd name="connsiteY25" fmla="*/ 1805190 h 2531525"/>
                <a:gd name="connsiteX26" fmla="*/ 1958644 w 2495698"/>
                <a:gd name="connsiteY26" fmla="*/ 1977881 h 2531525"/>
                <a:gd name="connsiteX27" fmla="*/ 2057814 w 2495698"/>
                <a:gd name="connsiteY27" fmla="*/ 2236715 h 2531525"/>
                <a:gd name="connsiteX28" fmla="*/ 1745078 w 2495698"/>
                <a:gd name="connsiteY28" fmla="*/ 2455696 h 2531525"/>
                <a:gd name="connsiteX29" fmla="*/ 1507869 w 2495698"/>
                <a:gd name="connsiteY29" fmla="*/ 2249759 h 2531525"/>
                <a:gd name="connsiteX30" fmla="*/ 1251837 w 2495698"/>
                <a:gd name="connsiteY30" fmla="*/ 2272543 h 2531525"/>
                <a:gd name="connsiteX31" fmla="*/ 1108065 w 2495698"/>
                <a:gd name="connsiteY31" fmla="*/ 2531525 h 2531525"/>
                <a:gd name="connsiteX32" fmla="*/ 739291 w 2495698"/>
                <a:gd name="connsiteY32" fmla="*/ 2432713 h 2531525"/>
                <a:gd name="connsiteX33" fmla="*/ 744274 w 2495698"/>
                <a:gd name="connsiteY33" fmla="*/ 2136543 h 2531525"/>
                <a:gd name="connsiteX34" fmla="*/ 535891 w 2495698"/>
                <a:gd name="connsiteY34" fmla="*/ 1973098 h 2531525"/>
                <a:gd name="connsiteX35" fmla="*/ 540671 w 2495698"/>
                <a:gd name="connsiteY35" fmla="*/ 1983347 h 2531525"/>
                <a:gd name="connsiteX36" fmla="*/ 232276 w 2495698"/>
                <a:gd name="connsiteY36" fmla="*/ 2043090 h 2531525"/>
                <a:gd name="connsiteX37" fmla="*/ 70927 w 2495698"/>
                <a:gd name="connsiteY37" fmla="*/ 1697078 h 2531525"/>
                <a:gd name="connsiteX38" fmla="*/ 279495 w 2495698"/>
                <a:gd name="connsiteY38" fmla="*/ 1527966 h 2531525"/>
                <a:gd name="connsiteX39" fmla="*/ 245586 w 2495698"/>
                <a:gd name="connsiteY39" fmla="*/ 1274796 h 2531525"/>
                <a:gd name="connsiteX40" fmla="*/ 0 w 2495698"/>
                <a:gd name="connsiteY40" fmla="*/ 1138462 h 2531525"/>
                <a:gd name="connsiteX41" fmla="*/ 98812 w 2495698"/>
                <a:gd name="connsiteY41" fmla="*/ 769689 h 2531525"/>
                <a:gd name="connsiteX42" fmla="*/ 380240 w 2495698"/>
                <a:gd name="connsiteY42" fmla="*/ 774423 h 2531525"/>
                <a:gd name="connsiteX43" fmla="*/ 516679 w 2495698"/>
                <a:gd name="connsiteY43" fmla="*/ 590627 h 2531525"/>
                <a:gd name="connsiteX44" fmla="*/ 422419 w 2495698"/>
                <a:gd name="connsiteY44" fmla="*/ 299900 h 2531525"/>
                <a:gd name="connsiteX45" fmla="*/ 746189 w 2495698"/>
                <a:gd name="connsiteY45" fmla="*/ 97585 h 2531525"/>
                <a:gd name="connsiteX46" fmla="*/ 972292 w 2495698"/>
                <a:gd name="connsiteY46" fmla="*/ 315656 h 2531525"/>
                <a:gd name="connsiteX47" fmla="*/ 970019 w 2495698"/>
                <a:gd name="connsiteY47" fmla="*/ 317076 h 2531525"/>
                <a:gd name="connsiteX48" fmla="*/ 1248316 w 2495698"/>
                <a:gd name="connsiteY48" fmla="*/ 277231 h 2531525"/>
                <a:gd name="connsiteX49" fmla="*/ 1391137 w 2495698"/>
                <a:gd name="connsiteY49" fmla="*/ 0 h 2531525"/>
                <a:gd name="connsiteX50" fmla="*/ 1759910 w 2495698"/>
                <a:gd name="connsiteY50" fmla="*/ 98812 h 2531525"/>
                <a:gd name="connsiteX0" fmla="*/ 1365628 w 2495698"/>
                <a:gd name="connsiteY0" fmla="*/ 832740 h 2531525"/>
                <a:gd name="connsiteX1" fmla="*/ 804861 w 2495698"/>
                <a:gd name="connsiteY1" fmla="*/ 1156499 h 2531525"/>
                <a:gd name="connsiteX2" fmla="*/ 1128620 w 2495698"/>
                <a:gd name="connsiteY2" fmla="*/ 1717266 h 2531525"/>
                <a:gd name="connsiteX3" fmla="*/ 1689387 w 2495698"/>
                <a:gd name="connsiteY3" fmla="*/ 1393507 h 2531525"/>
                <a:gd name="connsiteX4" fmla="*/ 1365628 w 2495698"/>
                <a:gd name="connsiteY4" fmla="*/ 832740 h 2531525"/>
                <a:gd name="connsiteX5" fmla="*/ 1447099 w 2495698"/>
                <a:gd name="connsiteY5" fmla="*/ 528685 h 2531525"/>
                <a:gd name="connsiteX6" fmla="*/ 1993442 w 2495698"/>
                <a:gd name="connsiteY6" fmla="*/ 1474978 h 2531525"/>
                <a:gd name="connsiteX7" fmla="*/ 1047149 w 2495698"/>
                <a:gd name="connsiteY7" fmla="*/ 2021321 h 2531525"/>
                <a:gd name="connsiteX8" fmla="*/ 500806 w 2495698"/>
                <a:gd name="connsiteY8" fmla="*/ 1075027 h 2531525"/>
                <a:gd name="connsiteX9" fmla="*/ 1447099 w 2495698"/>
                <a:gd name="connsiteY9" fmla="*/ 528685 h 2531525"/>
                <a:gd name="connsiteX10" fmla="*/ 1476725 w 2495698"/>
                <a:gd name="connsiteY10" fmla="*/ 418119 h 2531525"/>
                <a:gd name="connsiteX11" fmla="*/ 390240 w 2495698"/>
                <a:gd name="connsiteY11" fmla="*/ 1045401 h 2531525"/>
                <a:gd name="connsiteX12" fmla="*/ 1017523 w 2495698"/>
                <a:gd name="connsiteY12" fmla="*/ 2131887 h 2531525"/>
                <a:gd name="connsiteX13" fmla="*/ 2104008 w 2495698"/>
                <a:gd name="connsiteY13" fmla="*/ 1504604 h 2531525"/>
                <a:gd name="connsiteX14" fmla="*/ 1476725 w 2495698"/>
                <a:gd name="connsiteY14" fmla="*/ 418119 h 2531525"/>
                <a:gd name="connsiteX15" fmla="*/ 1759910 w 2495698"/>
                <a:gd name="connsiteY15" fmla="*/ 98812 h 2531525"/>
                <a:gd name="connsiteX16" fmla="*/ 1754625 w 2495698"/>
                <a:gd name="connsiteY16" fmla="*/ 412897 h 2531525"/>
                <a:gd name="connsiteX17" fmla="*/ 1744979 w 2495698"/>
                <a:gd name="connsiteY17" fmla="*/ 410312 h 2531525"/>
                <a:gd name="connsiteX18" fmla="*/ 1954704 w 2495698"/>
                <a:gd name="connsiteY18" fmla="*/ 573108 h 2531525"/>
                <a:gd name="connsiteX19" fmla="*/ 2234317 w 2495698"/>
                <a:gd name="connsiteY19" fmla="*/ 503581 h 2531525"/>
                <a:gd name="connsiteX20" fmla="*/ 2413554 w 2495698"/>
                <a:gd name="connsiteY20" fmla="*/ 840674 h 2531525"/>
                <a:gd name="connsiteX21" fmla="*/ 2214321 w 2495698"/>
                <a:gd name="connsiteY21" fmla="*/ 1020292 h 2531525"/>
                <a:gd name="connsiteX22" fmla="*/ 2246841 w 2495698"/>
                <a:gd name="connsiteY22" fmla="*/ 1303347 h 2531525"/>
                <a:gd name="connsiteX23" fmla="*/ 2495698 w 2495698"/>
                <a:gd name="connsiteY23" fmla="*/ 1441496 h 2531525"/>
                <a:gd name="connsiteX24" fmla="*/ 2396885 w 2495698"/>
                <a:gd name="connsiteY24" fmla="*/ 1810269 h 2531525"/>
                <a:gd name="connsiteX25" fmla="*/ 2094912 w 2495698"/>
                <a:gd name="connsiteY25" fmla="*/ 1805190 h 2531525"/>
                <a:gd name="connsiteX26" fmla="*/ 1958644 w 2495698"/>
                <a:gd name="connsiteY26" fmla="*/ 1977881 h 2531525"/>
                <a:gd name="connsiteX27" fmla="*/ 2057814 w 2495698"/>
                <a:gd name="connsiteY27" fmla="*/ 2236715 h 2531525"/>
                <a:gd name="connsiteX28" fmla="*/ 1745078 w 2495698"/>
                <a:gd name="connsiteY28" fmla="*/ 2455696 h 2531525"/>
                <a:gd name="connsiteX29" fmla="*/ 1507869 w 2495698"/>
                <a:gd name="connsiteY29" fmla="*/ 2249759 h 2531525"/>
                <a:gd name="connsiteX30" fmla="*/ 1251837 w 2495698"/>
                <a:gd name="connsiteY30" fmla="*/ 2272543 h 2531525"/>
                <a:gd name="connsiteX31" fmla="*/ 1108065 w 2495698"/>
                <a:gd name="connsiteY31" fmla="*/ 2531525 h 2531525"/>
                <a:gd name="connsiteX32" fmla="*/ 739291 w 2495698"/>
                <a:gd name="connsiteY32" fmla="*/ 2432713 h 2531525"/>
                <a:gd name="connsiteX33" fmla="*/ 744274 w 2495698"/>
                <a:gd name="connsiteY33" fmla="*/ 2136543 h 2531525"/>
                <a:gd name="connsiteX34" fmla="*/ 535891 w 2495698"/>
                <a:gd name="connsiteY34" fmla="*/ 1973098 h 2531525"/>
                <a:gd name="connsiteX35" fmla="*/ 540671 w 2495698"/>
                <a:gd name="connsiteY35" fmla="*/ 1983347 h 2531525"/>
                <a:gd name="connsiteX36" fmla="*/ 232276 w 2495698"/>
                <a:gd name="connsiteY36" fmla="*/ 2043090 h 2531525"/>
                <a:gd name="connsiteX37" fmla="*/ 70927 w 2495698"/>
                <a:gd name="connsiteY37" fmla="*/ 1697078 h 2531525"/>
                <a:gd name="connsiteX38" fmla="*/ 279495 w 2495698"/>
                <a:gd name="connsiteY38" fmla="*/ 1527966 h 2531525"/>
                <a:gd name="connsiteX39" fmla="*/ 245586 w 2495698"/>
                <a:gd name="connsiteY39" fmla="*/ 1274796 h 2531525"/>
                <a:gd name="connsiteX40" fmla="*/ 0 w 2495698"/>
                <a:gd name="connsiteY40" fmla="*/ 1138462 h 2531525"/>
                <a:gd name="connsiteX41" fmla="*/ 98812 w 2495698"/>
                <a:gd name="connsiteY41" fmla="*/ 769689 h 2531525"/>
                <a:gd name="connsiteX42" fmla="*/ 380240 w 2495698"/>
                <a:gd name="connsiteY42" fmla="*/ 774423 h 2531525"/>
                <a:gd name="connsiteX43" fmla="*/ 516679 w 2495698"/>
                <a:gd name="connsiteY43" fmla="*/ 590627 h 2531525"/>
                <a:gd name="connsiteX44" fmla="*/ 422419 w 2495698"/>
                <a:gd name="connsiteY44" fmla="*/ 299900 h 2531525"/>
                <a:gd name="connsiteX45" fmla="*/ 746189 w 2495698"/>
                <a:gd name="connsiteY45" fmla="*/ 97585 h 2531525"/>
                <a:gd name="connsiteX46" fmla="*/ 972292 w 2495698"/>
                <a:gd name="connsiteY46" fmla="*/ 315656 h 2531525"/>
                <a:gd name="connsiteX47" fmla="*/ 970019 w 2495698"/>
                <a:gd name="connsiteY47" fmla="*/ 317076 h 2531525"/>
                <a:gd name="connsiteX48" fmla="*/ 1248316 w 2495698"/>
                <a:gd name="connsiteY48" fmla="*/ 277231 h 2531525"/>
                <a:gd name="connsiteX49" fmla="*/ 1391137 w 2495698"/>
                <a:gd name="connsiteY49" fmla="*/ 0 h 2531525"/>
                <a:gd name="connsiteX50" fmla="*/ 1759910 w 2495698"/>
                <a:gd name="connsiteY50" fmla="*/ 98812 h 2531525"/>
                <a:gd name="connsiteX0" fmla="*/ 1365628 w 2495698"/>
                <a:gd name="connsiteY0" fmla="*/ 832740 h 2531525"/>
                <a:gd name="connsiteX1" fmla="*/ 804861 w 2495698"/>
                <a:gd name="connsiteY1" fmla="*/ 1156499 h 2531525"/>
                <a:gd name="connsiteX2" fmla="*/ 1128620 w 2495698"/>
                <a:gd name="connsiteY2" fmla="*/ 1717266 h 2531525"/>
                <a:gd name="connsiteX3" fmla="*/ 1689387 w 2495698"/>
                <a:gd name="connsiteY3" fmla="*/ 1393507 h 2531525"/>
                <a:gd name="connsiteX4" fmla="*/ 1365628 w 2495698"/>
                <a:gd name="connsiteY4" fmla="*/ 832740 h 2531525"/>
                <a:gd name="connsiteX5" fmla="*/ 1447099 w 2495698"/>
                <a:gd name="connsiteY5" fmla="*/ 528685 h 2531525"/>
                <a:gd name="connsiteX6" fmla="*/ 1993442 w 2495698"/>
                <a:gd name="connsiteY6" fmla="*/ 1474978 h 2531525"/>
                <a:gd name="connsiteX7" fmla="*/ 1047149 w 2495698"/>
                <a:gd name="connsiteY7" fmla="*/ 2021321 h 2531525"/>
                <a:gd name="connsiteX8" fmla="*/ 500806 w 2495698"/>
                <a:gd name="connsiteY8" fmla="*/ 1075027 h 2531525"/>
                <a:gd name="connsiteX9" fmla="*/ 1447099 w 2495698"/>
                <a:gd name="connsiteY9" fmla="*/ 528685 h 2531525"/>
                <a:gd name="connsiteX10" fmla="*/ 1476725 w 2495698"/>
                <a:gd name="connsiteY10" fmla="*/ 418119 h 2531525"/>
                <a:gd name="connsiteX11" fmla="*/ 390240 w 2495698"/>
                <a:gd name="connsiteY11" fmla="*/ 1045401 h 2531525"/>
                <a:gd name="connsiteX12" fmla="*/ 1017523 w 2495698"/>
                <a:gd name="connsiteY12" fmla="*/ 2131887 h 2531525"/>
                <a:gd name="connsiteX13" fmla="*/ 2104008 w 2495698"/>
                <a:gd name="connsiteY13" fmla="*/ 1504604 h 2531525"/>
                <a:gd name="connsiteX14" fmla="*/ 1476725 w 2495698"/>
                <a:gd name="connsiteY14" fmla="*/ 418119 h 2531525"/>
                <a:gd name="connsiteX15" fmla="*/ 1759910 w 2495698"/>
                <a:gd name="connsiteY15" fmla="*/ 98812 h 2531525"/>
                <a:gd name="connsiteX16" fmla="*/ 1754625 w 2495698"/>
                <a:gd name="connsiteY16" fmla="*/ 412897 h 2531525"/>
                <a:gd name="connsiteX17" fmla="*/ 1954704 w 2495698"/>
                <a:gd name="connsiteY17" fmla="*/ 573108 h 2531525"/>
                <a:gd name="connsiteX18" fmla="*/ 2234317 w 2495698"/>
                <a:gd name="connsiteY18" fmla="*/ 503581 h 2531525"/>
                <a:gd name="connsiteX19" fmla="*/ 2413554 w 2495698"/>
                <a:gd name="connsiteY19" fmla="*/ 840674 h 2531525"/>
                <a:gd name="connsiteX20" fmla="*/ 2214321 w 2495698"/>
                <a:gd name="connsiteY20" fmla="*/ 1020292 h 2531525"/>
                <a:gd name="connsiteX21" fmla="*/ 2246841 w 2495698"/>
                <a:gd name="connsiteY21" fmla="*/ 1303347 h 2531525"/>
                <a:gd name="connsiteX22" fmla="*/ 2495698 w 2495698"/>
                <a:gd name="connsiteY22" fmla="*/ 1441496 h 2531525"/>
                <a:gd name="connsiteX23" fmla="*/ 2396885 w 2495698"/>
                <a:gd name="connsiteY23" fmla="*/ 1810269 h 2531525"/>
                <a:gd name="connsiteX24" fmla="*/ 2094912 w 2495698"/>
                <a:gd name="connsiteY24" fmla="*/ 1805190 h 2531525"/>
                <a:gd name="connsiteX25" fmla="*/ 1958644 w 2495698"/>
                <a:gd name="connsiteY25" fmla="*/ 1977881 h 2531525"/>
                <a:gd name="connsiteX26" fmla="*/ 2057814 w 2495698"/>
                <a:gd name="connsiteY26" fmla="*/ 2236715 h 2531525"/>
                <a:gd name="connsiteX27" fmla="*/ 1745078 w 2495698"/>
                <a:gd name="connsiteY27" fmla="*/ 2455696 h 2531525"/>
                <a:gd name="connsiteX28" fmla="*/ 1507869 w 2495698"/>
                <a:gd name="connsiteY28" fmla="*/ 2249759 h 2531525"/>
                <a:gd name="connsiteX29" fmla="*/ 1251837 w 2495698"/>
                <a:gd name="connsiteY29" fmla="*/ 2272543 h 2531525"/>
                <a:gd name="connsiteX30" fmla="*/ 1108065 w 2495698"/>
                <a:gd name="connsiteY30" fmla="*/ 2531525 h 2531525"/>
                <a:gd name="connsiteX31" fmla="*/ 739291 w 2495698"/>
                <a:gd name="connsiteY31" fmla="*/ 2432713 h 2531525"/>
                <a:gd name="connsiteX32" fmla="*/ 744274 w 2495698"/>
                <a:gd name="connsiteY32" fmla="*/ 2136543 h 2531525"/>
                <a:gd name="connsiteX33" fmla="*/ 535891 w 2495698"/>
                <a:gd name="connsiteY33" fmla="*/ 1973098 h 2531525"/>
                <a:gd name="connsiteX34" fmla="*/ 540671 w 2495698"/>
                <a:gd name="connsiteY34" fmla="*/ 1983347 h 2531525"/>
                <a:gd name="connsiteX35" fmla="*/ 232276 w 2495698"/>
                <a:gd name="connsiteY35" fmla="*/ 2043090 h 2531525"/>
                <a:gd name="connsiteX36" fmla="*/ 70927 w 2495698"/>
                <a:gd name="connsiteY36" fmla="*/ 1697078 h 2531525"/>
                <a:gd name="connsiteX37" fmla="*/ 279495 w 2495698"/>
                <a:gd name="connsiteY37" fmla="*/ 1527966 h 2531525"/>
                <a:gd name="connsiteX38" fmla="*/ 245586 w 2495698"/>
                <a:gd name="connsiteY38" fmla="*/ 1274796 h 2531525"/>
                <a:gd name="connsiteX39" fmla="*/ 0 w 2495698"/>
                <a:gd name="connsiteY39" fmla="*/ 1138462 h 2531525"/>
                <a:gd name="connsiteX40" fmla="*/ 98812 w 2495698"/>
                <a:gd name="connsiteY40" fmla="*/ 769689 h 2531525"/>
                <a:gd name="connsiteX41" fmla="*/ 380240 w 2495698"/>
                <a:gd name="connsiteY41" fmla="*/ 774423 h 2531525"/>
                <a:gd name="connsiteX42" fmla="*/ 516679 w 2495698"/>
                <a:gd name="connsiteY42" fmla="*/ 590627 h 2531525"/>
                <a:gd name="connsiteX43" fmla="*/ 422419 w 2495698"/>
                <a:gd name="connsiteY43" fmla="*/ 299900 h 2531525"/>
                <a:gd name="connsiteX44" fmla="*/ 746189 w 2495698"/>
                <a:gd name="connsiteY44" fmla="*/ 97585 h 2531525"/>
                <a:gd name="connsiteX45" fmla="*/ 972292 w 2495698"/>
                <a:gd name="connsiteY45" fmla="*/ 315656 h 2531525"/>
                <a:gd name="connsiteX46" fmla="*/ 970019 w 2495698"/>
                <a:gd name="connsiteY46" fmla="*/ 317076 h 2531525"/>
                <a:gd name="connsiteX47" fmla="*/ 1248316 w 2495698"/>
                <a:gd name="connsiteY47" fmla="*/ 277231 h 2531525"/>
                <a:gd name="connsiteX48" fmla="*/ 1391137 w 2495698"/>
                <a:gd name="connsiteY48" fmla="*/ 0 h 2531525"/>
                <a:gd name="connsiteX49" fmla="*/ 1759910 w 2495698"/>
                <a:gd name="connsiteY49" fmla="*/ 98812 h 2531525"/>
                <a:gd name="connsiteX0" fmla="*/ 1365628 w 2495698"/>
                <a:gd name="connsiteY0" fmla="*/ 832740 h 2531525"/>
                <a:gd name="connsiteX1" fmla="*/ 804861 w 2495698"/>
                <a:gd name="connsiteY1" fmla="*/ 1156499 h 2531525"/>
                <a:gd name="connsiteX2" fmla="*/ 1128620 w 2495698"/>
                <a:gd name="connsiteY2" fmla="*/ 1717266 h 2531525"/>
                <a:gd name="connsiteX3" fmla="*/ 1689387 w 2495698"/>
                <a:gd name="connsiteY3" fmla="*/ 1393507 h 2531525"/>
                <a:gd name="connsiteX4" fmla="*/ 1365628 w 2495698"/>
                <a:gd name="connsiteY4" fmla="*/ 832740 h 2531525"/>
                <a:gd name="connsiteX5" fmla="*/ 1447099 w 2495698"/>
                <a:gd name="connsiteY5" fmla="*/ 528685 h 2531525"/>
                <a:gd name="connsiteX6" fmla="*/ 1993442 w 2495698"/>
                <a:gd name="connsiteY6" fmla="*/ 1474978 h 2531525"/>
                <a:gd name="connsiteX7" fmla="*/ 1047149 w 2495698"/>
                <a:gd name="connsiteY7" fmla="*/ 2021321 h 2531525"/>
                <a:gd name="connsiteX8" fmla="*/ 500806 w 2495698"/>
                <a:gd name="connsiteY8" fmla="*/ 1075027 h 2531525"/>
                <a:gd name="connsiteX9" fmla="*/ 1447099 w 2495698"/>
                <a:gd name="connsiteY9" fmla="*/ 528685 h 2531525"/>
                <a:gd name="connsiteX10" fmla="*/ 1476725 w 2495698"/>
                <a:gd name="connsiteY10" fmla="*/ 418119 h 2531525"/>
                <a:gd name="connsiteX11" fmla="*/ 390240 w 2495698"/>
                <a:gd name="connsiteY11" fmla="*/ 1045401 h 2531525"/>
                <a:gd name="connsiteX12" fmla="*/ 1017523 w 2495698"/>
                <a:gd name="connsiteY12" fmla="*/ 2131887 h 2531525"/>
                <a:gd name="connsiteX13" fmla="*/ 2104008 w 2495698"/>
                <a:gd name="connsiteY13" fmla="*/ 1504604 h 2531525"/>
                <a:gd name="connsiteX14" fmla="*/ 1476725 w 2495698"/>
                <a:gd name="connsiteY14" fmla="*/ 418119 h 2531525"/>
                <a:gd name="connsiteX15" fmla="*/ 1759910 w 2495698"/>
                <a:gd name="connsiteY15" fmla="*/ 98812 h 2531525"/>
                <a:gd name="connsiteX16" fmla="*/ 1754625 w 2495698"/>
                <a:gd name="connsiteY16" fmla="*/ 412897 h 2531525"/>
                <a:gd name="connsiteX17" fmla="*/ 1954704 w 2495698"/>
                <a:gd name="connsiteY17" fmla="*/ 573108 h 2531525"/>
                <a:gd name="connsiteX18" fmla="*/ 2234317 w 2495698"/>
                <a:gd name="connsiteY18" fmla="*/ 503581 h 2531525"/>
                <a:gd name="connsiteX19" fmla="*/ 2413554 w 2495698"/>
                <a:gd name="connsiteY19" fmla="*/ 840674 h 2531525"/>
                <a:gd name="connsiteX20" fmla="*/ 2214321 w 2495698"/>
                <a:gd name="connsiteY20" fmla="*/ 1020292 h 2531525"/>
                <a:gd name="connsiteX21" fmla="*/ 2246841 w 2495698"/>
                <a:gd name="connsiteY21" fmla="*/ 1303347 h 2531525"/>
                <a:gd name="connsiteX22" fmla="*/ 2495698 w 2495698"/>
                <a:gd name="connsiteY22" fmla="*/ 1441496 h 2531525"/>
                <a:gd name="connsiteX23" fmla="*/ 2396885 w 2495698"/>
                <a:gd name="connsiteY23" fmla="*/ 1810269 h 2531525"/>
                <a:gd name="connsiteX24" fmla="*/ 2094912 w 2495698"/>
                <a:gd name="connsiteY24" fmla="*/ 1805190 h 2531525"/>
                <a:gd name="connsiteX25" fmla="*/ 1958644 w 2495698"/>
                <a:gd name="connsiteY25" fmla="*/ 1977881 h 2531525"/>
                <a:gd name="connsiteX26" fmla="*/ 2057814 w 2495698"/>
                <a:gd name="connsiteY26" fmla="*/ 2236715 h 2531525"/>
                <a:gd name="connsiteX27" fmla="*/ 1745078 w 2495698"/>
                <a:gd name="connsiteY27" fmla="*/ 2455696 h 2531525"/>
                <a:gd name="connsiteX28" fmla="*/ 1507869 w 2495698"/>
                <a:gd name="connsiteY28" fmla="*/ 2249759 h 2531525"/>
                <a:gd name="connsiteX29" fmla="*/ 1251837 w 2495698"/>
                <a:gd name="connsiteY29" fmla="*/ 2272543 h 2531525"/>
                <a:gd name="connsiteX30" fmla="*/ 1108065 w 2495698"/>
                <a:gd name="connsiteY30" fmla="*/ 2531525 h 2531525"/>
                <a:gd name="connsiteX31" fmla="*/ 739291 w 2495698"/>
                <a:gd name="connsiteY31" fmla="*/ 2432713 h 2531525"/>
                <a:gd name="connsiteX32" fmla="*/ 744274 w 2495698"/>
                <a:gd name="connsiteY32" fmla="*/ 2136543 h 2531525"/>
                <a:gd name="connsiteX33" fmla="*/ 535891 w 2495698"/>
                <a:gd name="connsiteY33" fmla="*/ 1973098 h 2531525"/>
                <a:gd name="connsiteX34" fmla="*/ 232276 w 2495698"/>
                <a:gd name="connsiteY34" fmla="*/ 2043090 h 2531525"/>
                <a:gd name="connsiteX35" fmla="*/ 70927 w 2495698"/>
                <a:gd name="connsiteY35" fmla="*/ 1697078 h 2531525"/>
                <a:gd name="connsiteX36" fmla="*/ 279495 w 2495698"/>
                <a:gd name="connsiteY36" fmla="*/ 1527966 h 2531525"/>
                <a:gd name="connsiteX37" fmla="*/ 245586 w 2495698"/>
                <a:gd name="connsiteY37" fmla="*/ 1274796 h 2531525"/>
                <a:gd name="connsiteX38" fmla="*/ 0 w 2495698"/>
                <a:gd name="connsiteY38" fmla="*/ 1138462 h 2531525"/>
                <a:gd name="connsiteX39" fmla="*/ 98812 w 2495698"/>
                <a:gd name="connsiteY39" fmla="*/ 769689 h 2531525"/>
                <a:gd name="connsiteX40" fmla="*/ 380240 w 2495698"/>
                <a:gd name="connsiteY40" fmla="*/ 774423 h 2531525"/>
                <a:gd name="connsiteX41" fmla="*/ 516679 w 2495698"/>
                <a:gd name="connsiteY41" fmla="*/ 590627 h 2531525"/>
                <a:gd name="connsiteX42" fmla="*/ 422419 w 2495698"/>
                <a:gd name="connsiteY42" fmla="*/ 299900 h 2531525"/>
                <a:gd name="connsiteX43" fmla="*/ 746189 w 2495698"/>
                <a:gd name="connsiteY43" fmla="*/ 97585 h 2531525"/>
                <a:gd name="connsiteX44" fmla="*/ 972292 w 2495698"/>
                <a:gd name="connsiteY44" fmla="*/ 315656 h 2531525"/>
                <a:gd name="connsiteX45" fmla="*/ 970019 w 2495698"/>
                <a:gd name="connsiteY45" fmla="*/ 317076 h 2531525"/>
                <a:gd name="connsiteX46" fmla="*/ 1248316 w 2495698"/>
                <a:gd name="connsiteY46" fmla="*/ 277231 h 2531525"/>
                <a:gd name="connsiteX47" fmla="*/ 1391137 w 2495698"/>
                <a:gd name="connsiteY47" fmla="*/ 0 h 2531525"/>
                <a:gd name="connsiteX48" fmla="*/ 1759910 w 2495698"/>
                <a:gd name="connsiteY48" fmla="*/ 98812 h 2531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2495698" h="2531525">
                  <a:moveTo>
                    <a:pt x="1365628" y="832740"/>
                  </a:moveTo>
                  <a:cubicBezTo>
                    <a:pt x="1121373" y="767293"/>
                    <a:pt x="870309" y="912244"/>
                    <a:pt x="804861" y="1156499"/>
                  </a:cubicBezTo>
                  <a:cubicBezTo>
                    <a:pt x="739413" y="1400754"/>
                    <a:pt x="884365" y="1651818"/>
                    <a:pt x="1128620" y="1717266"/>
                  </a:cubicBezTo>
                  <a:cubicBezTo>
                    <a:pt x="1372875" y="1782713"/>
                    <a:pt x="1623939" y="1637762"/>
                    <a:pt x="1689387" y="1393507"/>
                  </a:cubicBezTo>
                  <a:cubicBezTo>
                    <a:pt x="1754835" y="1149252"/>
                    <a:pt x="1609883" y="898188"/>
                    <a:pt x="1365628" y="832740"/>
                  </a:cubicBezTo>
                  <a:close/>
                  <a:moveTo>
                    <a:pt x="1447099" y="528685"/>
                  </a:moveTo>
                  <a:cubicBezTo>
                    <a:pt x="1859279" y="639128"/>
                    <a:pt x="2103885" y="1062799"/>
                    <a:pt x="1993442" y="1474978"/>
                  </a:cubicBezTo>
                  <a:cubicBezTo>
                    <a:pt x="1882999" y="1887158"/>
                    <a:pt x="1459328" y="2131764"/>
                    <a:pt x="1047149" y="2021321"/>
                  </a:cubicBezTo>
                  <a:cubicBezTo>
                    <a:pt x="634969" y="1910878"/>
                    <a:pt x="390363" y="1487207"/>
                    <a:pt x="500806" y="1075027"/>
                  </a:cubicBezTo>
                  <a:cubicBezTo>
                    <a:pt x="611249" y="662848"/>
                    <a:pt x="1034920" y="418242"/>
                    <a:pt x="1447099" y="528685"/>
                  </a:cubicBezTo>
                  <a:close/>
                  <a:moveTo>
                    <a:pt x="1476725" y="418119"/>
                  </a:moveTo>
                  <a:cubicBezTo>
                    <a:pt x="1003481" y="291314"/>
                    <a:pt x="517045" y="572157"/>
                    <a:pt x="390240" y="1045401"/>
                  </a:cubicBezTo>
                  <a:cubicBezTo>
                    <a:pt x="263435" y="1518646"/>
                    <a:pt x="544279" y="2005081"/>
                    <a:pt x="1017523" y="2131887"/>
                  </a:cubicBezTo>
                  <a:cubicBezTo>
                    <a:pt x="1490767" y="2258692"/>
                    <a:pt x="1977202" y="1977848"/>
                    <a:pt x="2104008" y="1504604"/>
                  </a:cubicBezTo>
                  <a:cubicBezTo>
                    <a:pt x="2230813" y="1031360"/>
                    <a:pt x="1949969" y="544925"/>
                    <a:pt x="1476725" y="418119"/>
                  </a:cubicBezTo>
                  <a:close/>
                  <a:moveTo>
                    <a:pt x="1759910" y="98812"/>
                  </a:moveTo>
                  <a:cubicBezTo>
                    <a:pt x="1758148" y="203507"/>
                    <a:pt x="1756387" y="308202"/>
                    <a:pt x="1754625" y="412897"/>
                  </a:cubicBezTo>
                  <a:lnTo>
                    <a:pt x="1954704" y="573108"/>
                  </a:lnTo>
                  <a:lnTo>
                    <a:pt x="2234317" y="503581"/>
                  </a:lnTo>
                  <a:lnTo>
                    <a:pt x="2413554" y="840674"/>
                  </a:lnTo>
                  <a:lnTo>
                    <a:pt x="2214321" y="1020292"/>
                  </a:lnTo>
                  <a:cubicBezTo>
                    <a:pt x="2239296" y="1111262"/>
                    <a:pt x="2251067" y="1206519"/>
                    <a:pt x="2246841" y="1303347"/>
                  </a:cubicBezTo>
                  <a:lnTo>
                    <a:pt x="2495698" y="1441496"/>
                  </a:lnTo>
                  <a:lnTo>
                    <a:pt x="2396885" y="1810269"/>
                  </a:lnTo>
                  <a:lnTo>
                    <a:pt x="2094912" y="1805190"/>
                  </a:lnTo>
                  <a:cubicBezTo>
                    <a:pt x="2056732" y="1868983"/>
                    <a:pt x="2010475" y="1926517"/>
                    <a:pt x="1958644" y="1977881"/>
                  </a:cubicBezTo>
                  <a:lnTo>
                    <a:pt x="2057814" y="2236715"/>
                  </a:lnTo>
                  <a:lnTo>
                    <a:pt x="1745078" y="2455696"/>
                  </a:lnTo>
                  <a:lnTo>
                    <a:pt x="1507869" y="2249759"/>
                  </a:lnTo>
                  <a:lnTo>
                    <a:pt x="1251837" y="2272543"/>
                  </a:lnTo>
                  <a:lnTo>
                    <a:pt x="1108065" y="2531525"/>
                  </a:lnTo>
                  <a:lnTo>
                    <a:pt x="739291" y="2432713"/>
                  </a:lnTo>
                  <a:lnTo>
                    <a:pt x="744274" y="2136543"/>
                  </a:lnTo>
                  <a:cubicBezTo>
                    <a:pt x="666128" y="2092006"/>
                    <a:pt x="595548" y="2037539"/>
                    <a:pt x="535891" y="1973098"/>
                  </a:cubicBezTo>
                  <a:lnTo>
                    <a:pt x="232276" y="2043090"/>
                  </a:lnTo>
                  <a:lnTo>
                    <a:pt x="70927" y="1697078"/>
                  </a:lnTo>
                  <a:lnTo>
                    <a:pt x="279495" y="1527966"/>
                  </a:lnTo>
                  <a:cubicBezTo>
                    <a:pt x="257233" y="1446371"/>
                    <a:pt x="245603" y="1361336"/>
                    <a:pt x="245586" y="1274796"/>
                  </a:cubicBezTo>
                  <a:lnTo>
                    <a:pt x="0" y="1138462"/>
                  </a:lnTo>
                  <a:lnTo>
                    <a:pt x="98812" y="769689"/>
                  </a:lnTo>
                  <a:lnTo>
                    <a:pt x="380240" y="774423"/>
                  </a:lnTo>
                  <a:cubicBezTo>
                    <a:pt x="418421" y="707046"/>
                    <a:pt x="464524" y="645614"/>
                    <a:pt x="516679" y="590627"/>
                  </a:cubicBezTo>
                  <a:lnTo>
                    <a:pt x="422419" y="299900"/>
                  </a:lnTo>
                  <a:lnTo>
                    <a:pt x="746189" y="97585"/>
                  </a:lnTo>
                  <a:lnTo>
                    <a:pt x="972292" y="315656"/>
                  </a:lnTo>
                  <a:lnTo>
                    <a:pt x="970019" y="317076"/>
                  </a:lnTo>
                  <a:cubicBezTo>
                    <a:pt x="1058903" y="289108"/>
                    <a:pt x="1152743" y="276181"/>
                    <a:pt x="1248316" y="277231"/>
                  </a:cubicBezTo>
                  <a:lnTo>
                    <a:pt x="1391137" y="0"/>
                  </a:lnTo>
                  <a:lnTo>
                    <a:pt x="1759910" y="98812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ko-KR" altLang="en-US" sz="2701"/>
            </a:p>
          </p:txBody>
        </p:sp>
        <p:sp>
          <p:nvSpPr>
            <p:cNvPr id="60" name="Oval 21">
              <a:extLst>
                <a:ext uri="{FF2B5EF4-FFF2-40B4-BE49-F238E27FC236}">
                  <a16:creationId xmlns="" xmlns:a16="http://schemas.microsoft.com/office/drawing/2014/main" id="{30C5BFDF-9714-4FEB-BA86-5991A572B0AB}"/>
                </a:ext>
              </a:extLst>
            </p:cNvPr>
            <p:cNvSpPr/>
            <p:nvPr/>
          </p:nvSpPr>
          <p:spPr>
            <a:xfrm rot="17537713" flipV="1">
              <a:off x="4703331" y="1414998"/>
              <a:ext cx="1090840" cy="1106497"/>
            </a:xfrm>
            <a:custGeom>
              <a:avLst/>
              <a:gdLst>
                <a:gd name="connsiteX0" fmla="*/ 1365628 w 2495698"/>
                <a:gd name="connsiteY0" fmla="*/ 832740 h 2531525"/>
                <a:gd name="connsiteX1" fmla="*/ 804861 w 2495698"/>
                <a:gd name="connsiteY1" fmla="*/ 1156499 h 2531525"/>
                <a:gd name="connsiteX2" fmla="*/ 1128620 w 2495698"/>
                <a:gd name="connsiteY2" fmla="*/ 1717266 h 2531525"/>
                <a:gd name="connsiteX3" fmla="*/ 1689387 w 2495698"/>
                <a:gd name="connsiteY3" fmla="*/ 1393507 h 2531525"/>
                <a:gd name="connsiteX4" fmla="*/ 1365628 w 2495698"/>
                <a:gd name="connsiteY4" fmla="*/ 832740 h 2531525"/>
                <a:gd name="connsiteX5" fmla="*/ 1447099 w 2495698"/>
                <a:gd name="connsiteY5" fmla="*/ 528685 h 2531525"/>
                <a:gd name="connsiteX6" fmla="*/ 1993442 w 2495698"/>
                <a:gd name="connsiteY6" fmla="*/ 1474978 h 2531525"/>
                <a:gd name="connsiteX7" fmla="*/ 1047149 w 2495698"/>
                <a:gd name="connsiteY7" fmla="*/ 2021321 h 2531525"/>
                <a:gd name="connsiteX8" fmla="*/ 500806 w 2495698"/>
                <a:gd name="connsiteY8" fmla="*/ 1075027 h 2531525"/>
                <a:gd name="connsiteX9" fmla="*/ 1447099 w 2495698"/>
                <a:gd name="connsiteY9" fmla="*/ 528685 h 2531525"/>
                <a:gd name="connsiteX10" fmla="*/ 1476725 w 2495698"/>
                <a:gd name="connsiteY10" fmla="*/ 418119 h 2531525"/>
                <a:gd name="connsiteX11" fmla="*/ 390240 w 2495698"/>
                <a:gd name="connsiteY11" fmla="*/ 1045401 h 2531525"/>
                <a:gd name="connsiteX12" fmla="*/ 1017523 w 2495698"/>
                <a:gd name="connsiteY12" fmla="*/ 2131887 h 2531525"/>
                <a:gd name="connsiteX13" fmla="*/ 2104008 w 2495698"/>
                <a:gd name="connsiteY13" fmla="*/ 1504604 h 2531525"/>
                <a:gd name="connsiteX14" fmla="*/ 1476725 w 2495698"/>
                <a:gd name="connsiteY14" fmla="*/ 418119 h 2531525"/>
                <a:gd name="connsiteX15" fmla="*/ 1759910 w 2495698"/>
                <a:gd name="connsiteY15" fmla="*/ 98812 h 2531525"/>
                <a:gd name="connsiteX16" fmla="*/ 1754625 w 2495698"/>
                <a:gd name="connsiteY16" fmla="*/ 412897 h 2531525"/>
                <a:gd name="connsiteX17" fmla="*/ 1744979 w 2495698"/>
                <a:gd name="connsiteY17" fmla="*/ 410312 h 2531525"/>
                <a:gd name="connsiteX18" fmla="*/ 1954704 w 2495698"/>
                <a:gd name="connsiteY18" fmla="*/ 573108 h 2531525"/>
                <a:gd name="connsiteX19" fmla="*/ 2234317 w 2495698"/>
                <a:gd name="connsiteY19" fmla="*/ 503581 h 2531525"/>
                <a:gd name="connsiteX20" fmla="*/ 2413554 w 2495698"/>
                <a:gd name="connsiteY20" fmla="*/ 840674 h 2531525"/>
                <a:gd name="connsiteX21" fmla="*/ 2214321 w 2495698"/>
                <a:gd name="connsiteY21" fmla="*/ 1020292 h 2531525"/>
                <a:gd name="connsiteX22" fmla="*/ 2246841 w 2495698"/>
                <a:gd name="connsiteY22" fmla="*/ 1303347 h 2531525"/>
                <a:gd name="connsiteX23" fmla="*/ 2495698 w 2495698"/>
                <a:gd name="connsiteY23" fmla="*/ 1441496 h 2531525"/>
                <a:gd name="connsiteX24" fmla="*/ 2396885 w 2495698"/>
                <a:gd name="connsiteY24" fmla="*/ 1810269 h 2531525"/>
                <a:gd name="connsiteX25" fmla="*/ 2094912 w 2495698"/>
                <a:gd name="connsiteY25" fmla="*/ 1805190 h 2531525"/>
                <a:gd name="connsiteX26" fmla="*/ 1958644 w 2495698"/>
                <a:gd name="connsiteY26" fmla="*/ 1977881 h 2531525"/>
                <a:gd name="connsiteX27" fmla="*/ 2057814 w 2495698"/>
                <a:gd name="connsiteY27" fmla="*/ 2236715 h 2531525"/>
                <a:gd name="connsiteX28" fmla="*/ 1745078 w 2495698"/>
                <a:gd name="connsiteY28" fmla="*/ 2455696 h 2531525"/>
                <a:gd name="connsiteX29" fmla="*/ 1507869 w 2495698"/>
                <a:gd name="connsiteY29" fmla="*/ 2249759 h 2531525"/>
                <a:gd name="connsiteX30" fmla="*/ 1536736 w 2495698"/>
                <a:gd name="connsiteY30" fmla="*/ 2229547 h 2531525"/>
                <a:gd name="connsiteX31" fmla="*/ 1251837 w 2495698"/>
                <a:gd name="connsiteY31" fmla="*/ 2272543 h 2531525"/>
                <a:gd name="connsiteX32" fmla="*/ 1108065 w 2495698"/>
                <a:gd name="connsiteY32" fmla="*/ 2531525 h 2531525"/>
                <a:gd name="connsiteX33" fmla="*/ 739291 w 2495698"/>
                <a:gd name="connsiteY33" fmla="*/ 2432713 h 2531525"/>
                <a:gd name="connsiteX34" fmla="*/ 744274 w 2495698"/>
                <a:gd name="connsiteY34" fmla="*/ 2136543 h 2531525"/>
                <a:gd name="connsiteX35" fmla="*/ 535891 w 2495698"/>
                <a:gd name="connsiteY35" fmla="*/ 1973098 h 2531525"/>
                <a:gd name="connsiteX36" fmla="*/ 540671 w 2495698"/>
                <a:gd name="connsiteY36" fmla="*/ 1983347 h 2531525"/>
                <a:gd name="connsiteX37" fmla="*/ 232276 w 2495698"/>
                <a:gd name="connsiteY37" fmla="*/ 2043090 h 2531525"/>
                <a:gd name="connsiteX38" fmla="*/ 70927 w 2495698"/>
                <a:gd name="connsiteY38" fmla="*/ 1697078 h 2531525"/>
                <a:gd name="connsiteX39" fmla="*/ 279495 w 2495698"/>
                <a:gd name="connsiteY39" fmla="*/ 1527966 h 2531525"/>
                <a:gd name="connsiteX40" fmla="*/ 245586 w 2495698"/>
                <a:gd name="connsiteY40" fmla="*/ 1274796 h 2531525"/>
                <a:gd name="connsiteX41" fmla="*/ 0 w 2495698"/>
                <a:gd name="connsiteY41" fmla="*/ 1138462 h 2531525"/>
                <a:gd name="connsiteX42" fmla="*/ 98812 w 2495698"/>
                <a:gd name="connsiteY42" fmla="*/ 769689 h 2531525"/>
                <a:gd name="connsiteX43" fmla="*/ 380240 w 2495698"/>
                <a:gd name="connsiteY43" fmla="*/ 774423 h 2531525"/>
                <a:gd name="connsiteX44" fmla="*/ 516679 w 2495698"/>
                <a:gd name="connsiteY44" fmla="*/ 590627 h 2531525"/>
                <a:gd name="connsiteX45" fmla="*/ 422419 w 2495698"/>
                <a:gd name="connsiteY45" fmla="*/ 299900 h 2531525"/>
                <a:gd name="connsiteX46" fmla="*/ 746189 w 2495698"/>
                <a:gd name="connsiteY46" fmla="*/ 97585 h 2531525"/>
                <a:gd name="connsiteX47" fmla="*/ 972292 w 2495698"/>
                <a:gd name="connsiteY47" fmla="*/ 315656 h 2531525"/>
                <a:gd name="connsiteX48" fmla="*/ 970019 w 2495698"/>
                <a:gd name="connsiteY48" fmla="*/ 317076 h 2531525"/>
                <a:gd name="connsiteX49" fmla="*/ 1248316 w 2495698"/>
                <a:gd name="connsiteY49" fmla="*/ 277231 h 2531525"/>
                <a:gd name="connsiteX50" fmla="*/ 1238669 w 2495698"/>
                <a:gd name="connsiteY50" fmla="*/ 274647 h 2531525"/>
                <a:gd name="connsiteX51" fmla="*/ 1391137 w 2495698"/>
                <a:gd name="connsiteY51" fmla="*/ 0 h 2531525"/>
                <a:gd name="connsiteX52" fmla="*/ 1759910 w 2495698"/>
                <a:gd name="connsiteY52" fmla="*/ 98812 h 2531525"/>
                <a:gd name="connsiteX0" fmla="*/ 1365628 w 2495698"/>
                <a:gd name="connsiteY0" fmla="*/ 832740 h 2531525"/>
                <a:gd name="connsiteX1" fmla="*/ 804861 w 2495698"/>
                <a:gd name="connsiteY1" fmla="*/ 1156499 h 2531525"/>
                <a:gd name="connsiteX2" fmla="*/ 1128620 w 2495698"/>
                <a:gd name="connsiteY2" fmla="*/ 1717266 h 2531525"/>
                <a:gd name="connsiteX3" fmla="*/ 1689387 w 2495698"/>
                <a:gd name="connsiteY3" fmla="*/ 1393507 h 2531525"/>
                <a:gd name="connsiteX4" fmla="*/ 1365628 w 2495698"/>
                <a:gd name="connsiteY4" fmla="*/ 832740 h 2531525"/>
                <a:gd name="connsiteX5" fmla="*/ 1447099 w 2495698"/>
                <a:gd name="connsiteY5" fmla="*/ 528685 h 2531525"/>
                <a:gd name="connsiteX6" fmla="*/ 1993442 w 2495698"/>
                <a:gd name="connsiteY6" fmla="*/ 1474978 h 2531525"/>
                <a:gd name="connsiteX7" fmla="*/ 1047149 w 2495698"/>
                <a:gd name="connsiteY7" fmla="*/ 2021321 h 2531525"/>
                <a:gd name="connsiteX8" fmla="*/ 500806 w 2495698"/>
                <a:gd name="connsiteY8" fmla="*/ 1075027 h 2531525"/>
                <a:gd name="connsiteX9" fmla="*/ 1447099 w 2495698"/>
                <a:gd name="connsiteY9" fmla="*/ 528685 h 2531525"/>
                <a:gd name="connsiteX10" fmla="*/ 1476725 w 2495698"/>
                <a:gd name="connsiteY10" fmla="*/ 418119 h 2531525"/>
                <a:gd name="connsiteX11" fmla="*/ 390240 w 2495698"/>
                <a:gd name="connsiteY11" fmla="*/ 1045401 h 2531525"/>
                <a:gd name="connsiteX12" fmla="*/ 1017523 w 2495698"/>
                <a:gd name="connsiteY12" fmla="*/ 2131887 h 2531525"/>
                <a:gd name="connsiteX13" fmla="*/ 2104008 w 2495698"/>
                <a:gd name="connsiteY13" fmla="*/ 1504604 h 2531525"/>
                <a:gd name="connsiteX14" fmla="*/ 1476725 w 2495698"/>
                <a:gd name="connsiteY14" fmla="*/ 418119 h 2531525"/>
                <a:gd name="connsiteX15" fmla="*/ 1759910 w 2495698"/>
                <a:gd name="connsiteY15" fmla="*/ 98812 h 2531525"/>
                <a:gd name="connsiteX16" fmla="*/ 1754625 w 2495698"/>
                <a:gd name="connsiteY16" fmla="*/ 412897 h 2531525"/>
                <a:gd name="connsiteX17" fmla="*/ 1744979 w 2495698"/>
                <a:gd name="connsiteY17" fmla="*/ 410312 h 2531525"/>
                <a:gd name="connsiteX18" fmla="*/ 1954704 w 2495698"/>
                <a:gd name="connsiteY18" fmla="*/ 573108 h 2531525"/>
                <a:gd name="connsiteX19" fmla="*/ 2234317 w 2495698"/>
                <a:gd name="connsiteY19" fmla="*/ 503581 h 2531525"/>
                <a:gd name="connsiteX20" fmla="*/ 2413554 w 2495698"/>
                <a:gd name="connsiteY20" fmla="*/ 840674 h 2531525"/>
                <a:gd name="connsiteX21" fmla="*/ 2214321 w 2495698"/>
                <a:gd name="connsiteY21" fmla="*/ 1020292 h 2531525"/>
                <a:gd name="connsiteX22" fmla="*/ 2246841 w 2495698"/>
                <a:gd name="connsiteY22" fmla="*/ 1303347 h 2531525"/>
                <a:gd name="connsiteX23" fmla="*/ 2495698 w 2495698"/>
                <a:gd name="connsiteY23" fmla="*/ 1441496 h 2531525"/>
                <a:gd name="connsiteX24" fmla="*/ 2396885 w 2495698"/>
                <a:gd name="connsiteY24" fmla="*/ 1810269 h 2531525"/>
                <a:gd name="connsiteX25" fmla="*/ 2094912 w 2495698"/>
                <a:gd name="connsiteY25" fmla="*/ 1805190 h 2531525"/>
                <a:gd name="connsiteX26" fmla="*/ 1958644 w 2495698"/>
                <a:gd name="connsiteY26" fmla="*/ 1977881 h 2531525"/>
                <a:gd name="connsiteX27" fmla="*/ 2057814 w 2495698"/>
                <a:gd name="connsiteY27" fmla="*/ 2236715 h 2531525"/>
                <a:gd name="connsiteX28" fmla="*/ 1745078 w 2495698"/>
                <a:gd name="connsiteY28" fmla="*/ 2455696 h 2531525"/>
                <a:gd name="connsiteX29" fmla="*/ 1507869 w 2495698"/>
                <a:gd name="connsiteY29" fmla="*/ 2249759 h 2531525"/>
                <a:gd name="connsiteX30" fmla="*/ 1536736 w 2495698"/>
                <a:gd name="connsiteY30" fmla="*/ 2229547 h 2531525"/>
                <a:gd name="connsiteX31" fmla="*/ 1251837 w 2495698"/>
                <a:gd name="connsiteY31" fmla="*/ 2272543 h 2531525"/>
                <a:gd name="connsiteX32" fmla="*/ 1108065 w 2495698"/>
                <a:gd name="connsiteY32" fmla="*/ 2531525 h 2531525"/>
                <a:gd name="connsiteX33" fmla="*/ 739291 w 2495698"/>
                <a:gd name="connsiteY33" fmla="*/ 2432713 h 2531525"/>
                <a:gd name="connsiteX34" fmla="*/ 744274 w 2495698"/>
                <a:gd name="connsiteY34" fmla="*/ 2136543 h 2531525"/>
                <a:gd name="connsiteX35" fmla="*/ 535891 w 2495698"/>
                <a:gd name="connsiteY35" fmla="*/ 1973098 h 2531525"/>
                <a:gd name="connsiteX36" fmla="*/ 540671 w 2495698"/>
                <a:gd name="connsiteY36" fmla="*/ 1983347 h 2531525"/>
                <a:gd name="connsiteX37" fmla="*/ 232276 w 2495698"/>
                <a:gd name="connsiteY37" fmla="*/ 2043090 h 2531525"/>
                <a:gd name="connsiteX38" fmla="*/ 70927 w 2495698"/>
                <a:gd name="connsiteY38" fmla="*/ 1697078 h 2531525"/>
                <a:gd name="connsiteX39" fmla="*/ 279495 w 2495698"/>
                <a:gd name="connsiteY39" fmla="*/ 1527966 h 2531525"/>
                <a:gd name="connsiteX40" fmla="*/ 245586 w 2495698"/>
                <a:gd name="connsiteY40" fmla="*/ 1274796 h 2531525"/>
                <a:gd name="connsiteX41" fmla="*/ 0 w 2495698"/>
                <a:gd name="connsiteY41" fmla="*/ 1138462 h 2531525"/>
                <a:gd name="connsiteX42" fmla="*/ 98812 w 2495698"/>
                <a:gd name="connsiteY42" fmla="*/ 769689 h 2531525"/>
                <a:gd name="connsiteX43" fmla="*/ 380240 w 2495698"/>
                <a:gd name="connsiteY43" fmla="*/ 774423 h 2531525"/>
                <a:gd name="connsiteX44" fmla="*/ 516679 w 2495698"/>
                <a:gd name="connsiteY44" fmla="*/ 590627 h 2531525"/>
                <a:gd name="connsiteX45" fmla="*/ 422419 w 2495698"/>
                <a:gd name="connsiteY45" fmla="*/ 299900 h 2531525"/>
                <a:gd name="connsiteX46" fmla="*/ 746189 w 2495698"/>
                <a:gd name="connsiteY46" fmla="*/ 97585 h 2531525"/>
                <a:gd name="connsiteX47" fmla="*/ 972292 w 2495698"/>
                <a:gd name="connsiteY47" fmla="*/ 315656 h 2531525"/>
                <a:gd name="connsiteX48" fmla="*/ 970019 w 2495698"/>
                <a:gd name="connsiteY48" fmla="*/ 317076 h 2531525"/>
                <a:gd name="connsiteX49" fmla="*/ 1248316 w 2495698"/>
                <a:gd name="connsiteY49" fmla="*/ 277231 h 2531525"/>
                <a:gd name="connsiteX50" fmla="*/ 1238669 w 2495698"/>
                <a:gd name="connsiteY50" fmla="*/ 274647 h 2531525"/>
                <a:gd name="connsiteX51" fmla="*/ 1391137 w 2495698"/>
                <a:gd name="connsiteY51" fmla="*/ 0 h 2531525"/>
                <a:gd name="connsiteX52" fmla="*/ 1759910 w 2495698"/>
                <a:gd name="connsiteY52" fmla="*/ 98812 h 2531525"/>
                <a:gd name="connsiteX0" fmla="*/ 1365628 w 2495698"/>
                <a:gd name="connsiteY0" fmla="*/ 832740 h 2531525"/>
                <a:gd name="connsiteX1" fmla="*/ 804861 w 2495698"/>
                <a:gd name="connsiteY1" fmla="*/ 1156499 h 2531525"/>
                <a:gd name="connsiteX2" fmla="*/ 1128620 w 2495698"/>
                <a:gd name="connsiteY2" fmla="*/ 1717266 h 2531525"/>
                <a:gd name="connsiteX3" fmla="*/ 1689387 w 2495698"/>
                <a:gd name="connsiteY3" fmla="*/ 1393507 h 2531525"/>
                <a:gd name="connsiteX4" fmla="*/ 1365628 w 2495698"/>
                <a:gd name="connsiteY4" fmla="*/ 832740 h 2531525"/>
                <a:gd name="connsiteX5" fmla="*/ 1447099 w 2495698"/>
                <a:gd name="connsiteY5" fmla="*/ 528685 h 2531525"/>
                <a:gd name="connsiteX6" fmla="*/ 1993442 w 2495698"/>
                <a:gd name="connsiteY6" fmla="*/ 1474978 h 2531525"/>
                <a:gd name="connsiteX7" fmla="*/ 1047149 w 2495698"/>
                <a:gd name="connsiteY7" fmla="*/ 2021321 h 2531525"/>
                <a:gd name="connsiteX8" fmla="*/ 500806 w 2495698"/>
                <a:gd name="connsiteY8" fmla="*/ 1075027 h 2531525"/>
                <a:gd name="connsiteX9" fmla="*/ 1447099 w 2495698"/>
                <a:gd name="connsiteY9" fmla="*/ 528685 h 2531525"/>
                <a:gd name="connsiteX10" fmla="*/ 1476725 w 2495698"/>
                <a:gd name="connsiteY10" fmla="*/ 418119 h 2531525"/>
                <a:gd name="connsiteX11" fmla="*/ 390240 w 2495698"/>
                <a:gd name="connsiteY11" fmla="*/ 1045401 h 2531525"/>
                <a:gd name="connsiteX12" fmla="*/ 1017523 w 2495698"/>
                <a:gd name="connsiteY12" fmla="*/ 2131887 h 2531525"/>
                <a:gd name="connsiteX13" fmla="*/ 2104008 w 2495698"/>
                <a:gd name="connsiteY13" fmla="*/ 1504604 h 2531525"/>
                <a:gd name="connsiteX14" fmla="*/ 1476725 w 2495698"/>
                <a:gd name="connsiteY14" fmla="*/ 418119 h 2531525"/>
                <a:gd name="connsiteX15" fmla="*/ 1759910 w 2495698"/>
                <a:gd name="connsiteY15" fmla="*/ 98812 h 2531525"/>
                <a:gd name="connsiteX16" fmla="*/ 1754625 w 2495698"/>
                <a:gd name="connsiteY16" fmla="*/ 412897 h 2531525"/>
                <a:gd name="connsiteX17" fmla="*/ 1744979 w 2495698"/>
                <a:gd name="connsiteY17" fmla="*/ 410312 h 2531525"/>
                <a:gd name="connsiteX18" fmla="*/ 1954704 w 2495698"/>
                <a:gd name="connsiteY18" fmla="*/ 573108 h 2531525"/>
                <a:gd name="connsiteX19" fmla="*/ 2234317 w 2495698"/>
                <a:gd name="connsiteY19" fmla="*/ 503581 h 2531525"/>
                <a:gd name="connsiteX20" fmla="*/ 2413554 w 2495698"/>
                <a:gd name="connsiteY20" fmla="*/ 840674 h 2531525"/>
                <a:gd name="connsiteX21" fmla="*/ 2214321 w 2495698"/>
                <a:gd name="connsiteY21" fmla="*/ 1020292 h 2531525"/>
                <a:gd name="connsiteX22" fmla="*/ 2246841 w 2495698"/>
                <a:gd name="connsiteY22" fmla="*/ 1303347 h 2531525"/>
                <a:gd name="connsiteX23" fmla="*/ 2495698 w 2495698"/>
                <a:gd name="connsiteY23" fmla="*/ 1441496 h 2531525"/>
                <a:gd name="connsiteX24" fmla="*/ 2396885 w 2495698"/>
                <a:gd name="connsiteY24" fmla="*/ 1810269 h 2531525"/>
                <a:gd name="connsiteX25" fmla="*/ 2094912 w 2495698"/>
                <a:gd name="connsiteY25" fmla="*/ 1805190 h 2531525"/>
                <a:gd name="connsiteX26" fmla="*/ 1958644 w 2495698"/>
                <a:gd name="connsiteY26" fmla="*/ 1977881 h 2531525"/>
                <a:gd name="connsiteX27" fmla="*/ 2057814 w 2495698"/>
                <a:gd name="connsiteY27" fmla="*/ 2236715 h 2531525"/>
                <a:gd name="connsiteX28" fmla="*/ 1745078 w 2495698"/>
                <a:gd name="connsiteY28" fmla="*/ 2455696 h 2531525"/>
                <a:gd name="connsiteX29" fmla="*/ 1507869 w 2495698"/>
                <a:gd name="connsiteY29" fmla="*/ 2249759 h 2531525"/>
                <a:gd name="connsiteX30" fmla="*/ 1251837 w 2495698"/>
                <a:gd name="connsiteY30" fmla="*/ 2272543 h 2531525"/>
                <a:gd name="connsiteX31" fmla="*/ 1108065 w 2495698"/>
                <a:gd name="connsiteY31" fmla="*/ 2531525 h 2531525"/>
                <a:gd name="connsiteX32" fmla="*/ 739291 w 2495698"/>
                <a:gd name="connsiteY32" fmla="*/ 2432713 h 2531525"/>
                <a:gd name="connsiteX33" fmla="*/ 744274 w 2495698"/>
                <a:gd name="connsiteY33" fmla="*/ 2136543 h 2531525"/>
                <a:gd name="connsiteX34" fmla="*/ 535891 w 2495698"/>
                <a:gd name="connsiteY34" fmla="*/ 1973098 h 2531525"/>
                <a:gd name="connsiteX35" fmla="*/ 540671 w 2495698"/>
                <a:gd name="connsiteY35" fmla="*/ 1983347 h 2531525"/>
                <a:gd name="connsiteX36" fmla="*/ 232276 w 2495698"/>
                <a:gd name="connsiteY36" fmla="*/ 2043090 h 2531525"/>
                <a:gd name="connsiteX37" fmla="*/ 70927 w 2495698"/>
                <a:gd name="connsiteY37" fmla="*/ 1697078 h 2531525"/>
                <a:gd name="connsiteX38" fmla="*/ 279495 w 2495698"/>
                <a:gd name="connsiteY38" fmla="*/ 1527966 h 2531525"/>
                <a:gd name="connsiteX39" fmla="*/ 245586 w 2495698"/>
                <a:gd name="connsiteY39" fmla="*/ 1274796 h 2531525"/>
                <a:gd name="connsiteX40" fmla="*/ 0 w 2495698"/>
                <a:gd name="connsiteY40" fmla="*/ 1138462 h 2531525"/>
                <a:gd name="connsiteX41" fmla="*/ 98812 w 2495698"/>
                <a:gd name="connsiteY41" fmla="*/ 769689 h 2531525"/>
                <a:gd name="connsiteX42" fmla="*/ 380240 w 2495698"/>
                <a:gd name="connsiteY42" fmla="*/ 774423 h 2531525"/>
                <a:gd name="connsiteX43" fmla="*/ 516679 w 2495698"/>
                <a:gd name="connsiteY43" fmla="*/ 590627 h 2531525"/>
                <a:gd name="connsiteX44" fmla="*/ 422419 w 2495698"/>
                <a:gd name="connsiteY44" fmla="*/ 299900 h 2531525"/>
                <a:gd name="connsiteX45" fmla="*/ 746189 w 2495698"/>
                <a:gd name="connsiteY45" fmla="*/ 97585 h 2531525"/>
                <a:gd name="connsiteX46" fmla="*/ 972292 w 2495698"/>
                <a:gd name="connsiteY46" fmla="*/ 315656 h 2531525"/>
                <a:gd name="connsiteX47" fmla="*/ 970019 w 2495698"/>
                <a:gd name="connsiteY47" fmla="*/ 317076 h 2531525"/>
                <a:gd name="connsiteX48" fmla="*/ 1248316 w 2495698"/>
                <a:gd name="connsiteY48" fmla="*/ 277231 h 2531525"/>
                <a:gd name="connsiteX49" fmla="*/ 1238669 w 2495698"/>
                <a:gd name="connsiteY49" fmla="*/ 274647 h 2531525"/>
                <a:gd name="connsiteX50" fmla="*/ 1391137 w 2495698"/>
                <a:gd name="connsiteY50" fmla="*/ 0 h 2531525"/>
                <a:gd name="connsiteX51" fmla="*/ 1759910 w 2495698"/>
                <a:gd name="connsiteY51" fmla="*/ 98812 h 2531525"/>
                <a:gd name="connsiteX0" fmla="*/ 1365628 w 2495698"/>
                <a:gd name="connsiteY0" fmla="*/ 832740 h 2531525"/>
                <a:gd name="connsiteX1" fmla="*/ 804861 w 2495698"/>
                <a:gd name="connsiteY1" fmla="*/ 1156499 h 2531525"/>
                <a:gd name="connsiteX2" fmla="*/ 1128620 w 2495698"/>
                <a:gd name="connsiteY2" fmla="*/ 1717266 h 2531525"/>
                <a:gd name="connsiteX3" fmla="*/ 1689387 w 2495698"/>
                <a:gd name="connsiteY3" fmla="*/ 1393507 h 2531525"/>
                <a:gd name="connsiteX4" fmla="*/ 1365628 w 2495698"/>
                <a:gd name="connsiteY4" fmla="*/ 832740 h 2531525"/>
                <a:gd name="connsiteX5" fmla="*/ 1447099 w 2495698"/>
                <a:gd name="connsiteY5" fmla="*/ 528685 h 2531525"/>
                <a:gd name="connsiteX6" fmla="*/ 1993442 w 2495698"/>
                <a:gd name="connsiteY6" fmla="*/ 1474978 h 2531525"/>
                <a:gd name="connsiteX7" fmla="*/ 1047149 w 2495698"/>
                <a:gd name="connsiteY7" fmla="*/ 2021321 h 2531525"/>
                <a:gd name="connsiteX8" fmla="*/ 500806 w 2495698"/>
                <a:gd name="connsiteY8" fmla="*/ 1075027 h 2531525"/>
                <a:gd name="connsiteX9" fmla="*/ 1447099 w 2495698"/>
                <a:gd name="connsiteY9" fmla="*/ 528685 h 2531525"/>
                <a:gd name="connsiteX10" fmla="*/ 1476725 w 2495698"/>
                <a:gd name="connsiteY10" fmla="*/ 418119 h 2531525"/>
                <a:gd name="connsiteX11" fmla="*/ 390240 w 2495698"/>
                <a:gd name="connsiteY11" fmla="*/ 1045401 h 2531525"/>
                <a:gd name="connsiteX12" fmla="*/ 1017523 w 2495698"/>
                <a:gd name="connsiteY12" fmla="*/ 2131887 h 2531525"/>
                <a:gd name="connsiteX13" fmla="*/ 2104008 w 2495698"/>
                <a:gd name="connsiteY13" fmla="*/ 1504604 h 2531525"/>
                <a:gd name="connsiteX14" fmla="*/ 1476725 w 2495698"/>
                <a:gd name="connsiteY14" fmla="*/ 418119 h 2531525"/>
                <a:gd name="connsiteX15" fmla="*/ 1759910 w 2495698"/>
                <a:gd name="connsiteY15" fmla="*/ 98812 h 2531525"/>
                <a:gd name="connsiteX16" fmla="*/ 1754625 w 2495698"/>
                <a:gd name="connsiteY16" fmla="*/ 412897 h 2531525"/>
                <a:gd name="connsiteX17" fmla="*/ 1744979 w 2495698"/>
                <a:gd name="connsiteY17" fmla="*/ 410312 h 2531525"/>
                <a:gd name="connsiteX18" fmla="*/ 1954704 w 2495698"/>
                <a:gd name="connsiteY18" fmla="*/ 573108 h 2531525"/>
                <a:gd name="connsiteX19" fmla="*/ 2234317 w 2495698"/>
                <a:gd name="connsiteY19" fmla="*/ 503581 h 2531525"/>
                <a:gd name="connsiteX20" fmla="*/ 2413554 w 2495698"/>
                <a:gd name="connsiteY20" fmla="*/ 840674 h 2531525"/>
                <a:gd name="connsiteX21" fmla="*/ 2214321 w 2495698"/>
                <a:gd name="connsiteY21" fmla="*/ 1020292 h 2531525"/>
                <a:gd name="connsiteX22" fmla="*/ 2246841 w 2495698"/>
                <a:gd name="connsiteY22" fmla="*/ 1303347 h 2531525"/>
                <a:gd name="connsiteX23" fmla="*/ 2495698 w 2495698"/>
                <a:gd name="connsiteY23" fmla="*/ 1441496 h 2531525"/>
                <a:gd name="connsiteX24" fmla="*/ 2396885 w 2495698"/>
                <a:gd name="connsiteY24" fmla="*/ 1810269 h 2531525"/>
                <a:gd name="connsiteX25" fmla="*/ 2094912 w 2495698"/>
                <a:gd name="connsiteY25" fmla="*/ 1805190 h 2531525"/>
                <a:gd name="connsiteX26" fmla="*/ 1958644 w 2495698"/>
                <a:gd name="connsiteY26" fmla="*/ 1977881 h 2531525"/>
                <a:gd name="connsiteX27" fmla="*/ 2057814 w 2495698"/>
                <a:gd name="connsiteY27" fmla="*/ 2236715 h 2531525"/>
                <a:gd name="connsiteX28" fmla="*/ 1745078 w 2495698"/>
                <a:gd name="connsiteY28" fmla="*/ 2455696 h 2531525"/>
                <a:gd name="connsiteX29" fmla="*/ 1507869 w 2495698"/>
                <a:gd name="connsiteY29" fmla="*/ 2249759 h 2531525"/>
                <a:gd name="connsiteX30" fmla="*/ 1251837 w 2495698"/>
                <a:gd name="connsiteY30" fmla="*/ 2272543 h 2531525"/>
                <a:gd name="connsiteX31" fmla="*/ 1108065 w 2495698"/>
                <a:gd name="connsiteY31" fmla="*/ 2531525 h 2531525"/>
                <a:gd name="connsiteX32" fmla="*/ 739291 w 2495698"/>
                <a:gd name="connsiteY32" fmla="*/ 2432713 h 2531525"/>
                <a:gd name="connsiteX33" fmla="*/ 744274 w 2495698"/>
                <a:gd name="connsiteY33" fmla="*/ 2136543 h 2531525"/>
                <a:gd name="connsiteX34" fmla="*/ 535891 w 2495698"/>
                <a:gd name="connsiteY34" fmla="*/ 1973098 h 2531525"/>
                <a:gd name="connsiteX35" fmla="*/ 540671 w 2495698"/>
                <a:gd name="connsiteY35" fmla="*/ 1983347 h 2531525"/>
                <a:gd name="connsiteX36" fmla="*/ 232276 w 2495698"/>
                <a:gd name="connsiteY36" fmla="*/ 2043090 h 2531525"/>
                <a:gd name="connsiteX37" fmla="*/ 70927 w 2495698"/>
                <a:gd name="connsiteY37" fmla="*/ 1697078 h 2531525"/>
                <a:gd name="connsiteX38" fmla="*/ 279495 w 2495698"/>
                <a:gd name="connsiteY38" fmla="*/ 1527966 h 2531525"/>
                <a:gd name="connsiteX39" fmla="*/ 245586 w 2495698"/>
                <a:gd name="connsiteY39" fmla="*/ 1274796 h 2531525"/>
                <a:gd name="connsiteX40" fmla="*/ 0 w 2495698"/>
                <a:gd name="connsiteY40" fmla="*/ 1138462 h 2531525"/>
                <a:gd name="connsiteX41" fmla="*/ 98812 w 2495698"/>
                <a:gd name="connsiteY41" fmla="*/ 769689 h 2531525"/>
                <a:gd name="connsiteX42" fmla="*/ 380240 w 2495698"/>
                <a:gd name="connsiteY42" fmla="*/ 774423 h 2531525"/>
                <a:gd name="connsiteX43" fmla="*/ 516679 w 2495698"/>
                <a:gd name="connsiteY43" fmla="*/ 590627 h 2531525"/>
                <a:gd name="connsiteX44" fmla="*/ 422419 w 2495698"/>
                <a:gd name="connsiteY44" fmla="*/ 299900 h 2531525"/>
                <a:gd name="connsiteX45" fmla="*/ 746189 w 2495698"/>
                <a:gd name="connsiteY45" fmla="*/ 97585 h 2531525"/>
                <a:gd name="connsiteX46" fmla="*/ 972292 w 2495698"/>
                <a:gd name="connsiteY46" fmla="*/ 315656 h 2531525"/>
                <a:gd name="connsiteX47" fmla="*/ 970019 w 2495698"/>
                <a:gd name="connsiteY47" fmla="*/ 317076 h 2531525"/>
                <a:gd name="connsiteX48" fmla="*/ 1248316 w 2495698"/>
                <a:gd name="connsiteY48" fmla="*/ 277231 h 2531525"/>
                <a:gd name="connsiteX49" fmla="*/ 1238669 w 2495698"/>
                <a:gd name="connsiteY49" fmla="*/ 274647 h 2531525"/>
                <a:gd name="connsiteX50" fmla="*/ 1391137 w 2495698"/>
                <a:gd name="connsiteY50" fmla="*/ 0 h 2531525"/>
                <a:gd name="connsiteX51" fmla="*/ 1759910 w 2495698"/>
                <a:gd name="connsiteY51" fmla="*/ 98812 h 2531525"/>
                <a:gd name="connsiteX0" fmla="*/ 1365628 w 2495698"/>
                <a:gd name="connsiteY0" fmla="*/ 832740 h 2531525"/>
                <a:gd name="connsiteX1" fmla="*/ 804861 w 2495698"/>
                <a:gd name="connsiteY1" fmla="*/ 1156499 h 2531525"/>
                <a:gd name="connsiteX2" fmla="*/ 1128620 w 2495698"/>
                <a:gd name="connsiteY2" fmla="*/ 1717266 h 2531525"/>
                <a:gd name="connsiteX3" fmla="*/ 1689387 w 2495698"/>
                <a:gd name="connsiteY3" fmla="*/ 1393507 h 2531525"/>
                <a:gd name="connsiteX4" fmla="*/ 1365628 w 2495698"/>
                <a:gd name="connsiteY4" fmla="*/ 832740 h 2531525"/>
                <a:gd name="connsiteX5" fmla="*/ 1447099 w 2495698"/>
                <a:gd name="connsiteY5" fmla="*/ 528685 h 2531525"/>
                <a:gd name="connsiteX6" fmla="*/ 1993442 w 2495698"/>
                <a:gd name="connsiteY6" fmla="*/ 1474978 h 2531525"/>
                <a:gd name="connsiteX7" fmla="*/ 1047149 w 2495698"/>
                <a:gd name="connsiteY7" fmla="*/ 2021321 h 2531525"/>
                <a:gd name="connsiteX8" fmla="*/ 500806 w 2495698"/>
                <a:gd name="connsiteY8" fmla="*/ 1075027 h 2531525"/>
                <a:gd name="connsiteX9" fmla="*/ 1447099 w 2495698"/>
                <a:gd name="connsiteY9" fmla="*/ 528685 h 2531525"/>
                <a:gd name="connsiteX10" fmla="*/ 1476725 w 2495698"/>
                <a:gd name="connsiteY10" fmla="*/ 418119 h 2531525"/>
                <a:gd name="connsiteX11" fmla="*/ 390240 w 2495698"/>
                <a:gd name="connsiteY11" fmla="*/ 1045401 h 2531525"/>
                <a:gd name="connsiteX12" fmla="*/ 1017523 w 2495698"/>
                <a:gd name="connsiteY12" fmla="*/ 2131887 h 2531525"/>
                <a:gd name="connsiteX13" fmla="*/ 2104008 w 2495698"/>
                <a:gd name="connsiteY13" fmla="*/ 1504604 h 2531525"/>
                <a:gd name="connsiteX14" fmla="*/ 1476725 w 2495698"/>
                <a:gd name="connsiteY14" fmla="*/ 418119 h 2531525"/>
                <a:gd name="connsiteX15" fmla="*/ 1759910 w 2495698"/>
                <a:gd name="connsiteY15" fmla="*/ 98812 h 2531525"/>
                <a:gd name="connsiteX16" fmla="*/ 1754625 w 2495698"/>
                <a:gd name="connsiteY16" fmla="*/ 412897 h 2531525"/>
                <a:gd name="connsiteX17" fmla="*/ 1744979 w 2495698"/>
                <a:gd name="connsiteY17" fmla="*/ 410312 h 2531525"/>
                <a:gd name="connsiteX18" fmla="*/ 1954704 w 2495698"/>
                <a:gd name="connsiteY18" fmla="*/ 573108 h 2531525"/>
                <a:gd name="connsiteX19" fmla="*/ 2234317 w 2495698"/>
                <a:gd name="connsiteY19" fmla="*/ 503581 h 2531525"/>
                <a:gd name="connsiteX20" fmla="*/ 2413554 w 2495698"/>
                <a:gd name="connsiteY20" fmla="*/ 840674 h 2531525"/>
                <a:gd name="connsiteX21" fmla="*/ 2214321 w 2495698"/>
                <a:gd name="connsiteY21" fmla="*/ 1020292 h 2531525"/>
                <a:gd name="connsiteX22" fmla="*/ 2246841 w 2495698"/>
                <a:gd name="connsiteY22" fmla="*/ 1303347 h 2531525"/>
                <a:gd name="connsiteX23" fmla="*/ 2495698 w 2495698"/>
                <a:gd name="connsiteY23" fmla="*/ 1441496 h 2531525"/>
                <a:gd name="connsiteX24" fmla="*/ 2396885 w 2495698"/>
                <a:gd name="connsiteY24" fmla="*/ 1810269 h 2531525"/>
                <a:gd name="connsiteX25" fmla="*/ 2094912 w 2495698"/>
                <a:gd name="connsiteY25" fmla="*/ 1805190 h 2531525"/>
                <a:gd name="connsiteX26" fmla="*/ 1958644 w 2495698"/>
                <a:gd name="connsiteY26" fmla="*/ 1977881 h 2531525"/>
                <a:gd name="connsiteX27" fmla="*/ 2057814 w 2495698"/>
                <a:gd name="connsiteY27" fmla="*/ 2236715 h 2531525"/>
                <a:gd name="connsiteX28" fmla="*/ 1745078 w 2495698"/>
                <a:gd name="connsiteY28" fmla="*/ 2455696 h 2531525"/>
                <a:gd name="connsiteX29" fmla="*/ 1507869 w 2495698"/>
                <a:gd name="connsiteY29" fmla="*/ 2249759 h 2531525"/>
                <a:gd name="connsiteX30" fmla="*/ 1251837 w 2495698"/>
                <a:gd name="connsiteY30" fmla="*/ 2272543 h 2531525"/>
                <a:gd name="connsiteX31" fmla="*/ 1108065 w 2495698"/>
                <a:gd name="connsiteY31" fmla="*/ 2531525 h 2531525"/>
                <a:gd name="connsiteX32" fmla="*/ 739291 w 2495698"/>
                <a:gd name="connsiteY32" fmla="*/ 2432713 h 2531525"/>
                <a:gd name="connsiteX33" fmla="*/ 744274 w 2495698"/>
                <a:gd name="connsiteY33" fmla="*/ 2136543 h 2531525"/>
                <a:gd name="connsiteX34" fmla="*/ 535891 w 2495698"/>
                <a:gd name="connsiteY34" fmla="*/ 1973098 h 2531525"/>
                <a:gd name="connsiteX35" fmla="*/ 540671 w 2495698"/>
                <a:gd name="connsiteY35" fmla="*/ 1983347 h 2531525"/>
                <a:gd name="connsiteX36" fmla="*/ 232276 w 2495698"/>
                <a:gd name="connsiteY36" fmla="*/ 2043090 h 2531525"/>
                <a:gd name="connsiteX37" fmla="*/ 70927 w 2495698"/>
                <a:gd name="connsiteY37" fmla="*/ 1697078 h 2531525"/>
                <a:gd name="connsiteX38" fmla="*/ 279495 w 2495698"/>
                <a:gd name="connsiteY38" fmla="*/ 1527966 h 2531525"/>
                <a:gd name="connsiteX39" fmla="*/ 245586 w 2495698"/>
                <a:gd name="connsiteY39" fmla="*/ 1274796 h 2531525"/>
                <a:gd name="connsiteX40" fmla="*/ 0 w 2495698"/>
                <a:gd name="connsiteY40" fmla="*/ 1138462 h 2531525"/>
                <a:gd name="connsiteX41" fmla="*/ 98812 w 2495698"/>
                <a:gd name="connsiteY41" fmla="*/ 769689 h 2531525"/>
                <a:gd name="connsiteX42" fmla="*/ 380240 w 2495698"/>
                <a:gd name="connsiteY42" fmla="*/ 774423 h 2531525"/>
                <a:gd name="connsiteX43" fmla="*/ 516679 w 2495698"/>
                <a:gd name="connsiteY43" fmla="*/ 590627 h 2531525"/>
                <a:gd name="connsiteX44" fmla="*/ 422419 w 2495698"/>
                <a:gd name="connsiteY44" fmla="*/ 299900 h 2531525"/>
                <a:gd name="connsiteX45" fmla="*/ 746189 w 2495698"/>
                <a:gd name="connsiteY45" fmla="*/ 97585 h 2531525"/>
                <a:gd name="connsiteX46" fmla="*/ 972292 w 2495698"/>
                <a:gd name="connsiteY46" fmla="*/ 315656 h 2531525"/>
                <a:gd name="connsiteX47" fmla="*/ 970019 w 2495698"/>
                <a:gd name="connsiteY47" fmla="*/ 317076 h 2531525"/>
                <a:gd name="connsiteX48" fmla="*/ 1248316 w 2495698"/>
                <a:gd name="connsiteY48" fmla="*/ 277231 h 2531525"/>
                <a:gd name="connsiteX49" fmla="*/ 1238669 w 2495698"/>
                <a:gd name="connsiteY49" fmla="*/ 274647 h 2531525"/>
                <a:gd name="connsiteX50" fmla="*/ 1391137 w 2495698"/>
                <a:gd name="connsiteY50" fmla="*/ 0 h 2531525"/>
                <a:gd name="connsiteX51" fmla="*/ 1759910 w 2495698"/>
                <a:gd name="connsiteY51" fmla="*/ 98812 h 2531525"/>
                <a:gd name="connsiteX0" fmla="*/ 1365628 w 2495698"/>
                <a:gd name="connsiteY0" fmla="*/ 832740 h 2531525"/>
                <a:gd name="connsiteX1" fmla="*/ 804861 w 2495698"/>
                <a:gd name="connsiteY1" fmla="*/ 1156499 h 2531525"/>
                <a:gd name="connsiteX2" fmla="*/ 1128620 w 2495698"/>
                <a:gd name="connsiteY2" fmla="*/ 1717266 h 2531525"/>
                <a:gd name="connsiteX3" fmla="*/ 1689387 w 2495698"/>
                <a:gd name="connsiteY3" fmla="*/ 1393507 h 2531525"/>
                <a:gd name="connsiteX4" fmla="*/ 1365628 w 2495698"/>
                <a:gd name="connsiteY4" fmla="*/ 832740 h 2531525"/>
                <a:gd name="connsiteX5" fmla="*/ 1447099 w 2495698"/>
                <a:gd name="connsiteY5" fmla="*/ 528685 h 2531525"/>
                <a:gd name="connsiteX6" fmla="*/ 1993442 w 2495698"/>
                <a:gd name="connsiteY6" fmla="*/ 1474978 h 2531525"/>
                <a:gd name="connsiteX7" fmla="*/ 1047149 w 2495698"/>
                <a:gd name="connsiteY7" fmla="*/ 2021321 h 2531525"/>
                <a:gd name="connsiteX8" fmla="*/ 500806 w 2495698"/>
                <a:gd name="connsiteY8" fmla="*/ 1075027 h 2531525"/>
                <a:gd name="connsiteX9" fmla="*/ 1447099 w 2495698"/>
                <a:gd name="connsiteY9" fmla="*/ 528685 h 2531525"/>
                <a:gd name="connsiteX10" fmla="*/ 1476725 w 2495698"/>
                <a:gd name="connsiteY10" fmla="*/ 418119 h 2531525"/>
                <a:gd name="connsiteX11" fmla="*/ 390240 w 2495698"/>
                <a:gd name="connsiteY11" fmla="*/ 1045401 h 2531525"/>
                <a:gd name="connsiteX12" fmla="*/ 1017523 w 2495698"/>
                <a:gd name="connsiteY12" fmla="*/ 2131887 h 2531525"/>
                <a:gd name="connsiteX13" fmla="*/ 2104008 w 2495698"/>
                <a:gd name="connsiteY13" fmla="*/ 1504604 h 2531525"/>
                <a:gd name="connsiteX14" fmla="*/ 1476725 w 2495698"/>
                <a:gd name="connsiteY14" fmla="*/ 418119 h 2531525"/>
                <a:gd name="connsiteX15" fmla="*/ 1759910 w 2495698"/>
                <a:gd name="connsiteY15" fmla="*/ 98812 h 2531525"/>
                <a:gd name="connsiteX16" fmla="*/ 1754625 w 2495698"/>
                <a:gd name="connsiteY16" fmla="*/ 412897 h 2531525"/>
                <a:gd name="connsiteX17" fmla="*/ 1744979 w 2495698"/>
                <a:gd name="connsiteY17" fmla="*/ 410312 h 2531525"/>
                <a:gd name="connsiteX18" fmla="*/ 1954704 w 2495698"/>
                <a:gd name="connsiteY18" fmla="*/ 573108 h 2531525"/>
                <a:gd name="connsiteX19" fmla="*/ 2234317 w 2495698"/>
                <a:gd name="connsiteY19" fmla="*/ 503581 h 2531525"/>
                <a:gd name="connsiteX20" fmla="*/ 2413554 w 2495698"/>
                <a:gd name="connsiteY20" fmla="*/ 840674 h 2531525"/>
                <a:gd name="connsiteX21" fmla="*/ 2214321 w 2495698"/>
                <a:gd name="connsiteY21" fmla="*/ 1020292 h 2531525"/>
                <a:gd name="connsiteX22" fmla="*/ 2246841 w 2495698"/>
                <a:gd name="connsiteY22" fmla="*/ 1303347 h 2531525"/>
                <a:gd name="connsiteX23" fmla="*/ 2495698 w 2495698"/>
                <a:gd name="connsiteY23" fmla="*/ 1441496 h 2531525"/>
                <a:gd name="connsiteX24" fmla="*/ 2396885 w 2495698"/>
                <a:gd name="connsiteY24" fmla="*/ 1810269 h 2531525"/>
                <a:gd name="connsiteX25" fmla="*/ 2094912 w 2495698"/>
                <a:gd name="connsiteY25" fmla="*/ 1805190 h 2531525"/>
                <a:gd name="connsiteX26" fmla="*/ 1958644 w 2495698"/>
                <a:gd name="connsiteY26" fmla="*/ 1977881 h 2531525"/>
                <a:gd name="connsiteX27" fmla="*/ 2057814 w 2495698"/>
                <a:gd name="connsiteY27" fmla="*/ 2236715 h 2531525"/>
                <a:gd name="connsiteX28" fmla="*/ 1745078 w 2495698"/>
                <a:gd name="connsiteY28" fmla="*/ 2455696 h 2531525"/>
                <a:gd name="connsiteX29" fmla="*/ 1507869 w 2495698"/>
                <a:gd name="connsiteY29" fmla="*/ 2249759 h 2531525"/>
                <a:gd name="connsiteX30" fmla="*/ 1251837 w 2495698"/>
                <a:gd name="connsiteY30" fmla="*/ 2272543 h 2531525"/>
                <a:gd name="connsiteX31" fmla="*/ 1108065 w 2495698"/>
                <a:gd name="connsiteY31" fmla="*/ 2531525 h 2531525"/>
                <a:gd name="connsiteX32" fmla="*/ 739291 w 2495698"/>
                <a:gd name="connsiteY32" fmla="*/ 2432713 h 2531525"/>
                <a:gd name="connsiteX33" fmla="*/ 744274 w 2495698"/>
                <a:gd name="connsiteY33" fmla="*/ 2136543 h 2531525"/>
                <a:gd name="connsiteX34" fmla="*/ 535891 w 2495698"/>
                <a:gd name="connsiteY34" fmla="*/ 1973098 h 2531525"/>
                <a:gd name="connsiteX35" fmla="*/ 540671 w 2495698"/>
                <a:gd name="connsiteY35" fmla="*/ 1983347 h 2531525"/>
                <a:gd name="connsiteX36" fmla="*/ 232276 w 2495698"/>
                <a:gd name="connsiteY36" fmla="*/ 2043090 h 2531525"/>
                <a:gd name="connsiteX37" fmla="*/ 70927 w 2495698"/>
                <a:gd name="connsiteY37" fmla="*/ 1697078 h 2531525"/>
                <a:gd name="connsiteX38" fmla="*/ 279495 w 2495698"/>
                <a:gd name="connsiteY38" fmla="*/ 1527966 h 2531525"/>
                <a:gd name="connsiteX39" fmla="*/ 245586 w 2495698"/>
                <a:gd name="connsiteY39" fmla="*/ 1274796 h 2531525"/>
                <a:gd name="connsiteX40" fmla="*/ 0 w 2495698"/>
                <a:gd name="connsiteY40" fmla="*/ 1138462 h 2531525"/>
                <a:gd name="connsiteX41" fmla="*/ 98812 w 2495698"/>
                <a:gd name="connsiteY41" fmla="*/ 769689 h 2531525"/>
                <a:gd name="connsiteX42" fmla="*/ 380240 w 2495698"/>
                <a:gd name="connsiteY42" fmla="*/ 774423 h 2531525"/>
                <a:gd name="connsiteX43" fmla="*/ 516679 w 2495698"/>
                <a:gd name="connsiteY43" fmla="*/ 590627 h 2531525"/>
                <a:gd name="connsiteX44" fmla="*/ 422419 w 2495698"/>
                <a:gd name="connsiteY44" fmla="*/ 299900 h 2531525"/>
                <a:gd name="connsiteX45" fmla="*/ 746189 w 2495698"/>
                <a:gd name="connsiteY45" fmla="*/ 97585 h 2531525"/>
                <a:gd name="connsiteX46" fmla="*/ 972292 w 2495698"/>
                <a:gd name="connsiteY46" fmla="*/ 315656 h 2531525"/>
                <a:gd name="connsiteX47" fmla="*/ 970019 w 2495698"/>
                <a:gd name="connsiteY47" fmla="*/ 317076 h 2531525"/>
                <a:gd name="connsiteX48" fmla="*/ 1248316 w 2495698"/>
                <a:gd name="connsiteY48" fmla="*/ 277231 h 2531525"/>
                <a:gd name="connsiteX49" fmla="*/ 1391137 w 2495698"/>
                <a:gd name="connsiteY49" fmla="*/ 0 h 2531525"/>
                <a:gd name="connsiteX50" fmla="*/ 1759910 w 2495698"/>
                <a:gd name="connsiteY50" fmla="*/ 98812 h 2531525"/>
                <a:gd name="connsiteX0" fmla="*/ 1365628 w 2495698"/>
                <a:gd name="connsiteY0" fmla="*/ 832740 h 2531525"/>
                <a:gd name="connsiteX1" fmla="*/ 804861 w 2495698"/>
                <a:gd name="connsiteY1" fmla="*/ 1156499 h 2531525"/>
                <a:gd name="connsiteX2" fmla="*/ 1128620 w 2495698"/>
                <a:gd name="connsiteY2" fmla="*/ 1717266 h 2531525"/>
                <a:gd name="connsiteX3" fmla="*/ 1689387 w 2495698"/>
                <a:gd name="connsiteY3" fmla="*/ 1393507 h 2531525"/>
                <a:gd name="connsiteX4" fmla="*/ 1365628 w 2495698"/>
                <a:gd name="connsiteY4" fmla="*/ 832740 h 2531525"/>
                <a:gd name="connsiteX5" fmla="*/ 1447099 w 2495698"/>
                <a:gd name="connsiteY5" fmla="*/ 528685 h 2531525"/>
                <a:gd name="connsiteX6" fmla="*/ 1993442 w 2495698"/>
                <a:gd name="connsiteY6" fmla="*/ 1474978 h 2531525"/>
                <a:gd name="connsiteX7" fmla="*/ 1047149 w 2495698"/>
                <a:gd name="connsiteY7" fmla="*/ 2021321 h 2531525"/>
                <a:gd name="connsiteX8" fmla="*/ 500806 w 2495698"/>
                <a:gd name="connsiteY8" fmla="*/ 1075027 h 2531525"/>
                <a:gd name="connsiteX9" fmla="*/ 1447099 w 2495698"/>
                <a:gd name="connsiteY9" fmla="*/ 528685 h 2531525"/>
                <a:gd name="connsiteX10" fmla="*/ 1476725 w 2495698"/>
                <a:gd name="connsiteY10" fmla="*/ 418119 h 2531525"/>
                <a:gd name="connsiteX11" fmla="*/ 390240 w 2495698"/>
                <a:gd name="connsiteY11" fmla="*/ 1045401 h 2531525"/>
                <a:gd name="connsiteX12" fmla="*/ 1017523 w 2495698"/>
                <a:gd name="connsiteY12" fmla="*/ 2131887 h 2531525"/>
                <a:gd name="connsiteX13" fmla="*/ 2104008 w 2495698"/>
                <a:gd name="connsiteY13" fmla="*/ 1504604 h 2531525"/>
                <a:gd name="connsiteX14" fmla="*/ 1476725 w 2495698"/>
                <a:gd name="connsiteY14" fmla="*/ 418119 h 2531525"/>
                <a:gd name="connsiteX15" fmla="*/ 1759910 w 2495698"/>
                <a:gd name="connsiteY15" fmla="*/ 98812 h 2531525"/>
                <a:gd name="connsiteX16" fmla="*/ 1754625 w 2495698"/>
                <a:gd name="connsiteY16" fmla="*/ 412897 h 2531525"/>
                <a:gd name="connsiteX17" fmla="*/ 1744979 w 2495698"/>
                <a:gd name="connsiteY17" fmla="*/ 410312 h 2531525"/>
                <a:gd name="connsiteX18" fmla="*/ 1954704 w 2495698"/>
                <a:gd name="connsiteY18" fmla="*/ 573108 h 2531525"/>
                <a:gd name="connsiteX19" fmla="*/ 2234317 w 2495698"/>
                <a:gd name="connsiteY19" fmla="*/ 503581 h 2531525"/>
                <a:gd name="connsiteX20" fmla="*/ 2413554 w 2495698"/>
                <a:gd name="connsiteY20" fmla="*/ 840674 h 2531525"/>
                <a:gd name="connsiteX21" fmla="*/ 2214321 w 2495698"/>
                <a:gd name="connsiteY21" fmla="*/ 1020292 h 2531525"/>
                <a:gd name="connsiteX22" fmla="*/ 2246841 w 2495698"/>
                <a:gd name="connsiteY22" fmla="*/ 1303347 h 2531525"/>
                <a:gd name="connsiteX23" fmla="*/ 2495698 w 2495698"/>
                <a:gd name="connsiteY23" fmla="*/ 1441496 h 2531525"/>
                <a:gd name="connsiteX24" fmla="*/ 2396885 w 2495698"/>
                <a:gd name="connsiteY24" fmla="*/ 1810269 h 2531525"/>
                <a:gd name="connsiteX25" fmla="*/ 2094912 w 2495698"/>
                <a:gd name="connsiteY25" fmla="*/ 1805190 h 2531525"/>
                <a:gd name="connsiteX26" fmla="*/ 1958644 w 2495698"/>
                <a:gd name="connsiteY26" fmla="*/ 1977881 h 2531525"/>
                <a:gd name="connsiteX27" fmla="*/ 2057814 w 2495698"/>
                <a:gd name="connsiteY27" fmla="*/ 2236715 h 2531525"/>
                <a:gd name="connsiteX28" fmla="*/ 1745078 w 2495698"/>
                <a:gd name="connsiteY28" fmla="*/ 2455696 h 2531525"/>
                <a:gd name="connsiteX29" fmla="*/ 1507869 w 2495698"/>
                <a:gd name="connsiteY29" fmla="*/ 2249759 h 2531525"/>
                <a:gd name="connsiteX30" fmla="*/ 1251837 w 2495698"/>
                <a:gd name="connsiteY30" fmla="*/ 2272543 h 2531525"/>
                <a:gd name="connsiteX31" fmla="*/ 1108065 w 2495698"/>
                <a:gd name="connsiteY31" fmla="*/ 2531525 h 2531525"/>
                <a:gd name="connsiteX32" fmla="*/ 739291 w 2495698"/>
                <a:gd name="connsiteY32" fmla="*/ 2432713 h 2531525"/>
                <a:gd name="connsiteX33" fmla="*/ 744274 w 2495698"/>
                <a:gd name="connsiteY33" fmla="*/ 2136543 h 2531525"/>
                <a:gd name="connsiteX34" fmla="*/ 535891 w 2495698"/>
                <a:gd name="connsiteY34" fmla="*/ 1973098 h 2531525"/>
                <a:gd name="connsiteX35" fmla="*/ 540671 w 2495698"/>
                <a:gd name="connsiteY35" fmla="*/ 1983347 h 2531525"/>
                <a:gd name="connsiteX36" fmla="*/ 232276 w 2495698"/>
                <a:gd name="connsiteY36" fmla="*/ 2043090 h 2531525"/>
                <a:gd name="connsiteX37" fmla="*/ 70927 w 2495698"/>
                <a:gd name="connsiteY37" fmla="*/ 1697078 h 2531525"/>
                <a:gd name="connsiteX38" fmla="*/ 279495 w 2495698"/>
                <a:gd name="connsiteY38" fmla="*/ 1527966 h 2531525"/>
                <a:gd name="connsiteX39" fmla="*/ 245586 w 2495698"/>
                <a:gd name="connsiteY39" fmla="*/ 1274796 h 2531525"/>
                <a:gd name="connsiteX40" fmla="*/ 0 w 2495698"/>
                <a:gd name="connsiteY40" fmla="*/ 1138462 h 2531525"/>
                <a:gd name="connsiteX41" fmla="*/ 98812 w 2495698"/>
                <a:gd name="connsiteY41" fmla="*/ 769689 h 2531525"/>
                <a:gd name="connsiteX42" fmla="*/ 380240 w 2495698"/>
                <a:gd name="connsiteY42" fmla="*/ 774423 h 2531525"/>
                <a:gd name="connsiteX43" fmla="*/ 516679 w 2495698"/>
                <a:gd name="connsiteY43" fmla="*/ 590627 h 2531525"/>
                <a:gd name="connsiteX44" fmla="*/ 422419 w 2495698"/>
                <a:gd name="connsiteY44" fmla="*/ 299900 h 2531525"/>
                <a:gd name="connsiteX45" fmla="*/ 746189 w 2495698"/>
                <a:gd name="connsiteY45" fmla="*/ 97585 h 2531525"/>
                <a:gd name="connsiteX46" fmla="*/ 972292 w 2495698"/>
                <a:gd name="connsiteY46" fmla="*/ 315656 h 2531525"/>
                <a:gd name="connsiteX47" fmla="*/ 970019 w 2495698"/>
                <a:gd name="connsiteY47" fmla="*/ 317076 h 2531525"/>
                <a:gd name="connsiteX48" fmla="*/ 1248316 w 2495698"/>
                <a:gd name="connsiteY48" fmla="*/ 277231 h 2531525"/>
                <a:gd name="connsiteX49" fmla="*/ 1391137 w 2495698"/>
                <a:gd name="connsiteY49" fmla="*/ 0 h 2531525"/>
                <a:gd name="connsiteX50" fmla="*/ 1759910 w 2495698"/>
                <a:gd name="connsiteY50" fmla="*/ 98812 h 2531525"/>
                <a:gd name="connsiteX0" fmla="*/ 1365628 w 2495698"/>
                <a:gd name="connsiteY0" fmla="*/ 832740 h 2531525"/>
                <a:gd name="connsiteX1" fmla="*/ 804861 w 2495698"/>
                <a:gd name="connsiteY1" fmla="*/ 1156499 h 2531525"/>
                <a:gd name="connsiteX2" fmla="*/ 1128620 w 2495698"/>
                <a:gd name="connsiteY2" fmla="*/ 1717266 h 2531525"/>
                <a:gd name="connsiteX3" fmla="*/ 1689387 w 2495698"/>
                <a:gd name="connsiteY3" fmla="*/ 1393507 h 2531525"/>
                <a:gd name="connsiteX4" fmla="*/ 1365628 w 2495698"/>
                <a:gd name="connsiteY4" fmla="*/ 832740 h 2531525"/>
                <a:gd name="connsiteX5" fmla="*/ 1447099 w 2495698"/>
                <a:gd name="connsiteY5" fmla="*/ 528685 h 2531525"/>
                <a:gd name="connsiteX6" fmla="*/ 1993442 w 2495698"/>
                <a:gd name="connsiteY6" fmla="*/ 1474978 h 2531525"/>
                <a:gd name="connsiteX7" fmla="*/ 1047149 w 2495698"/>
                <a:gd name="connsiteY7" fmla="*/ 2021321 h 2531525"/>
                <a:gd name="connsiteX8" fmla="*/ 500806 w 2495698"/>
                <a:gd name="connsiteY8" fmla="*/ 1075027 h 2531525"/>
                <a:gd name="connsiteX9" fmla="*/ 1447099 w 2495698"/>
                <a:gd name="connsiteY9" fmla="*/ 528685 h 2531525"/>
                <a:gd name="connsiteX10" fmla="*/ 1476725 w 2495698"/>
                <a:gd name="connsiteY10" fmla="*/ 418119 h 2531525"/>
                <a:gd name="connsiteX11" fmla="*/ 390240 w 2495698"/>
                <a:gd name="connsiteY11" fmla="*/ 1045401 h 2531525"/>
                <a:gd name="connsiteX12" fmla="*/ 1017523 w 2495698"/>
                <a:gd name="connsiteY12" fmla="*/ 2131887 h 2531525"/>
                <a:gd name="connsiteX13" fmla="*/ 2104008 w 2495698"/>
                <a:gd name="connsiteY13" fmla="*/ 1504604 h 2531525"/>
                <a:gd name="connsiteX14" fmla="*/ 1476725 w 2495698"/>
                <a:gd name="connsiteY14" fmla="*/ 418119 h 2531525"/>
                <a:gd name="connsiteX15" fmla="*/ 1759910 w 2495698"/>
                <a:gd name="connsiteY15" fmla="*/ 98812 h 2531525"/>
                <a:gd name="connsiteX16" fmla="*/ 1754625 w 2495698"/>
                <a:gd name="connsiteY16" fmla="*/ 412897 h 2531525"/>
                <a:gd name="connsiteX17" fmla="*/ 1744979 w 2495698"/>
                <a:gd name="connsiteY17" fmla="*/ 410312 h 2531525"/>
                <a:gd name="connsiteX18" fmla="*/ 1954704 w 2495698"/>
                <a:gd name="connsiteY18" fmla="*/ 573108 h 2531525"/>
                <a:gd name="connsiteX19" fmla="*/ 2234317 w 2495698"/>
                <a:gd name="connsiteY19" fmla="*/ 503581 h 2531525"/>
                <a:gd name="connsiteX20" fmla="*/ 2413554 w 2495698"/>
                <a:gd name="connsiteY20" fmla="*/ 840674 h 2531525"/>
                <a:gd name="connsiteX21" fmla="*/ 2214321 w 2495698"/>
                <a:gd name="connsiteY21" fmla="*/ 1020292 h 2531525"/>
                <a:gd name="connsiteX22" fmla="*/ 2246841 w 2495698"/>
                <a:gd name="connsiteY22" fmla="*/ 1303347 h 2531525"/>
                <a:gd name="connsiteX23" fmla="*/ 2495698 w 2495698"/>
                <a:gd name="connsiteY23" fmla="*/ 1441496 h 2531525"/>
                <a:gd name="connsiteX24" fmla="*/ 2396885 w 2495698"/>
                <a:gd name="connsiteY24" fmla="*/ 1810269 h 2531525"/>
                <a:gd name="connsiteX25" fmla="*/ 2094912 w 2495698"/>
                <a:gd name="connsiteY25" fmla="*/ 1805190 h 2531525"/>
                <a:gd name="connsiteX26" fmla="*/ 1958644 w 2495698"/>
                <a:gd name="connsiteY26" fmla="*/ 1977881 h 2531525"/>
                <a:gd name="connsiteX27" fmla="*/ 2057814 w 2495698"/>
                <a:gd name="connsiteY27" fmla="*/ 2236715 h 2531525"/>
                <a:gd name="connsiteX28" fmla="*/ 1745078 w 2495698"/>
                <a:gd name="connsiteY28" fmla="*/ 2455696 h 2531525"/>
                <a:gd name="connsiteX29" fmla="*/ 1507869 w 2495698"/>
                <a:gd name="connsiteY29" fmla="*/ 2249759 h 2531525"/>
                <a:gd name="connsiteX30" fmla="*/ 1251837 w 2495698"/>
                <a:gd name="connsiteY30" fmla="*/ 2272543 h 2531525"/>
                <a:gd name="connsiteX31" fmla="*/ 1108065 w 2495698"/>
                <a:gd name="connsiteY31" fmla="*/ 2531525 h 2531525"/>
                <a:gd name="connsiteX32" fmla="*/ 739291 w 2495698"/>
                <a:gd name="connsiteY32" fmla="*/ 2432713 h 2531525"/>
                <a:gd name="connsiteX33" fmla="*/ 744274 w 2495698"/>
                <a:gd name="connsiteY33" fmla="*/ 2136543 h 2531525"/>
                <a:gd name="connsiteX34" fmla="*/ 535891 w 2495698"/>
                <a:gd name="connsiteY34" fmla="*/ 1973098 h 2531525"/>
                <a:gd name="connsiteX35" fmla="*/ 540671 w 2495698"/>
                <a:gd name="connsiteY35" fmla="*/ 1983347 h 2531525"/>
                <a:gd name="connsiteX36" fmla="*/ 232276 w 2495698"/>
                <a:gd name="connsiteY36" fmla="*/ 2043090 h 2531525"/>
                <a:gd name="connsiteX37" fmla="*/ 70927 w 2495698"/>
                <a:gd name="connsiteY37" fmla="*/ 1697078 h 2531525"/>
                <a:gd name="connsiteX38" fmla="*/ 279495 w 2495698"/>
                <a:gd name="connsiteY38" fmla="*/ 1527966 h 2531525"/>
                <a:gd name="connsiteX39" fmla="*/ 245586 w 2495698"/>
                <a:gd name="connsiteY39" fmla="*/ 1274796 h 2531525"/>
                <a:gd name="connsiteX40" fmla="*/ 0 w 2495698"/>
                <a:gd name="connsiteY40" fmla="*/ 1138462 h 2531525"/>
                <a:gd name="connsiteX41" fmla="*/ 98812 w 2495698"/>
                <a:gd name="connsiteY41" fmla="*/ 769689 h 2531525"/>
                <a:gd name="connsiteX42" fmla="*/ 380240 w 2495698"/>
                <a:gd name="connsiteY42" fmla="*/ 774423 h 2531525"/>
                <a:gd name="connsiteX43" fmla="*/ 516679 w 2495698"/>
                <a:gd name="connsiteY43" fmla="*/ 590627 h 2531525"/>
                <a:gd name="connsiteX44" fmla="*/ 422419 w 2495698"/>
                <a:gd name="connsiteY44" fmla="*/ 299900 h 2531525"/>
                <a:gd name="connsiteX45" fmla="*/ 746189 w 2495698"/>
                <a:gd name="connsiteY45" fmla="*/ 97585 h 2531525"/>
                <a:gd name="connsiteX46" fmla="*/ 972292 w 2495698"/>
                <a:gd name="connsiteY46" fmla="*/ 315656 h 2531525"/>
                <a:gd name="connsiteX47" fmla="*/ 970019 w 2495698"/>
                <a:gd name="connsiteY47" fmla="*/ 317076 h 2531525"/>
                <a:gd name="connsiteX48" fmla="*/ 1248316 w 2495698"/>
                <a:gd name="connsiteY48" fmla="*/ 277231 h 2531525"/>
                <a:gd name="connsiteX49" fmla="*/ 1391137 w 2495698"/>
                <a:gd name="connsiteY49" fmla="*/ 0 h 2531525"/>
                <a:gd name="connsiteX50" fmla="*/ 1759910 w 2495698"/>
                <a:gd name="connsiteY50" fmla="*/ 98812 h 2531525"/>
                <a:gd name="connsiteX0" fmla="*/ 1365628 w 2495698"/>
                <a:gd name="connsiteY0" fmla="*/ 832740 h 2531525"/>
                <a:gd name="connsiteX1" fmla="*/ 804861 w 2495698"/>
                <a:gd name="connsiteY1" fmla="*/ 1156499 h 2531525"/>
                <a:gd name="connsiteX2" fmla="*/ 1128620 w 2495698"/>
                <a:gd name="connsiteY2" fmla="*/ 1717266 h 2531525"/>
                <a:gd name="connsiteX3" fmla="*/ 1689387 w 2495698"/>
                <a:gd name="connsiteY3" fmla="*/ 1393507 h 2531525"/>
                <a:gd name="connsiteX4" fmla="*/ 1365628 w 2495698"/>
                <a:gd name="connsiteY4" fmla="*/ 832740 h 2531525"/>
                <a:gd name="connsiteX5" fmla="*/ 1447099 w 2495698"/>
                <a:gd name="connsiteY5" fmla="*/ 528685 h 2531525"/>
                <a:gd name="connsiteX6" fmla="*/ 1993442 w 2495698"/>
                <a:gd name="connsiteY6" fmla="*/ 1474978 h 2531525"/>
                <a:gd name="connsiteX7" fmla="*/ 1047149 w 2495698"/>
                <a:gd name="connsiteY7" fmla="*/ 2021321 h 2531525"/>
                <a:gd name="connsiteX8" fmla="*/ 500806 w 2495698"/>
                <a:gd name="connsiteY8" fmla="*/ 1075027 h 2531525"/>
                <a:gd name="connsiteX9" fmla="*/ 1447099 w 2495698"/>
                <a:gd name="connsiteY9" fmla="*/ 528685 h 2531525"/>
                <a:gd name="connsiteX10" fmla="*/ 1476725 w 2495698"/>
                <a:gd name="connsiteY10" fmla="*/ 418119 h 2531525"/>
                <a:gd name="connsiteX11" fmla="*/ 390240 w 2495698"/>
                <a:gd name="connsiteY11" fmla="*/ 1045401 h 2531525"/>
                <a:gd name="connsiteX12" fmla="*/ 1017523 w 2495698"/>
                <a:gd name="connsiteY12" fmla="*/ 2131887 h 2531525"/>
                <a:gd name="connsiteX13" fmla="*/ 2104008 w 2495698"/>
                <a:gd name="connsiteY13" fmla="*/ 1504604 h 2531525"/>
                <a:gd name="connsiteX14" fmla="*/ 1476725 w 2495698"/>
                <a:gd name="connsiteY14" fmla="*/ 418119 h 2531525"/>
                <a:gd name="connsiteX15" fmla="*/ 1759910 w 2495698"/>
                <a:gd name="connsiteY15" fmla="*/ 98812 h 2531525"/>
                <a:gd name="connsiteX16" fmla="*/ 1754625 w 2495698"/>
                <a:gd name="connsiteY16" fmla="*/ 412897 h 2531525"/>
                <a:gd name="connsiteX17" fmla="*/ 1744979 w 2495698"/>
                <a:gd name="connsiteY17" fmla="*/ 410312 h 2531525"/>
                <a:gd name="connsiteX18" fmla="*/ 1954704 w 2495698"/>
                <a:gd name="connsiteY18" fmla="*/ 573108 h 2531525"/>
                <a:gd name="connsiteX19" fmla="*/ 2234317 w 2495698"/>
                <a:gd name="connsiteY19" fmla="*/ 503581 h 2531525"/>
                <a:gd name="connsiteX20" fmla="*/ 2413554 w 2495698"/>
                <a:gd name="connsiteY20" fmla="*/ 840674 h 2531525"/>
                <a:gd name="connsiteX21" fmla="*/ 2214321 w 2495698"/>
                <a:gd name="connsiteY21" fmla="*/ 1020292 h 2531525"/>
                <a:gd name="connsiteX22" fmla="*/ 2246841 w 2495698"/>
                <a:gd name="connsiteY22" fmla="*/ 1303347 h 2531525"/>
                <a:gd name="connsiteX23" fmla="*/ 2495698 w 2495698"/>
                <a:gd name="connsiteY23" fmla="*/ 1441496 h 2531525"/>
                <a:gd name="connsiteX24" fmla="*/ 2396885 w 2495698"/>
                <a:gd name="connsiteY24" fmla="*/ 1810269 h 2531525"/>
                <a:gd name="connsiteX25" fmla="*/ 2094912 w 2495698"/>
                <a:gd name="connsiteY25" fmla="*/ 1805190 h 2531525"/>
                <a:gd name="connsiteX26" fmla="*/ 1958644 w 2495698"/>
                <a:gd name="connsiteY26" fmla="*/ 1977881 h 2531525"/>
                <a:gd name="connsiteX27" fmla="*/ 2057814 w 2495698"/>
                <a:gd name="connsiteY27" fmla="*/ 2236715 h 2531525"/>
                <a:gd name="connsiteX28" fmla="*/ 1745078 w 2495698"/>
                <a:gd name="connsiteY28" fmla="*/ 2455696 h 2531525"/>
                <a:gd name="connsiteX29" fmla="*/ 1507869 w 2495698"/>
                <a:gd name="connsiteY29" fmla="*/ 2249759 h 2531525"/>
                <a:gd name="connsiteX30" fmla="*/ 1251837 w 2495698"/>
                <a:gd name="connsiteY30" fmla="*/ 2272543 h 2531525"/>
                <a:gd name="connsiteX31" fmla="*/ 1108065 w 2495698"/>
                <a:gd name="connsiteY31" fmla="*/ 2531525 h 2531525"/>
                <a:gd name="connsiteX32" fmla="*/ 739291 w 2495698"/>
                <a:gd name="connsiteY32" fmla="*/ 2432713 h 2531525"/>
                <a:gd name="connsiteX33" fmla="*/ 744274 w 2495698"/>
                <a:gd name="connsiteY33" fmla="*/ 2136543 h 2531525"/>
                <a:gd name="connsiteX34" fmla="*/ 535891 w 2495698"/>
                <a:gd name="connsiteY34" fmla="*/ 1973098 h 2531525"/>
                <a:gd name="connsiteX35" fmla="*/ 540671 w 2495698"/>
                <a:gd name="connsiteY35" fmla="*/ 1983347 h 2531525"/>
                <a:gd name="connsiteX36" fmla="*/ 232276 w 2495698"/>
                <a:gd name="connsiteY36" fmla="*/ 2043090 h 2531525"/>
                <a:gd name="connsiteX37" fmla="*/ 70927 w 2495698"/>
                <a:gd name="connsiteY37" fmla="*/ 1697078 h 2531525"/>
                <a:gd name="connsiteX38" fmla="*/ 279495 w 2495698"/>
                <a:gd name="connsiteY38" fmla="*/ 1527966 h 2531525"/>
                <a:gd name="connsiteX39" fmla="*/ 245586 w 2495698"/>
                <a:gd name="connsiteY39" fmla="*/ 1274796 h 2531525"/>
                <a:gd name="connsiteX40" fmla="*/ 0 w 2495698"/>
                <a:gd name="connsiteY40" fmla="*/ 1138462 h 2531525"/>
                <a:gd name="connsiteX41" fmla="*/ 98812 w 2495698"/>
                <a:gd name="connsiteY41" fmla="*/ 769689 h 2531525"/>
                <a:gd name="connsiteX42" fmla="*/ 380240 w 2495698"/>
                <a:gd name="connsiteY42" fmla="*/ 774423 h 2531525"/>
                <a:gd name="connsiteX43" fmla="*/ 516679 w 2495698"/>
                <a:gd name="connsiteY43" fmla="*/ 590627 h 2531525"/>
                <a:gd name="connsiteX44" fmla="*/ 422419 w 2495698"/>
                <a:gd name="connsiteY44" fmla="*/ 299900 h 2531525"/>
                <a:gd name="connsiteX45" fmla="*/ 746189 w 2495698"/>
                <a:gd name="connsiteY45" fmla="*/ 97585 h 2531525"/>
                <a:gd name="connsiteX46" fmla="*/ 972292 w 2495698"/>
                <a:gd name="connsiteY46" fmla="*/ 315656 h 2531525"/>
                <a:gd name="connsiteX47" fmla="*/ 970019 w 2495698"/>
                <a:gd name="connsiteY47" fmla="*/ 317076 h 2531525"/>
                <a:gd name="connsiteX48" fmla="*/ 1248316 w 2495698"/>
                <a:gd name="connsiteY48" fmla="*/ 277231 h 2531525"/>
                <a:gd name="connsiteX49" fmla="*/ 1391137 w 2495698"/>
                <a:gd name="connsiteY49" fmla="*/ 0 h 2531525"/>
                <a:gd name="connsiteX50" fmla="*/ 1759910 w 2495698"/>
                <a:gd name="connsiteY50" fmla="*/ 98812 h 2531525"/>
                <a:gd name="connsiteX0" fmla="*/ 1365628 w 2495698"/>
                <a:gd name="connsiteY0" fmla="*/ 832740 h 2531525"/>
                <a:gd name="connsiteX1" fmla="*/ 804861 w 2495698"/>
                <a:gd name="connsiteY1" fmla="*/ 1156499 h 2531525"/>
                <a:gd name="connsiteX2" fmla="*/ 1128620 w 2495698"/>
                <a:gd name="connsiteY2" fmla="*/ 1717266 h 2531525"/>
                <a:gd name="connsiteX3" fmla="*/ 1689387 w 2495698"/>
                <a:gd name="connsiteY3" fmla="*/ 1393507 h 2531525"/>
                <a:gd name="connsiteX4" fmla="*/ 1365628 w 2495698"/>
                <a:gd name="connsiteY4" fmla="*/ 832740 h 2531525"/>
                <a:gd name="connsiteX5" fmla="*/ 1447099 w 2495698"/>
                <a:gd name="connsiteY5" fmla="*/ 528685 h 2531525"/>
                <a:gd name="connsiteX6" fmla="*/ 1993442 w 2495698"/>
                <a:gd name="connsiteY6" fmla="*/ 1474978 h 2531525"/>
                <a:gd name="connsiteX7" fmla="*/ 1047149 w 2495698"/>
                <a:gd name="connsiteY7" fmla="*/ 2021321 h 2531525"/>
                <a:gd name="connsiteX8" fmla="*/ 500806 w 2495698"/>
                <a:gd name="connsiteY8" fmla="*/ 1075027 h 2531525"/>
                <a:gd name="connsiteX9" fmla="*/ 1447099 w 2495698"/>
                <a:gd name="connsiteY9" fmla="*/ 528685 h 2531525"/>
                <a:gd name="connsiteX10" fmla="*/ 1476725 w 2495698"/>
                <a:gd name="connsiteY10" fmla="*/ 418119 h 2531525"/>
                <a:gd name="connsiteX11" fmla="*/ 390240 w 2495698"/>
                <a:gd name="connsiteY11" fmla="*/ 1045401 h 2531525"/>
                <a:gd name="connsiteX12" fmla="*/ 1017523 w 2495698"/>
                <a:gd name="connsiteY12" fmla="*/ 2131887 h 2531525"/>
                <a:gd name="connsiteX13" fmla="*/ 2104008 w 2495698"/>
                <a:gd name="connsiteY13" fmla="*/ 1504604 h 2531525"/>
                <a:gd name="connsiteX14" fmla="*/ 1476725 w 2495698"/>
                <a:gd name="connsiteY14" fmla="*/ 418119 h 2531525"/>
                <a:gd name="connsiteX15" fmla="*/ 1759910 w 2495698"/>
                <a:gd name="connsiteY15" fmla="*/ 98812 h 2531525"/>
                <a:gd name="connsiteX16" fmla="*/ 1754625 w 2495698"/>
                <a:gd name="connsiteY16" fmla="*/ 412897 h 2531525"/>
                <a:gd name="connsiteX17" fmla="*/ 1744979 w 2495698"/>
                <a:gd name="connsiteY17" fmla="*/ 410312 h 2531525"/>
                <a:gd name="connsiteX18" fmla="*/ 1954704 w 2495698"/>
                <a:gd name="connsiteY18" fmla="*/ 573108 h 2531525"/>
                <a:gd name="connsiteX19" fmla="*/ 2234317 w 2495698"/>
                <a:gd name="connsiteY19" fmla="*/ 503581 h 2531525"/>
                <a:gd name="connsiteX20" fmla="*/ 2413554 w 2495698"/>
                <a:gd name="connsiteY20" fmla="*/ 840674 h 2531525"/>
                <a:gd name="connsiteX21" fmla="*/ 2214321 w 2495698"/>
                <a:gd name="connsiteY21" fmla="*/ 1020292 h 2531525"/>
                <a:gd name="connsiteX22" fmla="*/ 2246841 w 2495698"/>
                <a:gd name="connsiteY22" fmla="*/ 1303347 h 2531525"/>
                <a:gd name="connsiteX23" fmla="*/ 2495698 w 2495698"/>
                <a:gd name="connsiteY23" fmla="*/ 1441496 h 2531525"/>
                <a:gd name="connsiteX24" fmla="*/ 2396885 w 2495698"/>
                <a:gd name="connsiteY24" fmla="*/ 1810269 h 2531525"/>
                <a:gd name="connsiteX25" fmla="*/ 2094912 w 2495698"/>
                <a:gd name="connsiteY25" fmla="*/ 1805190 h 2531525"/>
                <a:gd name="connsiteX26" fmla="*/ 1958644 w 2495698"/>
                <a:gd name="connsiteY26" fmla="*/ 1977881 h 2531525"/>
                <a:gd name="connsiteX27" fmla="*/ 2057814 w 2495698"/>
                <a:gd name="connsiteY27" fmla="*/ 2236715 h 2531525"/>
                <a:gd name="connsiteX28" fmla="*/ 1745078 w 2495698"/>
                <a:gd name="connsiteY28" fmla="*/ 2455696 h 2531525"/>
                <a:gd name="connsiteX29" fmla="*/ 1507869 w 2495698"/>
                <a:gd name="connsiteY29" fmla="*/ 2249759 h 2531525"/>
                <a:gd name="connsiteX30" fmla="*/ 1251837 w 2495698"/>
                <a:gd name="connsiteY30" fmla="*/ 2272543 h 2531525"/>
                <a:gd name="connsiteX31" fmla="*/ 1108065 w 2495698"/>
                <a:gd name="connsiteY31" fmla="*/ 2531525 h 2531525"/>
                <a:gd name="connsiteX32" fmla="*/ 739291 w 2495698"/>
                <a:gd name="connsiteY32" fmla="*/ 2432713 h 2531525"/>
                <a:gd name="connsiteX33" fmla="*/ 744274 w 2495698"/>
                <a:gd name="connsiteY33" fmla="*/ 2136543 h 2531525"/>
                <a:gd name="connsiteX34" fmla="*/ 535891 w 2495698"/>
                <a:gd name="connsiteY34" fmla="*/ 1973098 h 2531525"/>
                <a:gd name="connsiteX35" fmla="*/ 540671 w 2495698"/>
                <a:gd name="connsiteY35" fmla="*/ 1983347 h 2531525"/>
                <a:gd name="connsiteX36" fmla="*/ 232276 w 2495698"/>
                <a:gd name="connsiteY36" fmla="*/ 2043090 h 2531525"/>
                <a:gd name="connsiteX37" fmla="*/ 70927 w 2495698"/>
                <a:gd name="connsiteY37" fmla="*/ 1697078 h 2531525"/>
                <a:gd name="connsiteX38" fmla="*/ 279495 w 2495698"/>
                <a:gd name="connsiteY38" fmla="*/ 1527966 h 2531525"/>
                <a:gd name="connsiteX39" fmla="*/ 245586 w 2495698"/>
                <a:gd name="connsiteY39" fmla="*/ 1274796 h 2531525"/>
                <a:gd name="connsiteX40" fmla="*/ 0 w 2495698"/>
                <a:gd name="connsiteY40" fmla="*/ 1138462 h 2531525"/>
                <a:gd name="connsiteX41" fmla="*/ 98812 w 2495698"/>
                <a:gd name="connsiteY41" fmla="*/ 769689 h 2531525"/>
                <a:gd name="connsiteX42" fmla="*/ 380240 w 2495698"/>
                <a:gd name="connsiteY42" fmla="*/ 774423 h 2531525"/>
                <a:gd name="connsiteX43" fmla="*/ 516679 w 2495698"/>
                <a:gd name="connsiteY43" fmla="*/ 590627 h 2531525"/>
                <a:gd name="connsiteX44" fmla="*/ 422419 w 2495698"/>
                <a:gd name="connsiteY44" fmla="*/ 299900 h 2531525"/>
                <a:gd name="connsiteX45" fmla="*/ 746189 w 2495698"/>
                <a:gd name="connsiteY45" fmla="*/ 97585 h 2531525"/>
                <a:gd name="connsiteX46" fmla="*/ 972292 w 2495698"/>
                <a:gd name="connsiteY46" fmla="*/ 315656 h 2531525"/>
                <a:gd name="connsiteX47" fmla="*/ 970019 w 2495698"/>
                <a:gd name="connsiteY47" fmla="*/ 317076 h 2531525"/>
                <a:gd name="connsiteX48" fmla="*/ 1248316 w 2495698"/>
                <a:gd name="connsiteY48" fmla="*/ 277231 h 2531525"/>
                <a:gd name="connsiteX49" fmla="*/ 1391137 w 2495698"/>
                <a:gd name="connsiteY49" fmla="*/ 0 h 2531525"/>
                <a:gd name="connsiteX50" fmla="*/ 1759910 w 2495698"/>
                <a:gd name="connsiteY50" fmla="*/ 98812 h 2531525"/>
                <a:gd name="connsiteX0" fmla="*/ 1365628 w 2495698"/>
                <a:gd name="connsiteY0" fmla="*/ 832740 h 2531525"/>
                <a:gd name="connsiteX1" fmla="*/ 804861 w 2495698"/>
                <a:gd name="connsiteY1" fmla="*/ 1156499 h 2531525"/>
                <a:gd name="connsiteX2" fmla="*/ 1128620 w 2495698"/>
                <a:gd name="connsiteY2" fmla="*/ 1717266 h 2531525"/>
                <a:gd name="connsiteX3" fmla="*/ 1689387 w 2495698"/>
                <a:gd name="connsiteY3" fmla="*/ 1393507 h 2531525"/>
                <a:gd name="connsiteX4" fmla="*/ 1365628 w 2495698"/>
                <a:gd name="connsiteY4" fmla="*/ 832740 h 2531525"/>
                <a:gd name="connsiteX5" fmla="*/ 1447099 w 2495698"/>
                <a:gd name="connsiteY5" fmla="*/ 528685 h 2531525"/>
                <a:gd name="connsiteX6" fmla="*/ 1993442 w 2495698"/>
                <a:gd name="connsiteY6" fmla="*/ 1474978 h 2531525"/>
                <a:gd name="connsiteX7" fmla="*/ 1047149 w 2495698"/>
                <a:gd name="connsiteY7" fmla="*/ 2021321 h 2531525"/>
                <a:gd name="connsiteX8" fmla="*/ 500806 w 2495698"/>
                <a:gd name="connsiteY8" fmla="*/ 1075027 h 2531525"/>
                <a:gd name="connsiteX9" fmla="*/ 1447099 w 2495698"/>
                <a:gd name="connsiteY9" fmla="*/ 528685 h 2531525"/>
                <a:gd name="connsiteX10" fmla="*/ 1476725 w 2495698"/>
                <a:gd name="connsiteY10" fmla="*/ 418119 h 2531525"/>
                <a:gd name="connsiteX11" fmla="*/ 390240 w 2495698"/>
                <a:gd name="connsiteY11" fmla="*/ 1045401 h 2531525"/>
                <a:gd name="connsiteX12" fmla="*/ 1017523 w 2495698"/>
                <a:gd name="connsiteY12" fmla="*/ 2131887 h 2531525"/>
                <a:gd name="connsiteX13" fmla="*/ 2104008 w 2495698"/>
                <a:gd name="connsiteY13" fmla="*/ 1504604 h 2531525"/>
                <a:gd name="connsiteX14" fmla="*/ 1476725 w 2495698"/>
                <a:gd name="connsiteY14" fmla="*/ 418119 h 2531525"/>
                <a:gd name="connsiteX15" fmla="*/ 1759910 w 2495698"/>
                <a:gd name="connsiteY15" fmla="*/ 98812 h 2531525"/>
                <a:gd name="connsiteX16" fmla="*/ 1754625 w 2495698"/>
                <a:gd name="connsiteY16" fmla="*/ 412897 h 2531525"/>
                <a:gd name="connsiteX17" fmla="*/ 1954704 w 2495698"/>
                <a:gd name="connsiteY17" fmla="*/ 573108 h 2531525"/>
                <a:gd name="connsiteX18" fmla="*/ 2234317 w 2495698"/>
                <a:gd name="connsiteY18" fmla="*/ 503581 h 2531525"/>
                <a:gd name="connsiteX19" fmla="*/ 2413554 w 2495698"/>
                <a:gd name="connsiteY19" fmla="*/ 840674 h 2531525"/>
                <a:gd name="connsiteX20" fmla="*/ 2214321 w 2495698"/>
                <a:gd name="connsiteY20" fmla="*/ 1020292 h 2531525"/>
                <a:gd name="connsiteX21" fmla="*/ 2246841 w 2495698"/>
                <a:gd name="connsiteY21" fmla="*/ 1303347 h 2531525"/>
                <a:gd name="connsiteX22" fmla="*/ 2495698 w 2495698"/>
                <a:gd name="connsiteY22" fmla="*/ 1441496 h 2531525"/>
                <a:gd name="connsiteX23" fmla="*/ 2396885 w 2495698"/>
                <a:gd name="connsiteY23" fmla="*/ 1810269 h 2531525"/>
                <a:gd name="connsiteX24" fmla="*/ 2094912 w 2495698"/>
                <a:gd name="connsiteY24" fmla="*/ 1805190 h 2531525"/>
                <a:gd name="connsiteX25" fmla="*/ 1958644 w 2495698"/>
                <a:gd name="connsiteY25" fmla="*/ 1977881 h 2531525"/>
                <a:gd name="connsiteX26" fmla="*/ 2057814 w 2495698"/>
                <a:gd name="connsiteY26" fmla="*/ 2236715 h 2531525"/>
                <a:gd name="connsiteX27" fmla="*/ 1745078 w 2495698"/>
                <a:gd name="connsiteY27" fmla="*/ 2455696 h 2531525"/>
                <a:gd name="connsiteX28" fmla="*/ 1507869 w 2495698"/>
                <a:gd name="connsiteY28" fmla="*/ 2249759 h 2531525"/>
                <a:gd name="connsiteX29" fmla="*/ 1251837 w 2495698"/>
                <a:gd name="connsiteY29" fmla="*/ 2272543 h 2531525"/>
                <a:gd name="connsiteX30" fmla="*/ 1108065 w 2495698"/>
                <a:gd name="connsiteY30" fmla="*/ 2531525 h 2531525"/>
                <a:gd name="connsiteX31" fmla="*/ 739291 w 2495698"/>
                <a:gd name="connsiteY31" fmla="*/ 2432713 h 2531525"/>
                <a:gd name="connsiteX32" fmla="*/ 744274 w 2495698"/>
                <a:gd name="connsiteY32" fmla="*/ 2136543 h 2531525"/>
                <a:gd name="connsiteX33" fmla="*/ 535891 w 2495698"/>
                <a:gd name="connsiteY33" fmla="*/ 1973098 h 2531525"/>
                <a:gd name="connsiteX34" fmla="*/ 540671 w 2495698"/>
                <a:gd name="connsiteY34" fmla="*/ 1983347 h 2531525"/>
                <a:gd name="connsiteX35" fmla="*/ 232276 w 2495698"/>
                <a:gd name="connsiteY35" fmla="*/ 2043090 h 2531525"/>
                <a:gd name="connsiteX36" fmla="*/ 70927 w 2495698"/>
                <a:gd name="connsiteY36" fmla="*/ 1697078 h 2531525"/>
                <a:gd name="connsiteX37" fmla="*/ 279495 w 2495698"/>
                <a:gd name="connsiteY37" fmla="*/ 1527966 h 2531525"/>
                <a:gd name="connsiteX38" fmla="*/ 245586 w 2495698"/>
                <a:gd name="connsiteY38" fmla="*/ 1274796 h 2531525"/>
                <a:gd name="connsiteX39" fmla="*/ 0 w 2495698"/>
                <a:gd name="connsiteY39" fmla="*/ 1138462 h 2531525"/>
                <a:gd name="connsiteX40" fmla="*/ 98812 w 2495698"/>
                <a:gd name="connsiteY40" fmla="*/ 769689 h 2531525"/>
                <a:gd name="connsiteX41" fmla="*/ 380240 w 2495698"/>
                <a:gd name="connsiteY41" fmla="*/ 774423 h 2531525"/>
                <a:gd name="connsiteX42" fmla="*/ 516679 w 2495698"/>
                <a:gd name="connsiteY42" fmla="*/ 590627 h 2531525"/>
                <a:gd name="connsiteX43" fmla="*/ 422419 w 2495698"/>
                <a:gd name="connsiteY43" fmla="*/ 299900 h 2531525"/>
                <a:gd name="connsiteX44" fmla="*/ 746189 w 2495698"/>
                <a:gd name="connsiteY44" fmla="*/ 97585 h 2531525"/>
                <a:gd name="connsiteX45" fmla="*/ 972292 w 2495698"/>
                <a:gd name="connsiteY45" fmla="*/ 315656 h 2531525"/>
                <a:gd name="connsiteX46" fmla="*/ 970019 w 2495698"/>
                <a:gd name="connsiteY46" fmla="*/ 317076 h 2531525"/>
                <a:gd name="connsiteX47" fmla="*/ 1248316 w 2495698"/>
                <a:gd name="connsiteY47" fmla="*/ 277231 h 2531525"/>
                <a:gd name="connsiteX48" fmla="*/ 1391137 w 2495698"/>
                <a:gd name="connsiteY48" fmla="*/ 0 h 2531525"/>
                <a:gd name="connsiteX49" fmla="*/ 1759910 w 2495698"/>
                <a:gd name="connsiteY49" fmla="*/ 98812 h 2531525"/>
                <a:gd name="connsiteX0" fmla="*/ 1365628 w 2495698"/>
                <a:gd name="connsiteY0" fmla="*/ 832740 h 2531525"/>
                <a:gd name="connsiteX1" fmla="*/ 804861 w 2495698"/>
                <a:gd name="connsiteY1" fmla="*/ 1156499 h 2531525"/>
                <a:gd name="connsiteX2" fmla="*/ 1128620 w 2495698"/>
                <a:gd name="connsiteY2" fmla="*/ 1717266 h 2531525"/>
                <a:gd name="connsiteX3" fmla="*/ 1689387 w 2495698"/>
                <a:gd name="connsiteY3" fmla="*/ 1393507 h 2531525"/>
                <a:gd name="connsiteX4" fmla="*/ 1365628 w 2495698"/>
                <a:gd name="connsiteY4" fmla="*/ 832740 h 2531525"/>
                <a:gd name="connsiteX5" fmla="*/ 1447099 w 2495698"/>
                <a:gd name="connsiteY5" fmla="*/ 528685 h 2531525"/>
                <a:gd name="connsiteX6" fmla="*/ 1993442 w 2495698"/>
                <a:gd name="connsiteY6" fmla="*/ 1474978 h 2531525"/>
                <a:gd name="connsiteX7" fmla="*/ 1047149 w 2495698"/>
                <a:gd name="connsiteY7" fmla="*/ 2021321 h 2531525"/>
                <a:gd name="connsiteX8" fmla="*/ 500806 w 2495698"/>
                <a:gd name="connsiteY8" fmla="*/ 1075027 h 2531525"/>
                <a:gd name="connsiteX9" fmla="*/ 1447099 w 2495698"/>
                <a:gd name="connsiteY9" fmla="*/ 528685 h 2531525"/>
                <a:gd name="connsiteX10" fmla="*/ 1476725 w 2495698"/>
                <a:gd name="connsiteY10" fmla="*/ 418119 h 2531525"/>
                <a:gd name="connsiteX11" fmla="*/ 390240 w 2495698"/>
                <a:gd name="connsiteY11" fmla="*/ 1045401 h 2531525"/>
                <a:gd name="connsiteX12" fmla="*/ 1017523 w 2495698"/>
                <a:gd name="connsiteY12" fmla="*/ 2131887 h 2531525"/>
                <a:gd name="connsiteX13" fmla="*/ 2104008 w 2495698"/>
                <a:gd name="connsiteY13" fmla="*/ 1504604 h 2531525"/>
                <a:gd name="connsiteX14" fmla="*/ 1476725 w 2495698"/>
                <a:gd name="connsiteY14" fmla="*/ 418119 h 2531525"/>
                <a:gd name="connsiteX15" fmla="*/ 1759910 w 2495698"/>
                <a:gd name="connsiteY15" fmla="*/ 98812 h 2531525"/>
                <a:gd name="connsiteX16" fmla="*/ 1754625 w 2495698"/>
                <a:gd name="connsiteY16" fmla="*/ 412897 h 2531525"/>
                <a:gd name="connsiteX17" fmla="*/ 1954704 w 2495698"/>
                <a:gd name="connsiteY17" fmla="*/ 573108 h 2531525"/>
                <a:gd name="connsiteX18" fmla="*/ 2234317 w 2495698"/>
                <a:gd name="connsiteY18" fmla="*/ 503581 h 2531525"/>
                <a:gd name="connsiteX19" fmla="*/ 2413554 w 2495698"/>
                <a:gd name="connsiteY19" fmla="*/ 840674 h 2531525"/>
                <a:gd name="connsiteX20" fmla="*/ 2214321 w 2495698"/>
                <a:gd name="connsiteY20" fmla="*/ 1020292 h 2531525"/>
                <a:gd name="connsiteX21" fmla="*/ 2246841 w 2495698"/>
                <a:gd name="connsiteY21" fmla="*/ 1303347 h 2531525"/>
                <a:gd name="connsiteX22" fmla="*/ 2495698 w 2495698"/>
                <a:gd name="connsiteY22" fmla="*/ 1441496 h 2531525"/>
                <a:gd name="connsiteX23" fmla="*/ 2396885 w 2495698"/>
                <a:gd name="connsiteY23" fmla="*/ 1810269 h 2531525"/>
                <a:gd name="connsiteX24" fmla="*/ 2094912 w 2495698"/>
                <a:gd name="connsiteY24" fmla="*/ 1805190 h 2531525"/>
                <a:gd name="connsiteX25" fmla="*/ 1958644 w 2495698"/>
                <a:gd name="connsiteY25" fmla="*/ 1977881 h 2531525"/>
                <a:gd name="connsiteX26" fmla="*/ 2057814 w 2495698"/>
                <a:gd name="connsiteY26" fmla="*/ 2236715 h 2531525"/>
                <a:gd name="connsiteX27" fmla="*/ 1745078 w 2495698"/>
                <a:gd name="connsiteY27" fmla="*/ 2455696 h 2531525"/>
                <a:gd name="connsiteX28" fmla="*/ 1507869 w 2495698"/>
                <a:gd name="connsiteY28" fmla="*/ 2249759 h 2531525"/>
                <a:gd name="connsiteX29" fmla="*/ 1251837 w 2495698"/>
                <a:gd name="connsiteY29" fmla="*/ 2272543 h 2531525"/>
                <a:gd name="connsiteX30" fmla="*/ 1108065 w 2495698"/>
                <a:gd name="connsiteY30" fmla="*/ 2531525 h 2531525"/>
                <a:gd name="connsiteX31" fmla="*/ 739291 w 2495698"/>
                <a:gd name="connsiteY31" fmla="*/ 2432713 h 2531525"/>
                <a:gd name="connsiteX32" fmla="*/ 744274 w 2495698"/>
                <a:gd name="connsiteY32" fmla="*/ 2136543 h 2531525"/>
                <a:gd name="connsiteX33" fmla="*/ 535891 w 2495698"/>
                <a:gd name="connsiteY33" fmla="*/ 1973098 h 2531525"/>
                <a:gd name="connsiteX34" fmla="*/ 232276 w 2495698"/>
                <a:gd name="connsiteY34" fmla="*/ 2043090 h 2531525"/>
                <a:gd name="connsiteX35" fmla="*/ 70927 w 2495698"/>
                <a:gd name="connsiteY35" fmla="*/ 1697078 h 2531525"/>
                <a:gd name="connsiteX36" fmla="*/ 279495 w 2495698"/>
                <a:gd name="connsiteY36" fmla="*/ 1527966 h 2531525"/>
                <a:gd name="connsiteX37" fmla="*/ 245586 w 2495698"/>
                <a:gd name="connsiteY37" fmla="*/ 1274796 h 2531525"/>
                <a:gd name="connsiteX38" fmla="*/ 0 w 2495698"/>
                <a:gd name="connsiteY38" fmla="*/ 1138462 h 2531525"/>
                <a:gd name="connsiteX39" fmla="*/ 98812 w 2495698"/>
                <a:gd name="connsiteY39" fmla="*/ 769689 h 2531525"/>
                <a:gd name="connsiteX40" fmla="*/ 380240 w 2495698"/>
                <a:gd name="connsiteY40" fmla="*/ 774423 h 2531525"/>
                <a:gd name="connsiteX41" fmla="*/ 516679 w 2495698"/>
                <a:gd name="connsiteY41" fmla="*/ 590627 h 2531525"/>
                <a:gd name="connsiteX42" fmla="*/ 422419 w 2495698"/>
                <a:gd name="connsiteY42" fmla="*/ 299900 h 2531525"/>
                <a:gd name="connsiteX43" fmla="*/ 746189 w 2495698"/>
                <a:gd name="connsiteY43" fmla="*/ 97585 h 2531525"/>
                <a:gd name="connsiteX44" fmla="*/ 972292 w 2495698"/>
                <a:gd name="connsiteY44" fmla="*/ 315656 h 2531525"/>
                <a:gd name="connsiteX45" fmla="*/ 970019 w 2495698"/>
                <a:gd name="connsiteY45" fmla="*/ 317076 h 2531525"/>
                <a:gd name="connsiteX46" fmla="*/ 1248316 w 2495698"/>
                <a:gd name="connsiteY46" fmla="*/ 277231 h 2531525"/>
                <a:gd name="connsiteX47" fmla="*/ 1391137 w 2495698"/>
                <a:gd name="connsiteY47" fmla="*/ 0 h 2531525"/>
                <a:gd name="connsiteX48" fmla="*/ 1759910 w 2495698"/>
                <a:gd name="connsiteY48" fmla="*/ 98812 h 2531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2495698" h="2531525">
                  <a:moveTo>
                    <a:pt x="1365628" y="832740"/>
                  </a:moveTo>
                  <a:cubicBezTo>
                    <a:pt x="1121373" y="767293"/>
                    <a:pt x="870309" y="912244"/>
                    <a:pt x="804861" y="1156499"/>
                  </a:cubicBezTo>
                  <a:cubicBezTo>
                    <a:pt x="739413" y="1400754"/>
                    <a:pt x="884365" y="1651818"/>
                    <a:pt x="1128620" y="1717266"/>
                  </a:cubicBezTo>
                  <a:cubicBezTo>
                    <a:pt x="1372875" y="1782713"/>
                    <a:pt x="1623939" y="1637762"/>
                    <a:pt x="1689387" y="1393507"/>
                  </a:cubicBezTo>
                  <a:cubicBezTo>
                    <a:pt x="1754835" y="1149252"/>
                    <a:pt x="1609883" y="898188"/>
                    <a:pt x="1365628" y="832740"/>
                  </a:cubicBezTo>
                  <a:close/>
                  <a:moveTo>
                    <a:pt x="1447099" y="528685"/>
                  </a:moveTo>
                  <a:cubicBezTo>
                    <a:pt x="1859279" y="639128"/>
                    <a:pt x="2103885" y="1062799"/>
                    <a:pt x="1993442" y="1474978"/>
                  </a:cubicBezTo>
                  <a:cubicBezTo>
                    <a:pt x="1882999" y="1887158"/>
                    <a:pt x="1459328" y="2131764"/>
                    <a:pt x="1047149" y="2021321"/>
                  </a:cubicBezTo>
                  <a:cubicBezTo>
                    <a:pt x="634969" y="1910878"/>
                    <a:pt x="390363" y="1487207"/>
                    <a:pt x="500806" y="1075027"/>
                  </a:cubicBezTo>
                  <a:cubicBezTo>
                    <a:pt x="611249" y="662848"/>
                    <a:pt x="1034920" y="418242"/>
                    <a:pt x="1447099" y="528685"/>
                  </a:cubicBezTo>
                  <a:close/>
                  <a:moveTo>
                    <a:pt x="1476725" y="418119"/>
                  </a:moveTo>
                  <a:cubicBezTo>
                    <a:pt x="1003481" y="291314"/>
                    <a:pt x="517045" y="572157"/>
                    <a:pt x="390240" y="1045401"/>
                  </a:cubicBezTo>
                  <a:cubicBezTo>
                    <a:pt x="263435" y="1518646"/>
                    <a:pt x="544279" y="2005081"/>
                    <a:pt x="1017523" y="2131887"/>
                  </a:cubicBezTo>
                  <a:cubicBezTo>
                    <a:pt x="1490767" y="2258692"/>
                    <a:pt x="1977202" y="1977848"/>
                    <a:pt x="2104008" y="1504604"/>
                  </a:cubicBezTo>
                  <a:cubicBezTo>
                    <a:pt x="2230813" y="1031360"/>
                    <a:pt x="1949969" y="544925"/>
                    <a:pt x="1476725" y="418119"/>
                  </a:cubicBezTo>
                  <a:close/>
                  <a:moveTo>
                    <a:pt x="1759910" y="98812"/>
                  </a:moveTo>
                  <a:cubicBezTo>
                    <a:pt x="1758148" y="203507"/>
                    <a:pt x="1756387" y="308202"/>
                    <a:pt x="1754625" y="412897"/>
                  </a:cubicBezTo>
                  <a:lnTo>
                    <a:pt x="1954704" y="573108"/>
                  </a:lnTo>
                  <a:lnTo>
                    <a:pt x="2234317" y="503581"/>
                  </a:lnTo>
                  <a:lnTo>
                    <a:pt x="2413554" y="840674"/>
                  </a:lnTo>
                  <a:lnTo>
                    <a:pt x="2214321" y="1020292"/>
                  </a:lnTo>
                  <a:cubicBezTo>
                    <a:pt x="2239296" y="1111262"/>
                    <a:pt x="2251067" y="1206519"/>
                    <a:pt x="2246841" y="1303347"/>
                  </a:cubicBezTo>
                  <a:lnTo>
                    <a:pt x="2495698" y="1441496"/>
                  </a:lnTo>
                  <a:lnTo>
                    <a:pt x="2396885" y="1810269"/>
                  </a:lnTo>
                  <a:lnTo>
                    <a:pt x="2094912" y="1805190"/>
                  </a:lnTo>
                  <a:cubicBezTo>
                    <a:pt x="2056732" y="1868983"/>
                    <a:pt x="2010475" y="1926517"/>
                    <a:pt x="1958644" y="1977881"/>
                  </a:cubicBezTo>
                  <a:lnTo>
                    <a:pt x="2057814" y="2236715"/>
                  </a:lnTo>
                  <a:lnTo>
                    <a:pt x="1745078" y="2455696"/>
                  </a:lnTo>
                  <a:lnTo>
                    <a:pt x="1507869" y="2249759"/>
                  </a:lnTo>
                  <a:lnTo>
                    <a:pt x="1251837" y="2272543"/>
                  </a:lnTo>
                  <a:lnTo>
                    <a:pt x="1108065" y="2531525"/>
                  </a:lnTo>
                  <a:lnTo>
                    <a:pt x="739291" y="2432713"/>
                  </a:lnTo>
                  <a:lnTo>
                    <a:pt x="744274" y="2136543"/>
                  </a:lnTo>
                  <a:cubicBezTo>
                    <a:pt x="666128" y="2092006"/>
                    <a:pt x="595548" y="2037539"/>
                    <a:pt x="535891" y="1973098"/>
                  </a:cubicBezTo>
                  <a:lnTo>
                    <a:pt x="232276" y="2043090"/>
                  </a:lnTo>
                  <a:lnTo>
                    <a:pt x="70927" y="1697078"/>
                  </a:lnTo>
                  <a:lnTo>
                    <a:pt x="279495" y="1527966"/>
                  </a:lnTo>
                  <a:cubicBezTo>
                    <a:pt x="257233" y="1446371"/>
                    <a:pt x="245603" y="1361336"/>
                    <a:pt x="245586" y="1274796"/>
                  </a:cubicBezTo>
                  <a:lnTo>
                    <a:pt x="0" y="1138462"/>
                  </a:lnTo>
                  <a:lnTo>
                    <a:pt x="98812" y="769689"/>
                  </a:lnTo>
                  <a:lnTo>
                    <a:pt x="380240" y="774423"/>
                  </a:lnTo>
                  <a:cubicBezTo>
                    <a:pt x="418421" y="707046"/>
                    <a:pt x="464524" y="645614"/>
                    <a:pt x="516679" y="590627"/>
                  </a:cubicBezTo>
                  <a:lnTo>
                    <a:pt x="422419" y="299900"/>
                  </a:lnTo>
                  <a:lnTo>
                    <a:pt x="746189" y="97585"/>
                  </a:lnTo>
                  <a:lnTo>
                    <a:pt x="972292" y="315656"/>
                  </a:lnTo>
                  <a:lnTo>
                    <a:pt x="970019" y="317076"/>
                  </a:lnTo>
                  <a:cubicBezTo>
                    <a:pt x="1058903" y="289108"/>
                    <a:pt x="1152743" y="276181"/>
                    <a:pt x="1248316" y="277231"/>
                  </a:cubicBezTo>
                  <a:lnTo>
                    <a:pt x="1391137" y="0"/>
                  </a:lnTo>
                  <a:lnTo>
                    <a:pt x="1759910" y="98812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ko-KR" altLang="en-US" sz="2701"/>
            </a:p>
          </p:txBody>
        </p:sp>
        <p:sp>
          <p:nvSpPr>
            <p:cNvPr id="61" name="Oval 21">
              <a:extLst>
                <a:ext uri="{FF2B5EF4-FFF2-40B4-BE49-F238E27FC236}">
                  <a16:creationId xmlns="" xmlns:a16="http://schemas.microsoft.com/office/drawing/2014/main" id="{C1AB126C-8878-4936-BC48-171380B11911}"/>
                </a:ext>
              </a:extLst>
            </p:cNvPr>
            <p:cNvSpPr/>
            <p:nvPr/>
          </p:nvSpPr>
          <p:spPr>
            <a:xfrm rot="18850474" flipV="1">
              <a:off x="4158161" y="2391316"/>
              <a:ext cx="1088158" cy="1103778"/>
            </a:xfrm>
            <a:custGeom>
              <a:avLst/>
              <a:gdLst>
                <a:gd name="connsiteX0" fmla="*/ 1365628 w 2495698"/>
                <a:gd name="connsiteY0" fmla="*/ 832740 h 2531525"/>
                <a:gd name="connsiteX1" fmla="*/ 804861 w 2495698"/>
                <a:gd name="connsiteY1" fmla="*/ 1156499 h 2531525"/>
                <a:gd name="connsiteX2" fmla="*/ 1128620 w 2495698"/>
                <a:gd name="connsiteY2" fmla="*/ 1717266 h 2531525"/>
                <a:gd name="connsiteX3" fmla="*/ 1689387 w 2495698"/>
                <a:gd name="connsiteY3" fmla="*/ 1393507 h 2531525"/>
                <a:gd name="connsiteX4" fmla="*/ 1365628 w 2495698"/>
                <a:gd name="connsiteY4" fmla="*/ 832740 h 2531525"/>
                <a:gd name="connsiteX5" fmla="*/ 1447099 w 2495698"/>
                <a:gd name="connsiteY5" fmla="*/ 528685 h 2531525"/>
                <a:gd name="connsiteX6" fmla="*/ 1993442 w 2495698"/>
                <a:gd name="connsiteY6" fmla="*/ 1474978 h 2531525"/>
                <a:gd name="connsiteX7" fmla="*/ 1047149 w 2495698"/>
                <a:gd name="connsiteY7" fmla="*/ 2021321 h 2531525"/>
                <a:gd name="connsiteX8" fmla="*/ 500806 w 2495698"/>
                <a:gd name="connsiteY8" fmla="*/ 1075027 h 2531525"/>
                <a:gd name="connsiteX9" fmla="*/ 1447099 w 2495698"/>
                <a:gd name="connsiteY9" fmla="*/ 528685 h 2531525"/>
                <a:gd name="connsiteX10" fmla="*/ 1476725 w 2495698"/>
                <a:gd name="connsiteY10" fmla="*/ 418119 h 2531525"/>
                <a:gd name="connsiteX11" fmla="*/ 390240 w 2495698"/>
                <a:gd name="connsiteY11" fmla="*/ 1045401 h 2531525"/>
                <a:gd name="connsiteX12" fmla="*/ 1017523 w 2495698"/>
                <a:gd name="connsiteY12" fmla="*/ 2131887 h 2531525"/>
                <a:gd name="connsiteX13" fmla="*/ 2104008 w 2495698"/>
                <a:gd name="connsiteY13" fmla="*/ 1504604 h 2531525"/>
                <a:gd name="connsiteX14" fmla="*/ 1476725 w 2495698"/>
                <a:gd name="connsiteY14" fmla="*/ 418119 h 2531525"/>
                <a:gd name="connsiteX15" fmla="*/ 1759910 w 2495698"/>
                <a:gd name="connsiteY15" fmla="*/ 98812 h 2531525"/>
                <a:gd name="connsiteX16" fmla="*/ 1754625 w 2495698"/>
                <a:gd name="connsiteY16" fmla="*/ 412897 h 2531525"/>
                <a:gd name="connsiteX17" fmla="*/ 1744979 w 2495698"/>
                <a:gd name="connsiteY17" fmla="*/ 410312 h 2531525"/>
                <a:gd name="connsiteX18" fmla="*/ 1954704 w 2495698"/>
                <a:gd name="connsiteY18" fmla="*/ 573108 h 2531525"/>
                <a:gd name="connsiteX19" fmla="*/ 2234317 w 2495698"/>
                <a:gd name="connsiteY19" fmla="*/ 503581 h 2531525"/>
                <a:gd name="connsiteX20" fmla="*/ 2413554 w 2495698"/>
                <a:gd name="connsiteY20" fmla="*/ 840674 h 2531525"/>
                <a:gd name="connsiteX21" fmla="*/ 2214321 w 2495698"/>
                <a:gd name="connsiteY21" fmla="*/ 1020292 h 2531525"/>
                <a:gd name="connsiteX22" fmla="*/ 2246841 w 2495698"/>
                <a:gd name="connsiteY22" fmla="*/ 1303347 h 2531525"/>
                <a:gd name="connsiteX23" fmla="*/ 2495698 w 2495698"/>
                <a:gd name="connsiteY23" fmla="*/ 1441496 h 2531525"/>
                <a:gd name="connsiteX24" fmla="*/ 2396885 w 2495698"/>
                <a:gd name="connsiteY24" fmla="*/ 1810269 h 2531525"/>
                <a:gd name="connsiteX25" fmla="*/ 2094912 w 2495698"/>
                <a:gd name="connsiteY25" fmla="*/ 1805190 h 2531525"/>
                <a:gd name="connsiteX26" fmla="*/ 1958644 w 2495698"/>
                <a:gd name="connsiteY26" fmla="*/ 1977881 h 2531525"/>
                <a:gd name="connsiteX27" fmla="*/ 2057814 w 2495698"/>
                <a:gd name="connsiteY27" fmla="*/ 2236715 h 2531525"/>
                <a:gd name="connsiteX28" fmla="*/ 1745078 w 2495698"/>
                <a:gd name="connsiteY28" fmla="*/ 2455696 h 2531525"/>
                <a:gd name="connsiteX29" fmla="*/ 1507869 w 2495698"/>
                <a:gd name="connsiteY29" fmla="*/ 2249759 h 2531525"/>
                <a:gd name="connsiteX30" fmla="*/ 1536736 w 2495698"/>
                <a:gd name="connsiteY30" fmla="*/ 2229547 h 2531525"/>
                <a:gd name="connsiteX31" fmla="*/ 1251837 w 2495698"/>
                <a:gd name="connsiteY31" fmla="*/ 2272543 h 2531525"/>
                <a:gd name="connsiteX32" fmla="*/ 1108065 w 2495698"/>
                <a:gd name="connsiteY32" fmla="*/ 2531525 h 2531525"/>
                <a:gd name="connsiteX33" fmla="*/ 739291 w 2495698"/>
                <a:gd name="connsiteY33" fmla="*/ 2432713 h 2531525"/>
                <a:gd name="connsiteX34" fmla="*/ 744274 w 2495698"/>
                <a:gd name="connsiteY34" fmla="*/ 2136543 h 2531525"/>
                <a:gd name="connsiteX35" fmla="*/ 535891 w 2495698"/>
                <a:gd name="connsiteY35" fmla="*/ 1973098 h 2531525"/>
                <a:gd name="connsiteX36" fmla="*/ 540671 w 2495698"/>
                <a:gd name="connsiteY36" fmla="*/ 1983347 h 2531525"/>
                <a:gd name="connsiteX37" fmla="*/ 232276 w 2495698"/>
                <a:gd name="connsiteY37" fmla="*/ 2043090 h 2531525"/>
                <a:gd name="connsiteX38" fmla="*/ 70927 w 2495698"/>
                <a:gd name="connsiteY38" fmla="*/ 1697078 h 2531525"/>
                <a:gd name="connsiteX39" fmla="*/ 279495 w 2495698"/>
                <a:gd name="connsiteY39" fmla="*/ 1527966 h 2531525"/>
                <a:gd name="connsiteX40" fmla="*/ 245586 w 2495698"/>
                <a:gd name="connsiteY40" fmla="*/ 1274796 h 2531525"/>
                <a:gd name="connsiteX41" fmla="*/ 0 w 2495698"/>
                <a:gd name="connsiteY41" fmla="*/ 1138462 h 2531525"/>
                <a:gd name="connsiteX42" fmla="*/ 98812 w 2495698"/>
                <a:gd name="connsiteY42" fmla="*/ 769689 h 2531525"/>
                <a:gd name="connsiteX43" fmla="*/ 380240 w 2495698"/>
                <a:gd name="connsiteY43" fmla="*/ 774423 h 2531525"/>
                <a:gd name="connsiteX44" fmla="*/ 516679 w 2495698"/>
                <a:gd name="connsiteY44" fmla="*/ 590627 h 2531525"/>
                <a:gd name="connsiteX45" fmla="*/ 422419 w 2495698"/>
                <a:gd name="connsiteY45" fmla="*/ 299900 h 2531525"/>
                <a:gd name="connsiteX46" fmla="*/ 746189 w 2495698"/>
                <a:gd name="connsiteY46" fmla="*/ 97585 h 2531525"/>
                <a:gd name="connsiteX47" fmla="*/ 972292 w 2495698"/>
                <a:gd name="connsiteY47" fmla="*/ 315656 h 2531525"/>
                <a:gd name="connsiteX48" fmla="*/ 970019 w 2495698"/>
                <a:gd name="connsiteY48" fmla="*/ 317076 h 2531525"/>
                <a:gd name="connsiteX49" fmla="*/ 1248316 w 2495698"/>
                <a:gd name="connsiteY49" fmla="*/ 277231 h 2531525"/>
                <a:gd name="connsiteX50" fmla="*/ 1238669 w 2495698"/>
                <a:gd name="connsiteY50" fmla="*/ 274647 h 2531525"/>
                <a:gd name="connsiteX51" fmla="*/ 1391137 w 2495698"/>
                <a:gd name="connsiteY51" fmla="*/ 0 h 2531525"/>
                <a:gd name="connsiteX52" fmla="*/ 1759910 w 2495698"/>
                <a:gd name="connsiteY52" fmla="*/ 98812 h 2531525"/>
                <a:gd name="connsiteX0" fmla="*/ 1365628 w 2495698"/>
                <a:gd name="connsiteY0" fmla="*/ 832740 h 2531525"/>
                <a:gd name="connsiteX1" fmla="*/ 804861 w 2495698"/>
                <a:gd name="connsiteY1" fmla="*/ 1156499 h 2531525"/>
                <a:gd name="connsiteX2" fmla="*/ 1128620 w 2495698"/>
                <a:gd name="connsiteY2" fmla="*/ 1717266 h 2531525"/>
                <a:gd name="connsiteX3" fmla="*/ 1689387 w 2495698"/>
                <a:gd name="connsiteY3" fmla="*/ 1393507 h 2531525"/>
                <a:gd name="connsiteX4" fmla="*/ 1365628 w 2495698"/>
                <a:gd name="connsiteY4" fmla="*/ 832740 h 2531525"/>
                <a:gd name="connsiteX5" fmla="*/ 1447099 w 2495698"/>
                <a:gd name="connsiteY5" fmla="*/ 528685 h 2531525"/>
                <a:gd name="connsiteX6" fmla="*/ 1993442 w 2495698"/>
                <a:gd name="connsiteY6" fmla="*/ 1474978 h 2531525"/>
                <a:gd name="connsiteX7" fmla="*/ 1047149 w 2495698"/>
                <a:gd name="connsiteY7" fmla="*/ 2021321 h 2531525"/>
                <a:gd name="connsiteX8" fmla="*/ 500806 w 2495698"/>
                <a:gd name="connsiteY8" fmla="*/ 1075027 h 2531525"/>
                <a:gd name="connsiteX9" fmla="*/ 1447099 w 2495698"/>
                <a:gd name="connsiteY9" fmla="*/ 528685 h 2531525"/>
                <a:gd name="connsiteX10" fmla="*/ 1476725 w 2495698"/>
                <a:gd name="connsiteY10" fmla="*/ 418119 h 2531525"/>
                <a:gd name="connsiteX11" fmla="*/ 390240 w 2495698"/>
                <a:gd name="connsiteY11" fmla="*/ 1045401 h 2531525"/>
                <a:gd name="connsiteX12" fmla="*/ 1017523 w 2495698"/>
                <a:gd name="connsiteY12" fmla="*/ 2131887 h 2531525"/>
                <a:gd name="connsiteX13" fmla="*/ 2104008 w 2495698"/>
                <a:gd name="connsiteY13" fmla="*/ 1504604 h 2531525"/>
                <a:gd name="connsiteX14" fmla="*/ 1476725 w 2495698"/>
                <a:gd name="connsiteY14" fmla="*/ 418119 h 2531525"/>
                <a:gd name="connsiteX15" fmla="*/ 1759910 w 2495698"/>
                <a:gd name="connsiteY15" fmla="*/ 98812 h 2531525"/>
                <a:gd name="connsiteX16" fmla="*/ 1754625 w 2495698"/>
                <a:gd name="connsiteY16" fmla="*/ 412897 h 2531525"/>
                <a:gd name="connsiteX17" fmla="*/ 1744979 w 2495698"/>
                <a:gd name="connsiteY17" fmla="*/ 410312 h 2531525"/>
                <a:gd name="connsiteX18" fmla="*/ 1954704 w 2495698"/>
                <a:gd name="connsiteY18" fmla="*/ 573108 h 2531525"/>
                <a:gd name="connsiteX19" fmla="*/ 2234317 w 2495698"/>
                <a:gd name="connsiteY19" fmla="*/ 503581 h 2531525"/>
                <a:gd name="connsiteX20" fmla="*/ 2413554 w 2495698"/>
                <a:gd name="connsiteY20" fmla="*/ 840674 h 2531525"/>
                <a:gd name="connsiteX21" fmla="*/ 2214321 w 2495698"/>
                <a:gd name="connsiteY21" fmla="*/ 1020292 h 2531525"/>
                <a:gd name="connsiteX22" fmla="*/ 2246841 w 2495698"/>
                <a:gd name="connsiteY22" fmla="*/ 1303347 h 2531525"/>
                <a:gd name="connsiteX23" fmla="*/ 2495698 w 2495698"/>
                <a:gd name="connsiteY23" fmla="*/ 1441496 h 2531525"/>
                <a:gd name="connsiteX24" fmla="*/ 2396885 w 2495698"/>
                <a:gd name="connsiteY24" fmla="*/ 1810269 h 2531525"/>
                <a:gd name="connsiteX25" fmla="*/ 2094912 w 2495698"/>
                <a:gd name="connsiteY25" fmla="*/ 1805190 h 2531525"/>
                <a:gd name="connsiteX26" fmla="*/ 1958644 w 2495698"/>
                <a:gd name="connsiteY26" fmla="*/ 1977881 h 2531525"/>
                <a:gd name="connsiteX27" fmla="*/ 2057814 w 2495698"/>
                <a:gd name="connsiteY27" fmla="*/ 2236715 h 2531525"/>
                <a:gd name="connsiteX28" fmla="*/ 1745078 w 2495698"/>
                <a:gd name="connsiteY28" fmla="*/ 2455696 h 2531525"/>
                <a:gd name="connsiteX29" fmla="*/ 1507869 w 2495698"/>
                <a:gd name="connsiteY29" fmla="*/ 2249759 h 2531525"/>
                <a:gd name="connsiteX30" fmla="*/ 1536736 w 2495698"/>
                <a:gd name="connsiteY30" fmla="*/ 2229547 h 2531525"/>
                <a:gd name="connsiteX31" fmla="*/ 1251837 w 2495698"/>
                <a:gd name="connsiteY31" fmla="*/ 2272543 h 2531525"/>
                <a:gd name="connsiteX32" fmla="*/ 1108065 w 2495698"/>
                <a:gd name="connsiteY32" fmla="*/ 2531525 h 2531525"/>
                <a:gd name="connsiteX33" fmla="*/ 739291 w 2495698"/>
                <a:gd name="connsiteY33" fmla="*/ 2432713 h 2531525"/>
                <a:gd name="connsiteX34" fmla="*/ 744274 w 2495698"/>
                <a:gd name="connsiteY34" fmla="*/ 2136543 h 2531525"/>
                <a:gd name="connsiteX35" fmla="*/ 535891 w 2495698"/>
                <a:gd name="connsiteY35" fmla="*/ 1973098 h 2531525"/>
                <a:gd name="connsiteX36" fmla="*/ 540671 w 2495698"/>
                <a:gd name="connsiteY36" fmla="*/ 1983347 h 2531525"/>
                <a:gd name="connsiteX37" fmla="*/ 232276 w 2495698"/>
                <a:gd name="connsiteY37" fmla="*/ 2043090 h 2531525"/>
                <a:gd name="connsiteX38" fmla="*/ 70927 w 2495698"/>
                <a:gd name="connsiteY38" fmla="*/ 1697078 h 2531525"/>
                <a:gd name="connsiteX39" fmla="*/ 279495 w 2495698"/>
                <a:gd name="connsiteY39" fmla="*/ 1527966 h 2531525"/>
                <a:gd name="connsiteX40" fmla="*/ 245586 w 2495698"/>
                <a:gd name="connsiteY40" fmla="*/ 1274796 h 2531525"/>
                <a:gd name="connsiteX41" fmla="*/ 0 w 2495698"/>
                <a:gd name="connsiteY41" fmla="*/ 1138462 h 2531525"/>
                <a:gd name="connsiteX42" fmla="*/ 98812 w 2495698"/>
                <a:gd name="connsiteY42" fmla="*/ 769689 h 2531525"/>
                <a:gd name="connsiteX43" fmla="*/ 380240 w 2495698"/>
                <a:gd name="connsiteY43" fmla="*/ 774423 h 2531525"/>
                <a:gd name="connsiteX44" fmla="*/ 516679 w 2495698"/>
                <a:gd name="connsiteY44" fmla="*/ 590627 h 2531525"/>
                <a:gd name="connsiteX45" fmla="*/ 422419 w 2495698"/>
                <a:gd name="connsiteY45" fmla="*/ 299900 h 2531525"/>
                <a:gd name="connsiteX46" fmla="*/ 746189 w 2495698"/>
                <a:gd name="connsiteY46" fmla="*/ 97585 h 2531525"/>
                <a:gd name="connsiteX47" fmla="*/ 972292 w 2495698"/>
                <a:gd name="connsiteY47" fmla="*/ 315656 h 2531525"/>
                <a:gd name="connsiteX48" fmla="*/ 970019 w 2495698"/>
                <a:gd name="connsiteY48" fmla="*/ 317076 h 2531525"/>
                <a:gd name="connsiteX49" fmla="*/ 1248316 w 2495698"/>
                <a:gd name="connsiteY49" fmla="*/ 277231 h 2531525"/>
                <a:gd name="connsiteX50" fmla="*/ 1238669 w 2495698"/>
                <a:gd name="connsiteY50" fmla="*/ 274647 h 2531525"/>
                <a:gd name="connsiteX51" fmla="*/ 1391137 w 2495698"/>
                <a:gd name="connsiteY51" fmla="*/ 0 h 2531525"/>
                <a:gd name="connsiteX52" fmla="*/ 1759910 w 2495698"/>
                <a:gd name="connsiteY52" fmla="*/ 98812 h 2531525"/>
                <a:gd name="connsiteX0" fmla="*/ 1365628 w 2495698"/>
                <a:gd name="connsiteY0" fmla="*/ 832740 h 2531525"/>
                <a:gd name="connsiteX1" fmla="*/ 804861 w 2495698"/>
                <a:gd name="connsiteY1" fmla="*/ 1156499 h 2531525"/>
                <a:gd name="connsiteX2" fmla="*/ 1128620 w 2495698"/>
                <a:gd name="connsiteY2" fmla="*/ 1717266 h 2531525"/>
                <a:gd name="connsiteX3" fmla="*/ 1689387 w 2495698"/>
                <a:gd name="connsiteY3" fmla="*/ 1393507 h 2531525"/>
                <a:gd name="connsiteX4" fmla="*/ 1365628 w 2495698"/>
                <a:gd name="connsiteY4" fmla="*/ 832740 h 2531525"/>
                <a:gd name="connsiteX5" fmla="*/ 1447099 w 2495698"/>
                <a:gd name="connsiteY5" fmla="*/ 528685 h 2531525"/>
                <a:gd name="connsiteX6" fmla="*/ 1993442 w 2495698"/>
                <a:gd name="connsiteY6" fmla="*/ 1474978 h 2531525"/>
                <a:gd name="connsiteX7" fmla="*/ 1047149 w 2495698"/>
                <a:gd name="connsiteY7" fmla="*/ 2021321 h 2531525"/>
                <a:gd name="connsiteX8" fmla="*/ 500806 w 2495698"/>
                <a:gd name="connsiteY8" fmla="*/ 1075027 h 2531525"/>
                <a:gd name="connsiteX9" fmla="*/ 1447099 w 2495698"/>
                <a:gd name="connsiteY9" fmla="*/ 528685 h 2531525"/>
                <a:gd name="connsiteX10" fmla="*/ 1476725 w 2495698"/>
                <a:gd name="connsiteY10" fmla="*/ 418119 h 2531525"/>
                <a:gd name="connsiteX11" fmla="*/ 390240 w 2495698"/>
                <a:gd name="connsiteY11" fmla="*/ 1045401 h 2531525"/>
                <a:gd name="connsiteX12" fmla="*/ 1017523 w 2495698"/>
                <a:gd name="connsiteY12" fmla="*/ 2131887 h 2531525"/>
                <a:gd name="connsiteX13" fmla="*/ 2104008 w 2495698"/>
                <a:gd name="connsiteY13" fmla="*/ 1504604 h 2531525"/>
                <a:gd name="connsiteX14" fmla="*/ 1476725 w 2495698"/>
                <a:gd name="connsiteY14" fmla="*/ 418119 h 2531525"/>
                <a:gd name="connsiteX15" fmla="*/ 1759910 w 2495698"/>
                <a:gd name="connsiteY15" fmla="*/ 98812 h 2531525"/>
                <a:gd name="connsiteX16" fmla="*/ 1754625 w 2495698"/>
                <a:gd name="connsiteY16" fmla="*/ 412897 h 2531525"/>
                <a:gd name="connsiteX17" fmla="*/ 1744979 w 2495698"/>
                <a:gd name="connsiteY17" fmla="*/ 410312 h 2531525"/>
                <a:gd name="connsiteX18" fmla="*/ 1954704 w 2495698"/>
                <a:gd name="connsiteY18" fmla="*/ 573108 h 2531525"/>
                <a:gd name="connsiteX19" fmla="*/ 2234317 w 2495698"/>
                <a:gd name="connsiteY19" fmla="*/ 503581 h 2531525"/>
                <a:gd name="connsiteX20" fmla="*/ 2413554 w 2495698"/>
                <a:gd name="connsiteY20" fmla="*/ 840674 h 2531525"/>
                <a:gd name="connsiteX21" fmla="*/ 2214321 w 2495698"/>
                <a:gd name="connsiteY21" fmla="*/ 1020292 h 2531525"/>
                <a:gd name="connsiteX22" fmla="*/ 2246841 w 2495698"/>
                <a:gd name="connsiteY22" fmla="*/ 1303347 h 2531525"/>
                <a:gd name="connsiteX23" fmla="*/ 2495698 w 2495698"/>
                <a:gd name="connsiteY23" fmla="*/ 1441496 h 2531525"/>
                <a:gd name="connsiteX24" fmla="*/ 2396885 w 2495698"/>
                <a:gd name="connsiteY24" fmla="*/ 1810269 h 2531525"/>
                <a:gd name="connsiteX25" fmla="*/ 2094912 w 2495698"/>
                <a:gd name="connsiteY25" fmla="*/ 1805190 h 2531525"/>
                <a:gd name="connsiteX26" fmla="*/ 1958644 w 2495698"/>
                <a:gd name="connsiteY26" fmla="*/ 1977881 h 2531525"/>
                <a:gd name="connsiteX27" fmla="*/ 2057814 w 2495698"/>
                <a:gd name="connsiteY27" fmla="*/ 2236715 h 2531525"/>
                <a:gd name="connsiteX28" fmla="*/ 1745078 w 2495698"/>
                <a:gd name="connsiteY28" fmla="*/ 2455696 h 2531525"/>
                <a:gd name="connsiteX29" fmla="*/ 1507869 w 2495698"/>
                <a:gd name="connsiteY29" fmla="*/ 2249759 h 2531525"/>
                <a:gd name="connsiteX30" fmla="*/ 1251837 w 2495698"/>
                <a:gd name="connsiteY30" fmla="*/ 2272543 h 2531525"/>
                <a:gd name="connsiteX31" fmla="*/ 1108065 w 2495698"/>
                <a:gd name="connsiteY31" fmla="*/ 2531525 h 2531525"/>
                <a:gd name="connsiteX32" fmla="*/ 739291 w 2495698"/>
                <a:gd name="connsiteY32" fmla="*/ 2432713 h 2531525"/>
                <a:gd name="connsiteX33" fmla="*/ 744274 w 2495698"/>
                <a:gd name="connsiteY33" fmla="*/ 2136543 h 2531525"/>
                <a:gd name="connsiteX34" fmla="*/ 535891 w 2495698"/>
                <a:gd name="connsiteY34" fmla="*/ 1973098 h 2531525"/>
                <a:gd name="connsiteX35" fmla="*/ 540671 w 2495698"/>
                <a:gd name="connsiteY35" fmla="*/ 1983347 h 2531525"/>
                <a:gd name="connsiteX36" fmla="*/ 232276 w 2495698"/>
                <a:gd name="connsiteY36" fmla="*/ 2043090 h 2531525"/>
                <a:gd name="connsiteX37" fmla="*/ 70927 w 2495698"/>
                <a:gd name="connsiteY37" fmla="*/ 1697078 h 2531525"/>
                <a:gd name="connsiteX38" fmla="*/ 279495 w 2495698"/>
                <a:gd name="connsiteY38" fmla="*/ 1527966 h 2531525"/>
                <a:gd name="connsiteX39" fmla="*/ 245586 w 2495698"/>
                <a:gd name="connsiteY39" fmla="*/ 1274796 h 2531525"/>
                <a:gd name="connsiteX40" fmla="*/ 0 w 2495698"/>
                <a:gd name="connsiteY40" fmla="*/ 1138462 h 2531525"/>
                <a:gd name="connsiteX41" fmla="*/ 98812 w 2495698"/>
                <a:gd name="connsiteY41" fmla="*/ 769689 h 2531525"/>
                <a:gd name="connsiteX42" fmla="*/ 380240 w 2495698"/>
                <a:gd name="connsiteY42" fmla="*/ 774423 h 2531525"/>
                <a:gd name="connsiteX43" fmla="*/ 516679 w 2495698"/>
                <a:gd name="connsiteY43" fmla="*/ 590627 h 2531525"/>
                <a:gd name="connsiteX44" fmla="*/ 422419 w 2495698"/>
                <a:gd name="connsiteY44" fmla="*/ 299900 h 2531525"/>
                <a:gd name="connsiteX45" fmla="*/ 746189 w 2495698"/>
                <a:gd name="connsiteY45" fmla="*/ 97585 h 2531525"/>
                <a:gd name="connsiteX46" fmla="*/ 972292 w 2495698"/>
                <a:gd name="connsiteY46" fmla="*/ 315656 h 2531525"/>
                <a:gd name="connsiteX47" fmla="*/ 970019 w 2495698"/>
                <a:gd name="connsiteY47" fmla="*/ 317076 h 2531525"/>
                <a:gd name="connsiteX48" fmla="*/ 1248316 w 2495698"/>
                <a:gd name="connsiteY48" fmla="*/ 277231 h 2531525"/>
                <a:gd name="connsiteX49" fmla="*/ 1238669 w 2495698"/>
                <a:gd name="connsiteY49" fmla="*/ 274647 h 2531525"/>
                <a:gd name="connsiteX50" fmla="*/ 1391137 w 2495698"/>
                <a:gd name="connsiteY50" fmla="*/ 0 h 2531525"/>
                <a:gd name="connsiteX51" fmla="*/ 1759910 w 2495698"/>
                <a:gd name="connsiteY51" fmla="*/ 98812 h 2531525"/>
                <a:gd name="connsiteX0" fmla="*/ 1365628 w 2495698"/>
                <a:gd name="connsiteY0" fmla="*/ 832740 h 2531525"/>
                <a:gd name="connsiteX1" fmla="*/ 804861 w 2495698"/>
                <a:gd name="connsiteY1" fmla="*/ 1156499 h 2531525"/>
                <a:gd name="connsiteX2" fmla="*/ 1128620 w 2495698"/>
                <a:gd name="connsiteY2" fmla="*/ 1717266 h 2531525"/>
                <a:gd name="connsiteX3" fmla="*/ 1689387 w 2495698"/>
                <a:gd name="connsiteY3" fmla="*/ 1393507 h 2531525"/>
                <a:gd name="connsiteX4" fmla="*/ 1365628 w 2495698"/>
                <a:gd name="connsiteY4" fmla="*/ 832740 h 2531525"/>
                <a:gd name="connsiteX5" fmla="*/ 1447099 w 2495698"/>
                <a:gd name="connsiteY5" fmla="*/ 528685 h 2531525"/>
                <a:gd name="connsiteX6" fmla="*/ 1993442 w 2495698"/>
                <a:gd name="connsiteY6" fmla="*/ 1474978 h 2531525"/>
                <a:gd name="connsiteX7" fmla="*/ 1047149 w 2495698"/>
                <a:gd name="connsiteY7" fmla="*/ 2021321 h 2531525"/>
                <a:gd name="connsiteX8" fmla="*/ 500806 w 2495698"/>
                <a:gd name="connsiteY8" fmla="*/ 1075027 h 2531525"/>
                <a:gd name="connsiteX9" fmla="*/ 1447099 w 2495698"/>
                <a:gd name="connsiteY9" fmla="*/ 528685 h 2531525"/>
                <a:gd name="connsiteX10" fmla="*/ 1476725 w 2495698"/>
                <a:gd name="connsiteY10" fmla="*/ 418119 h 2531525"/>
                <a:gd name="connsiteX11" fmla="*/ 390240 w 2495698"/>
                <a:gd name="connsiteY11" fmla="*/ 1045401 h 2531525"/>
                <a:gd name="connsiteX12" fmla="*/ 1017523 w 2495698"/>
                <a:gd name="connsiteY12" fmla="*/ 2131887 h 2531525"/>
                <a:gd name="connsiteX13" fmla="*/ 2104008 w 2495698"/>
                <a:gd name="connsiteY13" fmla="*/ 1504604 h 2531525"/>
                <a:gd name="connsiteX14" fmla="*/ 1476725 w 2495698"/>
                <a:gd name="connsiteY14" fmla="*/ 418119 h 2531525"/>
                <a:gd name="connsiteX15" fmla="*/ 1759910 w 2495698"/>
                <a:gd name="connsiteY15" fmla="*/ 98812 h 2531525"/>
                <a:gd name="connsiteX16" fmla="*/ 1754625 w 2495698"/>
                <a:gd name="connsiteY16" fmla="*/ 412897 h 2531525"/>
                <a:gd name="connsiteX17" fmla="*/ 1744979 w 2495698"/>
                <a:gd name="connsiteY17" fmla="*/ 410312 h 2531525"/>
                <a:gd name="connsiteX18" fmla="*/ 1954704 w 2495698"/>
                <a:gd name="connsiteY18" fmla="*/ 573108 h 2531525"/>
                <a:gd name="connsiteX19" fmla="*/ 2234317 w 2495698"/>
                <a:gd name="connsiteY19" fmla="*/ 503581 h 2531525"/>
                <a:gd name="connsiteX20" fmla="*/ 2413554 w 2495698"/>
                <a:gd name="connsiteY20" fmla="*/ 840674 h 2531525"/>
                <a:gd name="connsiteX21" fmla="*/ 2214321 w 2495698"/>
                <a:gd name="connsiteY21" fmla="*/ 1020292 h 2531525"/>
                <a:gd name="connsiteX22" fmla="*/ 2246841 w 2495698"/>
                <a:gd name="connsiteY22" fmla="*/ 1303347 h 2531525"/>
                <a:gd name="connsiteX23" fmla="*/ 2495698 w 2495698"/>
                <a:gd name="connsiteY23" fmla="*/ 1441496 h 2531525"/>
                <a:gd name="connsiteX24" fmla="*/ 2396885 w 2495698"/>
                <a:gd name="connsiteY24" fmla="*/ 1810269 h 2531525"/>
                <a:gd name="connsiteX25" fmla="*/ 2094912 w 2495698"/>
                <a:gd name="connsiteY25" fmla="*/ 1805190 h 2531525"/>
                <a:gd name="connsiteX26" fmla="*/ 1958644 w 2495698"/>
                <a:gd name="connsiteY26" fmla="*/ 1977881 h 2531525"/>
                <a:gd name="connsiteX27" fmla="*/ 2057814 w 2495698"/>
                <a:gd name="connsiteY27" fmla="*/ 2236715 h 2531525"/>
                <a:gd name="connsiteX28" fmla="*/ 1745078 w 2495698"/>
                <a:gd name="connsiteY28" fmla="*/ 2455696 h 2531525"/>
                <a:gd name="connsiteX29" fmla="*/ 1507869 w 2495698"/>
                <a:gd name="connsiteY29" fmla="*/ 2249759 h 2531525"/>
                <a:gd name="connsiteX30" fmla="*/ 1251837 w 2495698"/>
                <a:gd name="connsiteY30" fmla="*/ 2272543 h 2531525"/>
                <a:gd name="connsiteX31" fmla="*/ 1108065 w 2495698"/>
                <a:gd name="connsiteY31" fmla="*/ 2531525 h 2531525"/>
                <a:gd name="connsiteX32" fmla="*/ 739291 w 2495698"/>
                <a:gd name="connsiteY32" fmla="*/ 2432713 h 2531525"/>
                <a:gd name="connsiteX33" fmla="*/ 744274 w 2495698"/>
                <a:gd name="connsiteY33" fmla="*/ 2136543 h 2531525"/>
                <a:gd name="connsiteX34" fmla="*/ 535891 w 2495698"/>
                <a:gd name="connsiteY34" fmla="*/ 1973098 h 2531525"/>
                <a:gd name="connsiteX35" fmla="*/ 540671 w 2495698"/>
                <a:gd name="connsiteY35" fmla="*/ 1983347 h 2531525"/>
                <a:gd name="connsiteX36" fmla="*/ 232276 w 2495698"/>
                <a:gd name="connsiteY36" fmla="*/ 2043090 h 2531525"/>
                <a:gd name="connsiteX37" fmla="*/ 70927 w 2495698"/>
                <a:gd name="connsiteY37" fmla="*/ 1697078 h 2531525"/>
                <a:gd name="connsiteX38" fmla="*/ 279495 w 2495698"/>
                <a:gd name="connsiteY38" fmla="*/ 1527966 h 2531525"/>
                <a:gd name="connsiteX39" fmla="*/ 245586 w 2495698"/>
                <a:gd name="connsiteY39" fmla="*/ 1274796 h 2531525"/>
                <a:gd name="connsiteX40" fmla="*/ 0 w 2495698"/>
                <a:gd name="connsiteY40" fmla="*/ 1138462 h 2531525"/>
                <a:gd name="connsiteX41" fmla="*/ 98812 w 2495698"/>
                <a:gd name="connsiteY41" fmla="*/ 769689 h 2531525"/>
                <a:gd name="connsiteX42" fmla="*/ 380240 w 2495698"/>
                <a:gd name="connsiteY42" fmla="*/ 774423 h 2531525"/>
                <a:gd name="connsiteX43" fmla="*/ 516679 w 2495698"/>
                <a:gd name="connsiteY43" fmla="*/ 590627 h 2531525"/>
                <a:gd name="connsiteX44" fmla="*/ 422419 w 2495698"/>
                <a:gd name="connsiteY44" fmla="*/ 299900 h 2531525"/>
                <a:gd name="connsiteX45" fmla="*/ 746189 w 2495698"/>
                <a:gd name="connsiteY45" fmla="*/ 97585 h 2531525"/>
                <a:gd name="connsiteX46" fmla="*/ 972292 w 2495698"/>
                <a:gd name="connsiteY46" fmla="*/ 315656 h 2531525"/>
                <a:gd name="connsiteX47" fmla="*/ 970019 w 2495698"/>
                <a:gd name="connsiteY47" fmla="*/ 317076 h 2531525"/>
                <a:gd name="connsiteX48" fmla="*/ 1248316 w 2495698"/>
                <a:gd name="connsiteY48" fmla="*/ 277231 h 2531525"/>
                <a:gd name="connsiteX49" fmla="*/ 1238669 w 2495698"/>
                <a:gd name="connsiteY49" fmla="*/ 274647 h 2531525"/>
                <a:gd name="connsiteX50" fmla="*/ 1391137 w 2495698"/>
                <a:gd name="connsiteY50" fmla="*/ 0 h 2531525"/>
                <a:gd name="connsiteX51" fmla="*/ 1759910 w 2495698"/>
                <a:gd name="connsiteY51" fmla="*/ 98812 h 2531525"/>
                <a:gd name="connsiteX0" fmla="*/ 1365628 w 2495698"/>
                <a:gd name="connsiteY0" fmla="*/ 832740 h 2531525"/>
                <a:gd name="connsiteX1" fmla="*/ 804861 w 2495698"/>
                <a:gd name="connsiteY1" fmla="*/ 1156499 h 2531525"/>
                <a:gd name="connsiteX2" fmla="*/ 1128620 w 2495698"/>
                <a:gd name="connsiteY2" fmla="*/ 1717266 h 2531525"/>
                <a:gd name="connsiteX3" fmla="*/ 1689387 w 2495698"/>
                <a:gd name="connsiteY3" fmla="*/ 1393507 h 2531525"/>
                <a:gd name="connsiteX4" fmla="*/ 1365628 w 2495698"/>
                <a:gd name="connsiteY4" fmla="*/ 832740 h 2531525"/>
                <a:gd name="connsiteX5" fmla="*/ 1447099 w 2495698"/>
                <a:gd name="connsiteY5" fmla="*/ 528685 h 2531525"/>
                <a:gd name="connsiteX6" fmla="*/ 1993442 w 2495698"/>
                <a:gd name="connsiteY6" fmla="*/ 1474978 h 2531525"/>
                <a:gd name="connsiteX7" fmla="*/ 1047149 w 2495698"/>
                <a:gd name="connsiteY7" fmla="*/ 2021321 h 2531525"/>
                <a:gd name="connsiteX8" fmla="*/ 500806 w 2495698"/>
                <a:gd name="connsiteY8" fmla="*/ 1075027 h 2531525"/>
                <a:gd name="connsiteX9" fmla="*/ 1447099 w 2495698"/>
                <a:gd name="connsiteY9" fmla="*/ 528685 h 2531525"/>
                <a:gd name="connsiteX10" fmla="*/ 1476725 w 2495698"/>
                <a:gd name="connsiteY10" fmla="*/ 418119 h 2531525"/>
                <a:gd name="connsiteX11" fmla="*/ 390240 w 2495698"/>
                <a:gd name="connsiteY11" fmla="*/ 1045401 h 2531525"/>
                <a:gd name="connsiteX12" fmla="*/ 1017523 w 2495698"/>
                <a:gd name="connsiteY12" fmla="*/ 2131887 h 2531525"/>
                <a:gd name="connsiteX13" fmla="*/ 2104008 w 2495698"/>
                <a:gd name="connsiteY13" fmla="*/ 1504604 h 2531525"/>
                <a:gd name="connsiteX14" fmla="*/ 1476725 w 2495698"/>
                <a:gd name="connsiteY14" fmla="*/ 418119 h 2531525"/>
                <a:gd name="connsiteX15" fmla="*/ 1759910 w 2495698"/>
                <a:gd name="connsiteY15" fmla="*/ 98812 h 2531525"/>
                <a:gd name="connsiteX16" fmla="*/ 1754625 w 2495698"/>
                <a:gd name="connsiteY16" fmla="*/ 412897 h 2531525"/>
                <a:gd name="connsiteX17" fmla="*/ 1744979 w 2495698"/>
                <a:gd name="connsiteY17" fmla="*/ 410312 h 2531525"/>
                <a:gd name="connsiteX18" fmla="*/ 1954704 w 2495698"/>
                <a:gd name="connsiteY18" fmla="*/ 573108 h 2531525"/>
                <a:gd name="connsiteX19" fmla="*/ 2234317 w 2495698"/>
                <a:gd name="connsiteY19" fmla="*/ 503581 h 2531525"/>
                <a:gd name="connsiteX20" fmla="*/ 2413554 w 2495698"/>
                <a:gd name="connsiteY20" fmla="*/ 840674 h 2531525"/>
                <a:gd name="connsiteX21" fmla="*/ 2214321 w 2495698"/>
                <a:gd name="connsiteY21" fmla="*/ 1020292 h 2531525"/>
                <a:gd name="connsiteX22" fmla="*/ 2246841 w 2495698"/>
                <a:gd name="connsiteY22" fmla="*/ 1303347 h 2531525"/>
                <a:gd name="connsiteX23" fmla="*/ 2495698 w 2495698"/>
                <a:gd name="connsiteY23" fmla="*/ 1441496 h 2531525"/>
                <a:gd name="connsiteX24" fmla="*/ 2396885 w 2495698"/>
                <a:gd name="connsiteY24" fmla="*/ 1810269 h 2531525"/>
                <a:gd name="connsiteX25" fmla="*/ 2094912 w 2495698"/>
                <a:gd name="connsiteY25" fmla="*/ 1805190 h 2531525"/>
                <a:gd name="connsiteX26" fmla="*/ 1958644 w 2495698"/>
                <a:gd name="connsiteY26" fmla="*/ 1977881 h 2531525"/>
                <a:gd name="connsiteX27" fmla="*/ 2057814 w 2495698"/>
                <a:gd name="connsiteY27" fmla="*/ 2236715 h 2531525"/>
                <a:gd name="connsiteX28" fmla="*/ 1745078 w 2495698"/>
                <a:gd name="connsiteY28" fmla="*/ 2455696 h 2531525"/>
                <a:gd name="connsiteX29" fmla="*/ 1507869 w 2495698"/>
                <a:gd name="connsiteY29" fmla="*/ 2249759 h 2531525"/>
                <a:gd name="connsiteX30" fmla="*/ 1251837 w 2495698"/>
                <a:gd name="connsiteY30" fmla="*/ 2272543 h 2531525"/>
                <a:gd name="connsiteX31" fmla="*/ 1108065 w 2495698"/>
                <a:gd name="connsiteY31" fmla="*/ 2531525 h 2531525"/>
                <a:gd name="connsiteX32" fmla="*/ 739291 w 2495698"/>
                <a:gd name="connsiteY32" fmla="*/ 2432713 h 2531525"/>
                <a:gd name="connsiteX33" fmla="*/ 744274 w 2495698"/>
                <a:gd name="connsiteY33" fmla="*/ 2136543 h 2531525"/>
                <a:gd name="connsiteX34" fmla="*/ 535891 w 2495698"/>
                <a:gd name="connsiteY34" fmla="*/ 1973098 h 2531525"/>
                <a:gd name="connsiteX35" fmla="*/ 540671 w 2495698"/>
                <a:gd name="connsiteY35" fmla="*/ 1983347 h 2531525"/>
                <a:gd name="connsiteX36" fmla="*/ 232276 w 2495698"/>
                <a:gd name="connsiteY36" fmla="*/ 2043090 h 2531525"/>
                <a:gd name="connsiteX37" fmla="*/ 70927 w 2495698"/>
                <a:gd name="connsiteY37" fmla="*/ 1697078 h 2531525"/>
                <a:gd name="connsiteX38" fmla="*/ 279495 w 2495698"/>
                <a:gd name="connsiteY38" fmla="*/ 1527966 h 2531525"/>
                <a:gd name="connsiteX39" fmla="*/ 245586 w 2495698"/>
                <a:gd name="connsiteY39" fmla="*/ 1274796 h 2531525"/>
                <a:gd name="connsiteX40" fmla="*/ 0 w 2495698"/>
                <a:gd name="connsiteY40" fmla="*/ 1138462 h 2531525"/>
                <a:gd name="connsiteX41" fmla="*/ 98812 w 2495698"/>
                <a:gd name="connsiteY41" fmla="*/ 769689 h 2531525"/>
                <a:gd name="connsiteX42" fmla="*/ 380240 w 2495698"/>
                <a:gd name="connsiteY42" fmla="*/ 774423 h 2531525"/>
                <a:gd name="connsiteX43" fmla="*/ 516679 w 2495698"/>
                <a:gd name="connsiteY43" fmla="*/ 590627 h 2531525"/>
                <a:gd name="connsiteX44" fmla="*/ 422419 w 2495698"/>
                <a:gd name="connsiteY44" fmla="*/ 299900 h 2531525"/>
                <a:gd name="connsiteX45" fmla="*/ 746189 w 2495698"/>
                <a:gd name="connsiteY45" fmla="*/ 97585 h 2531525"/>
                <a:gd name="connsiteX46" fmla="*/ 972292 w 2495698"/>
                <a:gd name="connsiteY46" fmla="*/ 315656 h 2531525"/>
                <a:gd name="connsiteX47" fmla="*/ 970019 w 2495698"/>
                <a:gd name="connsiteY47" fmla="*/ 317076 h 2531525"/>
                <a:gd name="connsiteX48" fmla="*/ 1248316 w 2495698"/>
                <a:gd name="connsiteY48" fmla="*/ 277231 h 2531525"/>
                <a:gd name="connsiteX49" fmla="*/ 1238669 w 2495698"/>
                <a:gd name="connsiteY49" fmla="*/ 274647 h 2531525"/>
                <a:gd name="connsiteX50" fmla="*/ 1391137 w 2495698"/>
                <a:gd name="connsiteY50" fmla="*/ 0 h 2531525"/>
                <a:gd name="connsiteX51" fmla="*/ 1759910 w 2495698"/>
                <a:gd name="connsiteY51" fmla="*/ 98812 h 2531525"/>
                <a:gd name="connsiteX0" fmla="*/ 1365628 w 2495698"/>
                <a:gd name="connsiteY0" fmla="*/ 832740 h 2531525"/>
                <a:gd name="connsiteX1" fmla="*/ 804861 w 2495698"/>
                <a:gd name="connsiteY1" fmla="*/ 1156499 h 2531525"/>
                <a:gd name="connsiteX2" fmla="*/ 1128620 w 2495698"/>
                <a:gd name="connsiteY2" fmla="*/ 1717266 h 2531525"/>
                <a:gd name="connsiteX3" fmla="*/ 1689387 w 2495698"/>
                <a:gd name="connsiteY3" fmla="*/ 1393507 h 2531525"/>
                <a:gd name="connsiteX4" fmla="*/ 1365628 w 2495698"/>
                <a:gd name="connsiteY4" fmla="*/ 832740 h 2531525"/>
                <a:gd name="connsiteX5" fmla="*/ 1447099 w 2495698"/>
                <a:gd name="connsiteY5" fmla="*/ 528685 h 2531525"/>
                <a:gd name="connsiteX6" fmla="*/ 1993442 w 2495698"/>
                <a:gd name="connsiteY6" fmla="*/ 1474978 h 2531525"/>
                <a:gd name="connsiteX7" fmla="*/ 1047149 w 2495698"/>
                <a:gd name="connsiteY7" fmla="*/ 2021321 h 2531525"/>
                <a:gd name="connsiteX8" fmla="*/ 500806 w 2495698"/>
                <a:gd name="connsiteY8" fmla="*/ 1075027 h 2531525"/>
                <a:gd name="connsiteX9" fmla="*/ 1447099 w 2495698"/>
                <a:gd name="connsiteY9" fmla="*/ 528685 h 2531525"/>
                <a:gd name="connsiteX10" fmla="*/ 1476725 w 2495698"/>
                <a:gd name="connsiteY10" fmla="*/ 418119 h 2531525"/>
                <a:gd name="connsiteX11" fmla="*/ 390240 w 2495698"/>
                <a:gd name="connsiteY11" fmla="*/ 1045401 h 2531525"/>
                <a:gd name="connsiteX12" fmla="*/ 1017523 w 2495698"/>
                <a:gd name="connsiteY12" fmla="*/ 2131887 h 2531525"/>
                <a:gd name="connsiteX13" fmla="*/ 2104008 w 2495698"/>
                <a:gd name="connsiteY13" fmla="*/ 1504604 h 2531525"/>
                <a:gd name="connsiteX14" fmla="*/ 1476725 w 2495698"/>
                <a:gd name="connsiteY14" fmla="*/ 418119 h 2531525"/>
                <a:gd name="connsiteX15" fmla="*/ 1759910 w 2495698"/>
                <a:gd name="connsiteY15" fmla="*/ 98812 h 2531525"/>
                <a:gd name="connsiteX16" fmla="*/ 1754625 w 2495698"/>
                <a:gd name="connsiteY16" fmla="*/ 412897 h 2531525"/>
                <a:gd name="connsiteX17" fmla="*/ 1744979 w 2495698"/>
                <a:gd name="connsiteY17" fmla="*/ 410312 h 2531525"/>
                <a:gd name="connsiteX18" fmla="*/ 1954704 w 2495698"/>
                <a:gd name="connsiteY18" fmla="*/ 573108 h 2531525"/>
                <a:gd name="connsiteX19" fmla="*/ 2234317 w 2495698"/>
                <a:gd name="connsiteY19" fmla="*/ 503581 h 2531525"/>
                <a:gd name="connsiteX20" fmla="*/ 2413554 w 2495698"/>
                <a:gd name="connsiteY20" fmla="*/ 840674 h 2531525"/>
                <a:gd name="connsiteX21" fmla="*/ 2214321 w 2495698"/>
                <a:gd name="connsiteY21" fmla="*/ 1020292 h 2531525"/>
                <a:gd name="connsiteX22" fmla="*/ 2246841 w 2495698"/>
                <a:gd name="connsiteY22" fmla="*/ 1303347 h 2531525"/>
                <a:gd name="connsiteX23" fmla="*/ 2495698 w 2495698"/>
                <a:gd name="connsiteY23" fmla="*/ 1441496 h 2531525"/>
                <a:gd name="connsiteX24" fmla="*/ 2396885 w 2495698"/>
                <a:gd name="connsiteY24" fmla="*/ 1810269 h 2531525"/>
                <a:gd name="connsiteX25" fmla="*/ 2094912 w 2495698"/>
                <a:gd name="connsiteY25" fmla="*/ 1805190 h 2531525"/>
                <a:gd name="connsiteX26" fmla="*/ 1958644 w 2495698"/>
                <a:gd name="connsiteY26" fmla="*/ 1977881 h 2531525"/>
                <a:gd name="connsiteX27" fmla="*/ 2057814 w 2495698"/>
                <a:gd name="connsiteY27" fmla="*/ 2236715 h 2531525"/>
                <a:gd name="connsiteX28" fmla="*/ 1745078 w 2495698"/>
                <a:gd name="connsiteY28" fmla="*/ 2455696 h 2531525"/>
                <a:gd name="connsiteX29" fmla="*/ 1507869 w 2495698"/>
                <a:gd name="connsiteY29" fmla="*/ 2249759 h 2531525"/>
                <a:gd name="connsiteX30" fmla="*/ 1251837 w 2495698"/>
                <a:gd name="connsiteY30" fmla="*/ 2272543 h 2531525"/>
                <a:gd name="connsiteX31" fmla="*/ 1108065 w 2495698"/>
                <a:gd name="connsiteY31" fmla="*/ 2531525 h 2531525"/>
                <a:gd name="connsiteX32" fmla="*/ 739291 w 2495698"/>
                <a:gd name="connsiteY32" fmla="*/ 2432713 h 2531525"/>
                <a:gd name="connsiteX33" fmla="*/ 744274 w 2495698"/>
                <a:gd name="connsiteY33" fmla="*/ 2136543 h 2531525"/>
                <a:gd name="connsiteX34" fmla="*/ 535891 w 2495698"/>
                <a:gd name="connsiteY34" fmla="*/ 1973098 h 2531525"/>
                <a:gd name="connsiteX35" fmla="*/ 540671 w 2495698"/>
                <a:gd name="connsiteY35" fmla="*/ 1983347 h 2531525"/>
                <a:gd name="connsiteX36" fmla="*/ 232276 w 2495698"/>
                <a:gd name="connsiteY36" fmla="*/ 2043090 h 2531525"/>
                <a:gd name="connsiteX37" fmla="*/ 70927 w 2495698"/>
                <a:gd name="connsiteY37" fmla="*/ 1697078 h 2531525"/>
                <a:gd name="connsiteX38" fmla="*/ 279495 w 2495698"/>
                <a:gd name="connsiteY38" fmla="*/ 1527966 h 2531525"/>
                <a:gd name="connsiteX39" fmla="*/ 245586 w 2495698"/>
                <a:gd name="connsiteY39" fmla="*/ 1274796 h 2531525"/>
                <a:gd name="connsiteX40" fmla="*/ 0 w 2495698"/>
                <a:gd name="connsiteY40" fmla="*/ 1138462 h 2531525"/>
                <a:gd name="connsiteX41" fmla="*/ 98812 w 2495698"/>
                <a:gd name="connsiteY41" fmla="*/ 769689 h 2531525"/>
                <a:gd name="connsiteX42" fmla="*/ 380240 w 2495698"/>
                <a:gd name="connsiteY42" fmla="*/ 774423 h 2531525"/>
                <a:gd name="connsiteX43" fmla="*/ 516679 w 2495698"/>
                <a:gd name="connsiteY43" fmla="*/ 590627 h 2531525"/>
                <a:gd name="connsiteX44" fmla="*/ 422419 w 2495698"/>
                <a:gd name="connsiteY44" fmla="*/ 299900 h 2531525"/>
                <a:gd name="connsiteX45" fmla="*/ 746189 w 2495698"/>
                <a:gd name="connsiteY45" fmla="*/ 97585 h 2531525"/>
                <a:gd name="connsiteX46" fmla="*/ 972292 w 2495698"/>
                <a:gd name="connsiteY46" fmla="*/ 315656 h 2531525"/>
                <a:gd name="connsiteX47" fmla="*/ 970019 w 2495698"/>
                <a:gd name="connsiteY47" fmla="*/ 317076 h 2531525"/>
                <a:gd name="connsiteX48" fmla="*/ 1248316 w 2495698"/>
                <a:gd name="connsiteY48" fmla="*/ 277231 h 2531525"/>
                <a:gd name="connsiteX49" fmla="*/ 1391137 w 2495698"/>
                <a:gd name="connsiteY49" fmla="*/ 0 h 2531525"/>
                <a:gd name="connsiteX50" fmla="*/ 1759910 w 2495698"/>
                <a:gd name="connsiteY50" fmla="*/ 98812 h 2531525"/>
                <a:gd name="connsiteX0" fmla="*/ 1365628 w 2495698"/>
                <a:gd name="connsiteY0" fmla="*/ 832740 h 2531525"/>
                <a:gd name="connsiteX1" fmla="*/ 804861 w 2495698"/>
                <a:gd name="connsiteY1" fmla="*/ 1156499 h 2531525"/>
                <a:gd name="connsiteX2" fmla="*/ 1128620 w 2495698"/>
                <a:gd name="connsiteY2" fmla="*/ 1717266 h 2531525"/>
                <a:gd name="connsiteX3" fmla="*/ 1689387 w 2495698"/>
                <a:gd name="connsiteY3" fmla="*/ 1393507 h 2531525"/>
                <a:gd name="connsiteX4" fmla="*/ 1365628 w 2495698"/>
                <a:gd name="connsiteY4" fmla="*/ 832740 h 2531525"/>
                <a:gd name="connsiteX5" fmla="*/ 1447099 w 2495698"/>
                <a:gd name="connsiteY5" fmla="*/ 528685 h 2531525"/>
                <a:gd name="connsiteX6" fmla="*/ 1993442 w 2495698"/>
                <a:gd name="connsiteY6" fmla="*/ 1474978 h 2531525"/>
                <a:gd name="connsiteX7" fmla="*/ 1047149 w 2495698"/>
                <a:gd name="connsiteY7" fmla="*/ 2021321 h 2531525"/>
                <a:gd name="connsiteX8" fmla="*/ 500806 w 2495698"/>
                <a:gd name="connsiteY8" fmla="*/ 1075027 h 2531525"/>
                <a:gd name="connsiteX9" fmla="*/ 1447099 w 2495698"/>
                <a:gd name="connsiteY9" fmla="*/ 528685 h 2531525"/>
                <a:gd name="connsiteX10" fmla="*/ 1476725 w 2495698"/>
                <a:gd name="connsiteY10" fmla="*/ 418119 h 2531525"/>
                <a:gd name="connsiteX11" fmla="*/ 390240 w 2495698"/>
                <a:gd name="connsiteY11" fmla="*/ 1045401 h 2531525"/>
                <a:gd name="connsiteX12" fmla="*/ 1017523 w 2495698"/>
                <a:gd name="connsiteY12" fmla="*/ 2131887 h 2531525"/>
                <a:gd name="connsiteX13" fmla="*/ 2104008 w 2495698"/>
                <a:gd name="connsiteY13" fmla="*/ 1504604 h 2531525"/>
                <a:gd name="connsiteX14" fmla="*/ 1476725 w 2495698"/>
                <a:gd name="connsiteY14" fmla="*/ 418119 h 2531525"/>
                <a:gd name="connsiteX15" fmla="*/ 1759910 w 2495698"/>
                <a:gd name="connsiteY15" fmla="*/ 98812 h 2531525"/>
                <a:gd name="connsiteX16" fmla="*/ 1754625 w 2495698"/>
                <a:gd name="connsiteY16" fmla="*/ 412897 h 2531525"/>
                <a:gd name="connsiteX17" fmla="*/ 1744979 w 2495698"/>
                <a:gd name="connsiteY17" fmla="*/ 410312 h 2531525"/>
                <a:gd name="connsiteX18" fmla="*/ 1954704 w 2495698"/>
                <a:gd name="connsiteY18" fmla="*/ 573108 h 2531525"/>
                <a:gd name="connsiteX19" fmla="*/ 2234317 w 2495698"/>
                <a:gd name="connsiteY19" fmla="*/ 503581 h 2531525"/>
                <a:gd name="connsiteX20" fmla="*/ 2413554 w 2495698"/>
                <a:gd name="connsiteY20" fmla="*/ 840674 h 2531525"/>
                <a:gd name="connsiteX21" fmla="*/ 2214321 w 2495698"/>
                <a:gd name="connsiteY21" fmla="*/ 1020292 h 2531525"/>
                <a:gd name="connsiteX22" fmla="*/ 2246841 w 2495698"/>
                <a:gd name="connsiteY22" fmla="*/ 1303347 h 2531525"/>
                <a:gd name="connsiteX23" fmla="*/ 2495698 w 2495698"/>
                <a:gd name="connsiteY23" fmla="*/ 1441496 h 2531525"/>
                <a:gd name="connsiteX24" fmla="*/ 2396885 w 2495698"/>
                <a:gd name="connsiteY24" fmla="*/ 1810269 h 2531525"/>
                <a:gd name="connsiteX25" fmla="*/ 2094912 w 2495698"/>
                <a:gd name="connsiteY25" fmla="*/ 1805190 h 2531525"/>
                <a:gd name="connsiteX26" fmla="*/ 1958644 w 2495698"/>
                <a:gd name="connsiteY26" fmla="*/ 1977881 h 2531525"/>
                <a:gd name="connsiteX27" fmla="*/ 2057814 w 2495698"/>
                <a:gd name="connsiteY27" fmla="*/ 2236715 h 2531525"/>
                <a:gd name="connsiteX28" fmla="*/ 1745078 w 2495698"/>
                <a:gd name="connsiteY28" fmla="*/ 2455696 h 2531525"/>
                <a:gd name="connsiteX29" fmla="*/ 1507869 w 2495698"/>
                <a:gd name="connsiteY29" fmla="*/ 2249759 h 2531525"/>
                <a:gd name="connsiteX30" fmla="*/ 1251837 w 2495698"/>
                <a:gd name="connsiteY30" fmla="*/ 2272543 h 2531525"/>
                <a:gd name="connsiteX31" fmla="*/ 1108065 w 2495698"/>
                <a:gd name="connsiteY31" fmla="*/ 2531525 h 2531525"/>
                <a:gd name="connsiteX32" fmla="*/ 739291 w 2495698"/>
                <a:gd name="connsiteY32" fmla="*/ 2432713 h 2531525"/>
                <a:gd name="connsiteX33" fmla="*/ 744274 w 2495698"/>
                <a:gd name="connsiteY33" fmla="*/ 2136543 h 2531525"/>
                <a:gd name="connsiteX34" fmla="*/ 535891 w 2495698"/>
                <a:gd name="connsiteY34" fmla="*/ 1973098 h 2531525"/>
                <a:gd name="connsiteX35" fmla="*/ 540671 w 2495698"/>
                <a:gd name="connsiteY35" fmla="*/ 1983347 h 2531525"/>
                <a:gd name="connsiteX36" fmla="*/ 232276 w 2495698"/>
                <a:gd name="connsiteY36" fmla="*/ 2043090 h 2531525"/>
                <a:gd name="connsiteX37" fmla="*/ 70927 w 2495698"/>
                <a:gd name="connsiteY37" fmla="*/ 1697078 h 2531525"/>
                <a:gd name="connsiteX38" fmla="*/ 279495 w 2495698"/>
                <a:gd name="connsiteY38" fmla="*/ 1527966 h 2531525"/>
                <a:gd name="connsiteX39" fmla="*/ 245586 w 2495698"/>
                <a:gd name="connsiteY39" fmla="*/ 1274796 h 2531525"/>
                <a:gd name="connsiteX40" fmla="*/ 0 w 2495698"/>
                <a:gd name="connsiteY40" fmla="*/ 1138462 h 2531525"/>
                <a:gd name="connsiteX41" fmla="*/ 98812 w 2495698"/>
                <a:gd name="connsiteY41" fmla="*/ 769689 h 2531525"/>
                <a:gd name="connsiteX42" fmla="*/ 380240 w 2495698"/>
                <a:gd name="connsiteY42" fmla="*/ 774423 h 2531525"/>
                <a:gd name="connsiteX43" fmla="*/ 516679 w 2495698"/>
                <a:gd name="connsiteY43" fmla="*/ 590627 h 2531525"/>
                <a:gd name="connsiteX44" fmla="*/ 422419 w 2495698"/>
                <a:gd name="connsiteY44" fmla="*/ 299900 h 2531525"/>
                <a:gd name="connsiteX45" fmla="*/ 746189 w 2495698"/>
                <a:gd name="connsiteY45" fmla="*/ 97585 h 2531525"/>
                <a:gd name="connsiteX46" fmla="*/ 972292 w 2495698"/>
                <a:gd name="connsiteY46" fmla="*/ 315656 h 2531525"/>
                <a:gd name="connsiteX47" fmla="*/ 970019 w 2495698"/>
                <a:gd name="connsiteY47" fmla="*/ 317076 h 2531525"/>
                <a:gd name="connsiteX48" fmla="*/ 1248316 w 2495698"/>
                <a:gd name="connsiteY48" fmla="*/ 277231 h 2531525"/>
                <a:gd name="connsiteX49" fmla="*/ 1391137 w 2495698"/>
                <a:gd name="connsiteY49" fmla="*/ 0 h 2531525"/>
                <a:gd name="connsiteX50" fmla="*/ 1759910 w 2495698"/>
                <a:gd name="connsiteY50" fmla="*/ 98812 h 2531525"/>
                <a:gd name="connsiteX0" fmla="*/ 1365628 w 2495698"/>
                <a:gd name="connsiteY0" fmla="*/ 832740 h 2531525"/>
                <a:gd name="connsiteX1" fmla="*/ 804861 w 2495698"/>
                <a:gd name="connsiteY1" fmla="*/ 1156499 h 2531525"/>
                <a:gd name="connsiteX2" fmla="*/ 1128620 w 2495698"/>
                <a:gd name="connsiteY2" fmla="*/ 1717266 h 2531525"/>
                <a:gd name="connsiteX3" fmla="*/ 1689387 w 2495698"/>
                <a:gd name="connsiteY3" fmla="*/ 1393507 h 2531525"/>
                <a:gd name="connsiteX4" fmla="*/ 1365628 w 2495698"/>
                <a:gd name="connsiteY4" fmla="*/ 832740 h 2531525"/>
                <a:gd name="connsiteX5" fmla="*/ 1447099 w 2495698"/>
                <a:gd name="connsiteY5" fmla="*/ 528685 h 2531525"/>
                <a:gd name="connsiteX6" fmla="*/ 1993442 w 2495698"/>
                <a:gd name="connsiteY6" fmla="*/ 1474978 h 2531525"/>
                <a:gd name="connsiteX7" fmla="*/ 1047149 w 2495698"/>
                <a:gd name="connsiteY7" fmla="*/ 2021321 h 2531525"/>
                <a:gd name="connsiteX8" fmla="*/ 500806 w 2495698"/>
                <a:gd name="connsiteY8" fmla="*/ 1075027 h 2531525"/>
                <a:gd name="connsiteX9" fmla="*/ 1447099 w 2495698"/>
                <a:gd name="connsiteY9" fmla="*/ 528685 h 2531525"/>
                <a:gd name="connsiteX10" fmla="*/ 1476725 w 2495698"/>
                <a:gd name="connsiteY10" fmla="*/ 418119 h 2531525"/>
                <a:gd name="connsiteX11" fmla="*/ 390240 w 2495698"/>
                <a:gd name="connsiteY11" fmla="*/ 1045401 h 2531525"/>
                <a:gd name="connsiteX12" fmla="*/ 1017523 w 2495698"/>
                <a:gd name="connsiteY12" fmla="*/ 2131887 h 2531525"/>
                <a:gd name="connsiteX13" fmla="*/ 2104008 w 2495698"/>
                <a:gd name="connsiteY13" fmla="*/ 1504604 h 2531525"/>
                <a:gd name="connsiteX14" fmla="*/ 1476725 w 2495698"/>
                <a:gd name="connsiteY14" fmla="*/ 418119 h 2531525"/>
                <a:gd name="connsiteX15" fmla="*/ 1759910 w 2495698"/>
                <a:gd name="connsiteY15" fmla="*/ 98812 h 2531525"/>
                <a:gd name="connsiteX16" fmla="*/ 1754625 w 2495698"/>
                <a:gd name="connsiteY16" fmla="*/ 412897 h 2531525"/>
                <a:gd name="connsiteX17" fmla="*/ 1744979 w 2495698"/>
                <a:gd name="connsiteY17" fmla="*/ 410312 h 2531525"/>
                <a:gd name="connsiteX18" fmla="*/ 1954704 w 2495698"/>
                <a:gd name="connsiteY18" fmla="*/ 573108 h 2531525"/>
                <a:gd name="connsiteX19" fmla="*/ 2234317 w 2495698"/>
                <a:gd name="connsiteY19" fmla="*/ 503581 h 2531525"/>
                <a:gd name="connsiteX20" fmla="*/ 2413554 w 2495698"/>
                <a:gd name="connsiteY20" fmla="*/ 840674 h 2531525"/>
                <a:gd name="connsiteX21" fmla="*/ 2214321 w 2495698"/>
                <a:gd name="connsiteY21" fmla="*/ 1020292 h 2531525"/>
                <a:gd name="connsiteX22" fmla="*/ 2246841 w 2495698"/>
                <a:gd name="connsiteY22" fmla="*/ 1303347 h 2531525"/>
                <a:gd name="connsiteX23" fmla="*/ 2495698 w 2495698"/>
                <a:gd name="connsiteY23" fmla="*/ 1441496 h 2531525"/>
                <a:gd name="connsiteX24" fmla="*/ 2396885 w 2495698"/>
                <a:gd name="connsiteY24" fmla="*/ 1810269 h 2531525"/>
                <a:gd name="connsiteX25" fmla="*/ 2094912 w 2495698"/>
                <a:gd name="connsiteY25" fmla="*/ 1805190 h 2531525"/>
                <a:gd name="connsiteX26" fmla="*/ 1958644 w 2495698"/>
                <a:gd name="connsiteY26" fmla="*/ 1977881 h 2531525"/>
                <a:gd name="connsiteX27" fmla="*/ 2057814 w 2495698"/>
                <a:gd name="connsiteY27" fmla="*/ 2236715 h 2531525"/>
                <a:gd name="connsiteX28" fmla="*/ 1745078 w 2495698"/>
                <a:gd name="connsiteY28" fmla="*/ 2455696 h 2531525"/>
                <a:gd name="connsiteX29" fmla="*/ 1507869 w 2495698"/>
                <a:gd name="connsiteY29" fmla="*/ 2249759 h 2531525"/>
                <a:gd name="connsiteX30" fmla="*/ 1251837 w 2495698"/>
                <a:gd name="connsiteY30" fmla="*/ 2272543 h 2531525"/>
                <a:gd name="connsiteX31" fmla="*/ 1108065 w 2495698"/>
                <a:gd name="connsiteY31" fmla="*/ 2531525 h 2531525"/>
                <a:gd name="connsiteX32" fmla="*/ 739291 w 2495698"/>
                <a:gd name="connsiteY32" fmla="*/ 2432713 h 2531525"/>
                <a:gd name="connsiteX33" fmla="*/ 744274 w 2495698"/>
                <a:gd name="connsiteY33" fmla="*/ 2136543 h 2531525"/>
                <a:gd name="connsiteX34" fmla="*/ 535891 w 2495698"/>
                <a:gd name="connsiteY34" fmla="*/ 1973098 h 2531525"/>
                <a:gd name="connsiteX35" fmla="*/ 540671 w 2495698"/>
                <a:gd name="connsiteY35" fmla="*/ 1983347 h 2531525"/>
                <a:gd name="connsiteX36" fmla="*/ 232276 w 2495698"/>
                <a:gd name="connsiteY36" fmla="*/ 2043090 h 2531525"/>
                <a:gd name="connsiteX37" fmla="*/ 70927 w 2495698"/>
                <a:gd name="connsiteY37" fmla="*/ 1697078 h 2531525"/>
                <a:gd name="connsiteX38" fmla="*/ 279495 w 2495698"/>
                <a:gd name="connsiteY38" fmla="*/ 1527966 h 2531525"/>
                <a:gd name="connsiteX39" fmla="*/ 245586 w 2495698"/>
                <a:gd name="connsiteY39" fmla="*/ 1274796 h 2531525"/>
                <a:gd name="connsiteX40" fmla="*/ 0 w 2495698"/>
                <a:gd name="connsiteY40" fmla="*/ 1138462 h 2531525"/>
                <a:gd name="connsiteX41" fmla="*/ 98812 w 2495698"/>
                <a:gd name="connsiteY41" fmla="*/ 769689 h 2531525"/>
                <a:gd name="connsiteX42" fmla="*/ 380240 w 2495698"/>
                <a:gd name="connsiteY42" fmla="*/ 774423 h 2531525"/>
                <a:gd name="connsiteX43" fmla="*/ 516679 w 2495698"/>
                <a:gd name="connsiteY43" fmla="*/ 590627 h 2531525"/>
                <a:gd name="connsiteX44" fmla="*/ 422419 w 2495698"/>
                <a:gd name="connsiteY44" fmla="*/ 299900 h 2531525"/>
                <a:gd name="connsiteX45" fmla="*/ 746189 w 2495698"/>
                <a:gd name="connsiteY45" fmla="*/ 97585 h 2531525"/>
                <a:gd name="connsiteX46" fmla="*/ 972292 w 2495698"/>
                <a:gd name="connsiteY46" fmla="*/ 315656 h 2531525"/>
                <a:gd name="connsiteX47" fmla="*/ 970019 w 2495698"/>
                <a:gd name="connsiteY47" fmla="*/ 317076 h 2531525"/>
                <a:gd name="connsiteX48" fmla="*/ 1248316 w 2495698"/>
                <a:gd name="connsiteY48" fmla="*/ 277231 h 2531525"/>
                <a:gd name="connsiteX49" fmla="*/ 1391137 w 2495698"/>
                <a:gd name="connsiteY49" fmla="*/ 0 h 2531525"/>
                <a:gd name="connsiteX50" fmla="*/ 1759910 w 2495698"/>
                <a:gd name="connsiteY50" fmla="*/ 98812 h 2531525"/>
                <a:gd name="connsiteX0" fmla="*/ 1365628 w 2495698"/>
                <a:gd name="connsiteY0" fmla="*/ 832740 h 2531525"/>
                <a:gd name="connsiteX1" fmla="*/ 804861 w 2495698"/>
                <a:gd name="connsiteY1" fmla="*/ 1156499 h 2531525"/>
                <a:gd name="connsiteX2" fmla="*/ 1128620 w 2495698"/>
                <a:gd name="connsiteY2" fmla="*/ 1717266 h 2531525"/>
                <a:gd name="connsiteX3" fmla="*/ 1689387 w 2495698"/>
                <a:gd name="connsiteY3" fmla="*/ 1393507 h 2531525"/>
                <a:gd name="connsiteX4" fmla="*/ 1365628 w 2495698"/>
                <a:gd name="connsiteY4" fmla="*/ 832740 h 2531525"/>
                <a:gd name="connsiteX5" fmla="*/ 1447099 w 2495698"/>
                <a:gd name="connsiteY5" fmla="*/ 528685 h 2531525"/>
                <a:gd name="connsiteX6" fmla="*/ 1993442 w 2495698"/>
                <a:gd name="connsiteY6" fmla="*/ 1474978 h 2531525"/>
                <a:gd name="connsiteX7" fmla="*/ 1047149 w 2495698"/>
                <a:gd name="connsiteY7" fmla="*/ 2021321 h 2531525"/>
                <a:gd name="connsiteX8" fmla="*/ 500806 w 2495698"/>
                <a:gd name="connsiteY8" fmla="*/ 1075027 h 2531525"/>
                <a:gd name="connsiteX9" fmla="*/ 1447099 w 2495698"/>
                <a:gd name="connsiteY9" fmla="*/ 528685 h 2531525"/>
                <a:gd name="connsiteX10" fmla="*/ 1476725 w 2495698"/>
                <a:gd name="connsiteY10" fmla="*/ 418119 h 2531525"/>
                <a:gd name="connsiteX11" fmla="*/ 390240 w 2495698"/>
                <a:gd name="connsiteY11" fmla="*/ 1045401 h 2531525"/>
                <a:gd name="connsiteX12" fmla="*/ 1017523 w 2495698"/>
                <a:gd name="connsiteY12" fmla="*/ 2131887 h 2531525"/>
                <a:gd name="connsiteX13" fmla="*/ 2104008 w 2495698"/>
                <a:gd name="connsiteY13" fmla="*/ 1504604 h 2531525"/>
                <a:gd name="connsiteX14" fmla="*/ 1476725 w 2495698"/>
                <a:gd name="connsiteY14" fmla="*/ 418119 h 2531525"/>
                <a:gd name="connsiteX15" fmla="*/ 1759910 w 2495698"/>
                <a:gd name="connsiteY15" fmla="*/ 98812 h 2531525"/>
                <a:gd name="connsiteX16" fmla="*/ 1754625 w 2495698"/>
                <a:gd name="connsiteY16" fmla="*/ 412897 h 2531525"/>
                <a:gd name="connsiteX17" fmla="*/ 1744979 w 2495698"/>
                <a:gd name="connsiteY17" fmla="*/ 410312 h 2531525"/>
                <a:gd name="connsiteX18" fmla="*/ 1954704 w 2495698"/>
                <a:gd name="connsiteY18" fmla="*/ 573108 h 2531525"/>
                <a:gd name="connsiteX19" fmla="*/ 2234317 w 2495698"/>
                <a:gd name="connsiteY19" fmla="*/ 503581 h 2531525"/>
                <a:gd name="connsiteX20" fmla="*/ 2413554 w 2495698"/>
                <a:gd name="connsiteY20" fmla="*/ 840674 h 2531525"/>
                <a:gd name="connsiteX21" fmla="*/ 2214321 w 2495698"/>
                <a:gd name="connsiteY21" fmla="*/ 1020292 h 2531525"/>
                <a:gd name="connsiteX22" fmla="*/ 2246841 w 2495698"/>
                <a:gd name="connsiteY22" fmla="*/ 1303347 h 2531525"/>
                <a:gd name="connsiteX23" fmla="*/ 2495698 w 2495698"/>
                <a:gd name="connsiteY23" fmla="*/ 1441496 h 2531525"/>
                <a:gd name="connsiteX24" fmla="*/ 2396885 w 2495698"/>
                <a:gd name="connsiteY24" fmla="*/ 1810269 h 2531525"/>
                <a:gd name="connsiteX25" fmla="*/ 2094912 w 2495698"/>
                <a:gd name="connsiteY25" fmla="*/ 1805190 h 2531525"/>
                <a:gd name="connsiteX26" fmla="*/ 1958644 w 2495698"/>
                <a:gd name="connsiteY26" fmla="*/ 1977881 h 2531525"/>
                <a:gd name="connsiteX27" fmla="*/ 2057814 w 2495698"/>
                <a:gd name="connsiteY27" fmla="*/ 2236715 h 2531525"/>
                <a:gd name="connsiteX28" fmla="*/ 1745078 w 2495698"/>
                <a:gd name="connsiteY28" fmla="*/ 2455696 h 2531525"/>
                <a:gd name="connsiteX29" fmla="*/ 1507869 w 2495698"/>
                <a:gd name="connsiteY29" fmla="*/ 2249759 h 2531525"/>
                <a:gd name="connsiteX30" fmla="*/ 1251837 w 2495698"/>
                <a:gd name="connsiteY30" fmla="*/ 2272543 h 2531525"/>
                <a:gd name="connsiteX31" fmla="*/ 1108065 w 2495698"/>
                <a:gd name="connsiteY31" fmla="*/ 2531525 h 2531525"/>
                <a:gd name="connsiteX32" fmla="*/ 739291 w 2495698"/>
                <a:gd name="connsiteY32" fmla="*/ 2432713 h 2531525"/>
                <a:gd name="connsiteX33" fmla="*/ 744274 w 2495698"/>
                <a:gd name="connsiteY33" fmla="*/ 2136543 h 2531525"/>
                <a:gd name="connsiteX34" fmla="*/ 535891 w 2495698"/>
                <a:gd name="connsiteY34" fmla="*/ 1973098 h 2531525"/>
                <a:gd name="connsiteX35" fmla="*/ 540671 w 2495698"/>
                <a:gd name="connsiteY35" fmla="*/ 1983347 h 2531525"/>
                <a:gd name="connsiteX36" fmla="*/ 232276 w 2495698"/>
                <a:gd name="connsiteY36" fmla="*/ 2043090 h 2531525"/>
                <a:gd name="connsiteX37" fmla="*/ 70927 w 2495698"/>
                <a:gd name="connsiteY37" fmla="*/ 1697078 h 2531525"/>
                <a:gd name="connsiteX38" fmla="*/ 279495 w 2495698"/>
                <a:gd name="connsiteY38" fmla="*/ 1527966 h 2531525"/>
                <a:gd name="connsiteX39" fmla="*/ 245586 w 2495698"/>
                <a:gd name="connsiteY39" fmla="*/ 1274796 h 2531525"/>
                <a:gd name="connsiteX40" fmla="*/ 0 w 2495698"/>
                <a:gd name="connsiteY40" fmla="*/ 1138462 h 2531525"/>
                <a:gd name="connsiteX41" fmla="*/ 98812 w 2495698"/>
                <a:gd name="connsiteY41" fmla="*/ 769689 h 2531525"/>
                <a:gd name="connsiteX42" fmla="*/ 380240 w 2495698"/>
                <a:gd name="connsiteY42" fmla="*/ 774423 h 2531525"/>
                <a:gd name="connsiteX43" fmla="*/ 516679 w 2495698"/>
                <a:gd name="connsiteY43" fmla="*/ 590627 h 2531525"/>
                <a:gd name="connsiteX44" fmla="*/ 422419 w 2495698"/>
                <a:gd name="connsiteY44" fmla="*/ 299900 h 2531525"/>
                <a:gd name="connsiteX45" fmla="*/ 746189 w 2495698"/>
                <a:gd name="connsiteY45" fmla="*/ 97585 h 2531525"/>
                <a:gd name="connsiteX46" fmla="*/ 972292 w 2495698"/>
                <a:gd name="connsiteY46" fmla="*/ 315656 h 2531525"/>
                <a:gd name="connsiteX47" fmla="*/ 970019 w 2495698"/>
                <a:gd name="connsiteY47" fmla="*/ 317076 h 2531525"/>
                <a:gd name="connsiteX48" fmla="*/ 1248316 w 2495698"/>
                <a:gd name="connsiteY48" fmla="*/ 277231 h 2531525"/>
                <a:gd name="connsiteX49" fmla="*/ 1391137 w 2495698"/>
                <a:gd name="connsiteY49" fmla="*/ 0 h 2531525"/>
                <a:gd name="connsiteX50" fmla="*/ 1759910 w 2495698"/>
                <a:gd name="connsiteY50" fmla="*/ 98812 h 2531525"/>
                <a:gd name="connsiteX0" fmla="*/ 1365628 w 2495698"/>
                <a:gd name="connsiteY0" fmla="*/ 832740 h 2531525"/>
                <a:gd name="connsiteX1" fmla="*/ 804861 w 2495698"/>
                <a:gd name="connsiteY1" fmla="*/ 1156499 h 2531525"/>
                <a:gd name="connsiteX2" fmla="*/ 1128620 w 2495698"/>
                <a:gd name="connsiteY2" fmla="*/ 1717266 h 2531525"/>
                <a:gd name="connsiteX3" fmla="*/ 1689387 w 2495698"/>
                <a:gd name="connsiteY3" fmla="*/ 1393507 h 2531525"/>
                <a:gd name="connsiteX4" fmla="*/ 1365628 w 2495698"/>
                <a:gd name="connsiteY4" fmla="*/ 832740 h 2531525"/>
                <a:gd name="connsiteX5" fmla="*/ 1447099 w 2495698"/>
                <a:gd name="connsiteY5" fmla="*/ 528685 h 2531525"/>
                <a:gd name="connsiteX6" fmla="*/ 1993442 w 2495698"/>
                <a:gd name="connsiteY6" fmla="*/ 1474978 h 2531525"/>
                <a:gd name="connsiteX7" fmla="*/ 1047149 w 2495698"/>
                <a:gd name="connsiteY7" fmla="*/ 2021321 h 2531525"/>
                <a:gd name="connsiteX8" fmla="*/ 500806 w 2495698"/>
                <a:gd name="connsiteY8" fmla="*/ 1075027 h 2531525"/>
                <a:gd name="connsiteX9" fmla="*/ 1447099 w 2495698"/>
                <a:gd name="connsiteY9" fmla="*/ 528685 h 2531525"/>
                <a:gd name="connsiteX10" fmla="*/ 1476725 w 2495698"/>
                <a:gd name="connsiteY10" fmla="*/ 418119 h 2531525"/>
                <a:gd name="connsiteX11" fmla="*/ 390240 w 2495698"/>
                <a:gd name="connsiteY11" fmla="*/ 1045401 h 2531525"/>
                <a:gd name="connsiteX12" fmla="*/ 1017523 w 2495698"/>
                <a:gd name="connsiteY12" fmla="*/ 2131887 h 2531525"/>
                <a:gd name="connsiteX13" fmla="*/ 2104008 w 2495698"/>
                <a:gd name="connsiteY13" fmla="*/ 1504604 h 2531525"/>
                <a:gd name="connsiteX14" fmla="*/ 1476725 w 2495698"/>
                <a:gd name="connsiteY14" fmla="*/ 418119 h 2531525"/>
                <a:gd name="connsiteX15" fmla="*/ 1759910 w 2495698"/>
                <a:gd name="connsiteY15" fmla="*/ 98812 h 2531525"/>
                <a:gd name="connsiteX16" fmla="*/ 1754625 w 2495698"/>
                <a:gd name="connsiteY16" fmla="*/ 412897 h 2531525"/>
                <a:gd name="connsiteX17" fmla="*/ 1744979 w 2495698"/>
                <a:gd name="connsiteY17" fmla="*/ 410312 h 2531525"/>
                <a:gd name="connsiteX18" fmla="*/ 1954704 w 2495698"/>
                <a:gd name="connsiteY18" fmla="*/ 573108 h 2531525"/>
                <a:gd name="connsiteX19" fmla="*/ 2234317 w 2495698"/>
                <a:gd name="connsiteY19" fmla="*/ 503581 h 2531525"/>
                <a:gd name="connsiteX20" fmla="*/ 2413554 w 2495698"/>
                <a:gd name="connsiteY20" fmla="*/ 840674 h 2531525"/>
                <a:gd name="connsiteX21" fmla="*/ 2214321 w 2495698"/>
                <a:gd name="connsiteY21" fmla="*/ 1020292 h 2531525"/>
                <a:gd name="connsiteX22" fmla="*/ 2246841 w 2495698"/>
                <a:gd name="connsiteY22" fmla="*/ 1303347 h 2531525"/>
                <a:gd name="connsiteX23" fmla="*/ 2495698 w 2495698"/>
                <a:gd name="connsiteY23" fmla="*/ 1441496 h 2531525"/>
                <a:gd name="connsiteX24" fmla="*/ 2396885 w 2495698"/>
                <a:gd name="connsiteY24" fmla="*/ 1810269 h 2531525"/>
                <a:gd name="connsiteX25" fmla="*/ 2094912 w 2495698"/>
                <a:gd name="connsiteY25" fmla="*/ 1805190 h 2531525"/>
                <a:gd name="connsiteX26" fmla="*/ 1958644 w 2495698"/>
                <a:gd name="connsiteY26" fmla="*/ 1977881 h 2531525"/>
                <a:gd name="connsiteX27" fmla="*/ 2057814 w 2495698"/>
                <a:gd name="connsiteY27" fmla="*/ 2236715 h 2531525"/>
                <a:gd name="connsiteX28" fmla="*/ 1745078 w 2495698"/>
                <a:gd name="connsiteY28" fmla="*/ 2455696 h 2531525"/>
                <a:gd name="connsiteX29" fmla="*/ 1507869 w 2495698"/>
                <a:gd name="connsiteY29" fmla="*/ 2249759 h 2531525"/>
                <a:gd name="connsiteX30" fmla="*/ 1251837 w 2495698"/>
                <a:gd name="connsiteY30" fmla="*/ 2272543 h 2531525"/>
                <a:gd name="connsiteX31" fmla="*/ 1108065 w 2495698"/>
                <a:gd name="connsiteY31" fmla="*/ 2531525 h 2531525"/>
                <a:gd name="connsiteX32" fmla="*/ 739291 w 2495698"/>
                <a:gd name="connsiteY32" fmla="*/ 2432713 h 2531525"/>
                <a:gd name="connsiteX33" fmla="*/ 744274 w 2495698"/>
                <a:gd name="connsiteY33" fmla="*/ 2136543 h 2531525"/>
                <a:gd name="connsiteX34" fmla="*/ 535891 w 2495698"/>
                <a:gd name="connsiteY34" fmla="*/ 1973098 h 2531525"/>
                <a:gd name="connsiteX35" fmla="*/ 540671 w 2495698"/>
                <a:gd name="connsiteY35" fmla="*/ 1983347 h 2531525"/>
                <a:gd name="connsiteX36" fmla="*/ 232276 w 2495698"/>
                <a:gd name="connsiteY36" fmla="*/ 2043090 h 2531525"/>
                <a:gd name="connsiteX37" fmla="*/ 70927 w 2495698"/>
                <a:gd name="connsiteY37" fmla="*/ 1697078 h 2531525"/>
                <a:gd name="connsiteX38" fmla="*/ 279495 w 2495698"/>
                <a:gd name="connsiteY38" fmla="*/ 1527966 h 2531525"/>
                <a:gd name="connsiteX39" fmla="*/ 245586 w 2495698"/>
                <a:gd name="connsiteY39" fmla="*/ 1274796 h 2531525"/>
                <a:gd name="connsiteX40" fmla="*/ 0 w 2495698"/>
                <a:gd name="connsiteY40" fmla="*/ 1138462 h 2531525"/>
                <a:gd name="connsiteX41" fmla="*/ 98812 w 2495698"/>
                <a:gd name="connsiteY41" fmla="*/ 769689 h 2531525"/>
                <a:gd name="connsiteX42" fmla="*/ 380240 w 2495698"/>
                <a:gd name="connsiteY42" fmla="*/ 774423 h 2531525"/>
                <a:gd name="connsiteX43" fmla="*/ 516679 w 2495698"/>
                <a:gd name="connsiteY43" fmla="*/ 590627 h 2531525"/>
                <a:gd name="connsiteX44" fmla="*/ 422419 w 2495698"/>
                <a:gd name="connsiteY44" fmla="*/ 299900 h 2531525"/>
                <a:gd name="connsiteX45" fmla="*/ 746189 w 2495698"/>
                <a:gd name="connsiteY45" fmla="*/ 97585 h 2531525"/>
                <a:gd name="connsiteX46" fmla="*/ 972292 w 2495698"/>
                <a:gd name="connsiteY46" fmla="*/ 315656 h 2531525"/>
                <a:gd name="connsiteX47" fmla="*/ 970019 w 2495698"/>
                <a:gd name="connsiteY47" fmla="*/ 317076 h 2531525"/>
                <a:gd name="connsiteX48" fmla="*/ 1248316 w 2495698"/>
                <a:gd name="connsiteY48" fmla="*/ 277231 h 2531525"/>
                <a:gd name="connsiteX49" fmla="*/ 1391137 w 2495698"/>
                <a:gd name="connsiteY49" fmla="*/ 0 h 2531525"/>
                <a:gd name="connsiteX50" fmla="*/ 1759910 w 2495698"/>
                <a:gd name="connsiteY50" fmla="*/ 98812 h 2531525"/>
                <a:gd name="connsiteX0" fmla="*/ 1365628 w 2495698"/>
                <a:gd name="connsiteY0" fmla="*/ 832740 h 2531525"/>
                <a:gd name="connsiteX1" fmla="*/ 804861 w 2495698"/>
                <a:gd name="connsiteY1" fmla="*/ 1156499 h 2531525"/>
                <a:gd name="connsiteX2" fmla="*/ 1128620 w 2495698"/>
                <a:gd name="connsiteY2" fmla="*/ 1717266 h 2531525"/>
                <a:gd name="connsiteX3" fmla="*/ 1689387 w 2495698"/>
                <a:gd name="connsiteY3" fmla="*/ 1393507 h 2531525"/>
                <a:gd name="connsiteX4" fmla="*/ 1365628 w 2495698"/>
                <a:gd name="connsiteY4" fmla="*/ 832740 h 2531525"/>
                <a:gd name="connsiteX5" fmla="*/ 1447099 w 2495698"/>
                <a:gd name="connsiteY5" fmla="*/ 528685 h 2531525"/>
                <a:gd name="connsiteX6" fmla="*/ 1993442 w 2495698"/>
                <a:gd name="connsiteY6" fmla="*/ 1474978 h 2531525"/>
                <a:gd name="connsiteX7" fmla="*/ 1047149 w 2495698"/>
                <a:gd name="connsiteY7" fmla="*/ 2021321 h 2531525"/>
                <a:gd name="connsiteX8" fmla="*/ 500806 w 2495698"/>
                <a:gd name="connsiteY8" fmla="*/ 1075027 h 2531525"/>
                <a:gd name="connsiteX9" fmla="*/ 1447099 w 2495698"/>
                <a:gd name="connsiteY9" fmla="*/ 528685 h 2531525"/>
                <a:gd name="connsiteX10" fmla="*/ 1476725 w 2495698"/>
                <a:gd name="connsiteY10" fmla="*/ 418119 h 2531525"/>
                <a:gd name="connsiteX11" fmla="*/ 390240 w 2495698"/>
                <a:gd name="connsiteY11" fmla="*/ 1045401 h 2531525"/>
                <a:gd name="connsiteX12" fmla="*/ 1017523 w 2495698"/>
                <a:gd name="connsiteY12" fmla="*/ 2131887 h 2531525"/>
                <a:gd name="connsiteX13" fmla="*/ 2104008 w 2495698"/>
                <a:gd name="connsiteY13" fmla="*/ 1504604 h 2531525"/>
                <a:gd name="connsiteX14" fmla="*/ 1476725 w 2495698"/>
                <a:gd name="connsiteY14" fmla="*/ 418119 h 2531525"/>
                <a:gd name="connsiteX15" fmla="*/ 1759910 w 2495698"/>
                <a:gd name="connsiteY15" fmla="*/ 98812 h 2531525"/>
                <a:gd name="connsiteX16" fmla="*/ 1754625 w 2495698"/>
                <a:gd name="connsiteY16" fmla="*/ 412897 h 2531525"/>
                <a:gd name="connsiteX17" fmla="*/ 1954704 w 2495698"/>
                <a:gd name="connsiteY17" fmla="*/ 573108 h 2531525"/>
                <a:gd name="connsiteX18" fmla="*/ 2234317 w 2495698"/>
                <a:gd name="connsiteY18" fmla="*/ 503581 h 2531525"/>
                <a:gd name="connsiteX19" fmla="*/ 2413554 w 2495698"/>
                <a:gd name="connsiteY19" fmla="*/ 840674 h 2531525"/>
                <a:gd name="connsiteX20" fmla="*/ 2214321 w 2495698"/>
                <a:gd name="connsiteY20" fmla="*/ 1020292 h 2531525"/>
                <a:gd name="connsiteX21" fmla="*/ 2246841 w 2495698"/>
                <a:gd name="connsiteY21" fmla="*/ 1303347 h 2531525"/>
                <a:gd name="connsiteX22" fmla="*/ 2495698 w 2495698"/>
                <a:gd name="connsiteY22" fmla="*/ 1441496 h 2531525"/>
                <a:gd name="connsiteX23" fmla="*/ 2396885 w 2495698"/>
                <a:gd name="connsiteY23" fmla="*/ 1810269 h 2531525"/>
                <a:gd name="connsiteX24" fmla="*/ 2094912 w 2495698"/>
                <a:gd name="connsiteY24" fmla="*/ 1805190 h 2531525"/>
                <a:gd name="connsiteX25" fmla="*/ 1958644 w 2495698"/>
                <a:gd name="connsiteY25" fmla="*/ 1977881 h 2531525"/>
                <a:gd name="connsiteX26" fmla="*/ 2057814 w 2495698"/>
                <a:gd name="connsiteY26" fmla="*/ 2236715 h 2531525"/>
                <a:gd name="connsiteX27" fmla="*/ 1745078 w 2495698"/>
                <a:gd name="connsiteY27" fmla="*/ 2455696 h 2531525"/>
                <a:gd name="connsiteX28" fmla="*/ 1507869 w 2495698"/>
                <a:gd name="connsiteY28" fmla="*/ 2249759 h 2531525"/>
                <a:gd name="connsiteX29" fmla="*/ 1251837 w 2495698"/>
                <a:gd name="connsiteY29" fmla="*/ 2272543 h 2531525"/>
                <a:gd name="connsiteX30" fmla="*/ 1108065 w 2495698"/>
                <a:gd name="connsiteY30" fmla="*/ 2531525 h 2531525"/>
                <a:gd name="connsiteX31" fmla="*/ 739291 w 2495698"/>
                <a:gd name="connsiteY31" fmla="*/ 2432713 h 2531525"/>
                <a:gd name="connsiteX32" fmla="*/ 744274 w 2495698"/>
                <a:gd name="connsiteY32" fmla="*/ 2136543 h 2531525"/>
                <a:gd name="connsiteX33" fmla="*/ 535891 w 2495698"/>
                <a:gd name="connsiteY33" fmla="*/ 1973098 h 2531525"/>
                <a:gd name="connsiteX34" fmla="*/ 540671 w 2495698"/>
                <a:gd name="connsiteY34" fmla="*/ 1983347 h 2531525"/>
                <a:gd name="connsiteX35" fmla="*/ 232276 w 2495698"/>
                <a:gd name="connsiteY35" fmla="*/ 2043090 h 2531525"/>
                <a:gd name="connsiteX36" fmla="*/ 70927 w 2495698"/>
                <a:gd name="connsiteY36" fmla="*/ 1697078 h 2531525"/>
                <a:gd name="connsiteX37" fmla="*/ 279495 w 2495698"/>
                <a:gd name="connsiteY37" fmla="*/ 1527966 h 2531525"/>
                <a:gd name="connsiteX38" fmla="*/ 245586 w 2495698"/>
                <a:gd name="connsiteY38" fmla="*/ 1274796 h 2531525"/>
                <a:gd name="connsiteX39" fmla="*/ 0 w 2495698"/>
                <a:gd name="connsiteY39" fmla="*/ 1138462 h 2531525"/>
                <a:gd name="connsiteX40" fmla="*/ 98812 w 2495698"/>
                <a:gd name="connsiteY40" fmla="*/ 769689 h 2531525"/>
                <a:gd name="connsiteX41" fmla="*/ 380240 w 2495698"/>
                <a:gd name="connsiteY41" fmla="*/ 774423 h 2531525"/>
                <a:gd name="connsiteX42" fmla="*/ 516679 w 2495698"/>
                <a:gd name="connsiteY42" fmla="*/ 590627 h 2531525"/>
                <a:gd name="connsiteX43" fmla="*/ 422419 w 2495698"/>
                <a:gd name="connsiteY43" fmla="*/ 299900 h 2531525"/>
                <a:gd name="connsiteX44" fmla="*/ 746189 w 2495698"/>
                <a:gd name="connsiteY44" fmla="*/ 97585 h 2531525"/>
                <a:gd name="connsiteX45" fmla="*/ 972292 w 2495698"/>
                <a:gd name="connsiteY45" fmla="*/ 315656 h 2531525"/>
                <a:gd name="connsiteX46" fmla="*/ 970019 w 2495698"/>
                <a:gd name="connsiteY46" fmla="*/ 317076 h 2531525"/>
                <a:gd name="connsiteX47" fmla="*/ 1248316 w 2495698"/>
                <a:gd name="connsiteY47" fmla="*/ 277231 h 2531525"/>
                <a:gd name="connsiteX48" fmla="*/ 1391137 w 2495698"/>
                <a:gd name="connsiteY48" fmla="*/ 0 h 2531525"/>
                <a:gd name="connsiteX49" fmla="*/ 1759910 w 2495698"/>
                <a:gd name="connsiteY49" fmla="*/ 98812 h 2531525"/>
                <a:gd name="connsiteX0" fmla="*/ 1365628 w 2495698"/>
                <a:gd name="connsiteY0" fmla="*/ 832740 h 2531525"/>
                <a:gd name="connsiteX1" fmla="*/ 804861 w 2495698"/>
                <a:gd name="connsiteY1" fmla="*/ 1156499 h 2531525"/>
                <a:gd name="connsiteX2" fmla="*/ 1128620 w 2495698"/>
                <a:gd name="connsiteY2" fmla="*/ 1717266 h 2531525"/>
                <a:gd name="connsiteX3" fmla="*/ 1689387 w 2495698"/>
                <a:gd name="connsiteY3" fmla="*/ 1393507 h 2531525"/>
                <a:gd name="connsiteX4" fmla="*/ 1365628 w 2495698"/>
                <a:gd name="connsiteY4" fmla="*/ 832740 h 2531525"/>
                <a:gd name="connsiteX5" fmla="*/ 1447099 w 2495698"/>
                <a:gd name="connsiteY5" fmla="*/ 528685 h 2531525"/>
                <a:gd name="connsiteX6" fmla="*/ 1993442 w 2495698"/>
                <a:gd name="connsiteY6" fmla="*/ 1474978 h 2531525"/>
                <a:gd name="connsiteX7" fmla="*/ 1047149 w 2495698"/>
                <a:gd name="connsiteY7" fmla="*/ 2021321 h 2531525"/>
                <a:gd name="connsiteX8" fmla="*/ 500806 w 2495698"/>
                <a:gd name="connsiteY8" fmla="*/ 1075027 h 2531525"/>
                <a:gd name="connsiteX9" fmla="*/ 1447099 w 2495698"/>
                <a:gd name="connsiteY9" fmla="*/ 528685 h 2531525"/>
                <a:gd name="connsiteX10" fmla="*/ 1476725 w 2495698"/>
                <a:gd name="connsiteY10" fmla="*/ 418119 h 2531525"/>
                <a:gd name="connsiteX11" fmla="*/ 390240 w 2495698"/>
                <a:gd name="connsiteY11" fmla="*/ 1045401 h 2531525"/>
                <a:gd name="connsiteX12" fmla="*/ 1017523 w 2495698"/>
                <a:gd name="connsiteY12" fmla="*/ 2131887 h 2531525"/>
                <a:gd name="connsiteX13" fmla="*/ 2104008 w 2495698"/>
                <a:gd name="connsiteY13" fmla="*/ 1504604 h 2531525"/>
                <a:gd name="connsiteX14" fmla="*/ 1476725 w 2495698"/>
                <a:gd name="connsiteY14" fmla="*/ 418119 h 2531525"/>
                <a:gd name="connsiteX15" fmla="*/ 1759910 w 2495698"/>
                <a:gd name="connsiteY15" fmla="*/ 98812 h 2531525"/>
                <a:gd name="connsiteX16" fmla="*/ 1754625 w 2495698"/>
                <a:gd name="connsiteY16" fmla="*/ 412897 h 2531525"/>
                <a:gd name="connsiteX17" fmla="*/ 1954704 w 2495698"/>
                <a:gd name="connsiteY17" fmla="*/ 573108 h 2531525"/>
                <a:gd name="connsiteX18" fmla="*/ 2234317 w 2495698"/>
                <a:gd name="connsiteY18" fmla="*/ 503581 h 2531525"/>
                <a:gd name="connsiteX19" fmla="*/ 2413554 w 2495698"/>
                <a:gd name="connsiteY19" fmla="*/ 840674 h 2531525"/>
                <a:gd name="connsiteX20" fmla="*/ 2214321 w 2495698"/>
                <a:gd name="connsiteY20" fmla="*/ 1020292 h 2531525"/>
                <a:gd name="connsiteX21" fmla="*/ 2246841 w 2495698"/>
                <a:gd name="connsiteY21" fmla="*/ 1303347 h 2531525"/>
                <a:gd name="connsiteX22" fmla="*/ 2495698 w 2495698"/>
                <a:gd name="connsiteY22" fmla="*/ 1441496 h 2531525"/>
                <a:gd name="connsiteX23" fmla="*/ 2396885 w 2495698"/>
                <a:gd name="connsiteY23" fmla="*/ 1810269 h 2531525"/>
                <a:gd name="connsiteX24" fmla="*/ 2094912 w 2495698"/>
                <a:gd name="connsiteY24" fmla="*/ 1805190 h 2531525"/>
                <a:gd name="connsiteX25" fmla="*/ 1958644 w 2495698"/>
                <a:gd name="connsiteY25" fmla="*/ 1977881 h 2531525"/>
                <a:gd name="connsiteX26" fmla="*/ 2057814 w 2495698"/>
                <a:gd name="connsiteY26" fmla="*/ 2236715 h 2531525"/>
                <a:gd name="connsiteX27" fmla="*/ 1745078 w 2495698"/>
                <a:gd name="connsiteY27" fmla="*/ 2455696 h 2531525"/>
                <a:gd name="connsiteX28" fmla="*/ 1507869 w 2495698"/>
                <a:gd name="connsiteY28" fmla="*/ 2249759 h 2531525"/>
                <a:gd name="connsiteX29" fmla="*/ 1251837 w 2495698"/>
                <a:gd name="connsiteY29" fmla="*/ 2272543 h 2531525"/>
                <a:gd name="connsiteX30" fmla="*/ 1108065 w 2495698"/>
                <a:gd name="connsiteY30" fmla="*/ 2531525 h 2531525"/>
                <a:gd name="connsiteX31" fmla="*/ 739291 w 2495698"/>
                <a:gd name="connsiteY31" fmla="*/ 2432713 h 2531525"/>
                <a:gd name="connsiteX32" fmla="*/ 744274 w 2495698"/>
                <a:gd name="connsiteY32" fmla="*/ 2136543 h 2531525"/>
                <a:gd name="connsiteX33" fmla="*/ 535891 w 2495698"/>
                <a:gd name="connsiteY33" fmla="*/ 1973098 h 2531525"/>
                <a:gd name="connsiteX34" fmla="*/ 232276 w 2495698"/>
                <a:gd name="connsiteY34" fmla="*/ 2043090 h 2531525"/>
                <a:gd name="connsiteX35" fmla="*/ 70927 w 2495698"/>
                <a:gd name="connsiteY35" fmla="*/ 1697078 h 2531525"/>
                <a:gd name="connsiteX36" fmla="*/ 279495 w 2495698"/>
                <a:gd name="connsiteY36" fmla="*/ 1527966 h 2531525"/>
                <a:gd name="connsiteX37" fmla="*/ 245586 w 2495698"/>
                <a:gd name="connsiteY37" fmla="*/ 1274796 h 2531525"/>
                <a:gd name="connsiteX38" fmla="*/ 0 w 2495698"/>
                <a:gd name="connsiteY38" fmla="*/ 1138462 h 2531525"/>
                <a:gd name="connsiteX39" fmla="*/ 98812 w 2495698"/>
                <a:gd name="connsiteY39" fmla="*/ 769689 h 2531525"/>
                <a:gd name="connsiteX40" fmla="*/ 380240 w 2495698"/>
                <a:gd name="connsiteY40" fmla="*/ 774423 h 2531525"/>
                <a:gd name="connsiteX41" fmla="*/ 516679 w 2495698"/>
                <a:gd name="connsiteY41" fmla="*/ 590627 h 2531525"/>
                <a:gd name="connsiteX42" fmla="*/ 422419 w 2495698"/>
                <a:gd name="connsiteY42" fmla="*/ 299900 h 2531525"/>
                <a:gd name="connsiteX43" fmla="*/ 746189 w 2495698"/>
                <a:gd name="connsiteY43" fmla="*/ 97585 h 2531525"/>
                <a:gd name="connsiteX44" fmla="*/ 972292 w 2495698"/>
                <a:gd name="connsiteY44" fmla="*/ 315656 h 2531525"/>
                <a:gd name="connsiteX45" fmla="*/ 970019 w 2495698"/>
                <a:gd name="connsiteY45" fmla="*/ 317076 h 2531525"/>
                <a:gd name="connsiteX46" fmla="*/ 1248316 w 2495698"/>
                <a:gd name="connsiteY46" fmla="*/ 277231 h 2531525"/>
                <a:gd name="connsiteX47" fmla="*/ 1391137 w 2495698"/>
                <a:gd name="connsiteY47" fmla="*/ 0 h 2531525"/>
                <a:gd name="connsiteX48" fmla="*/ 1759910 w 2495698"/>
                <a:gd name="connsiteY48" fmla="*/ 98812 h 2531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2495698" h="2531525">
                  <a:moveTo>
                    <a:pt x="1365628" y="832740"/>
                  </a:moveTo>
                  <a:cubicBezTo>
                    <a:pt x="1121373" y="767293"/>
                    <a:pt x="870309" y="912244"/>
                    <a:pt x="804861" y="1156499"/>
                  </a:cubicBezTo>
                  <a:cubicBezTo>
                    <a:pt x="739413" y="1400754"/>
                    <a:pt x="884365" y="1651818"/>
                    <a:pt x="1128620" y="1717266"/>
                  </a:cubicBezTo>
                  <a:cubicBezTo>
                    <a:pt x="1372875" y="1782713"/>
                    <a:pt x="1623939" y="1637762"/>
                    <a:pt x="1689387" y="1393507"/>
                  </a:cubicBezTo>
                  <a:cubicBezTo>
                    <a:pt x="1754835" y="1149252"/>
                    <a:pt x="1609883" y="898188"/>
                    <a:pt x="1365628" y="832740"/>
                  </a:cubicBezTo>
                  <a:close/>
                  <a:moveTo>
                    <a:pt x="1447099" y="528685"/>
                  </a:moveTo>
                  <a:cubicBezTo>
                    <a:pt x="1859279" y="639128"/>
                    <a:pt x="2103885" y="1062799"/>
                    <a:pt x="1993442" y="1474978"/>
                  </a:cubicBezTo>
                  <a:cubicBezTo>
                    <a:pt x="1882999" y="1887158"/>
                    <a:pt x="1459328" y="2131764"/>
                    <a:pt x="1047149" y="2021321"/>
                  </a:cubicBezTo>
                  <a:cubicBezTo>
                    <a:pt x="634969" y="1910878"/>
                    <a:pt x="390363" y="1487207"/>
                    <a:pt x="500806" y="1075027"/>
                  </a:cubicBezTo>
                  <a:cubicBezTo>
                    <a:pt x="611249" y="662848"/>
                    <a:pt x="1034920" y="418242"/>
                    <a:pt x="1447099" y="528685"/>
                  </a:cubicBezTo>
                  <a:close/>
                  <a:moveTo>
                    <a:pt x="1476725" y="418119"/>
                  </a:moveTo>
                  <a:cubicBezTo>
                    <a:pt x="1003481" y="291314"/>
                    <a:pt x="517045" y="572157"/>
                    <a:pt x="390240" y="1045401"/>
                  </a:cubicBezTo>
                  <a:cubicBezTo>
                    <a:pt x="263435" y="1518646"/>
                    <a:pt x="544279" y="2005081"/>
                    <a:pt x="1017523" y="2131887"/>
                  </a:cubicBezTo>
                  <a:cubicBezTo>
                    <a:pt x="1490767" y="2258692"/>
                    <a:pt x="1977202" y="1977848"/>
                    <a:pt x="2104008" y="1504604"/>
                  </a:cubicBezTo>
                  <a:cubicBezTo>
                    <a:pt x="2230813" y="1031360"/>
                    <a:pt x="1949969" y="544925"/>
                    <a:pt x="1476725" y="418119"/>
                  </a:cubicBezTo>
                  <a:close/>
                  <a:moveTo>
                    <a:pt x="1759910" y="98812"/>
                  </a:moveTo>
                  <a:cubicBezTo>
                    <a:pt x="1758148" y="203507"/>
                    <a:pt x="1756387" y="308202"/>
                    <a:pt x="1754625" y="412897"/>
                  </a:cubicBezTo>
                  <a:lnTo>
                    <a:pt x="1954704" y="573108"/>
                  </a:lnTo>
                  <a:lnTo>
                    <a:pt x="2234317" y="503581"/>
                  </a:lnTo>
                  <a:lnTo>
                    <a:pt x="2413554" y="840674"/>
                  </a:lnTo>
                  <a:lnTo>
                    <a:pt x="2214321" y="1020292"/>
                  </a:lnTo>
                  <a:cubicBezTo>
                    <a:pt x="2239296" y="1111262"/>
                    <a:pt x="2251067" y="1206519"/>
                    <a:pt x="2246841" y="1303347"/>
                  </a:cubicBezTo>
                  <a:lnTo>
                    <a:pt x="2495698" y="1441496"/>
                  </a:lnTo>
                  <a:lnTo>
                    <a:pt x="2396885" y="1810269"/>
                  </a:lnTo>
                  <a:lnTo>
                    <a:pt x="2094912" y="1805190"/>
                  </a:lnTo>
                  <a:cubicBezTo>
                    <a:pt x="2056732" y="1868983"/>
                    <a:pt x="2010475" y="1926517"/>
                    <a:pt x="1958644" y="1977881"/>
                  </a:cubicBezTo>
                  <a:lnTo>
                    <a:pt x="2057814" y="2236715"/>
                  </a:lnTo>
                  <a:lnTo>
                    <a:pt x="1745078" y="2455696"/>
                  </a:lnTo>
                  <a:lnTo>
                    <a:pt x="1507869" y="2249759"/>
                  </a:lnTo>
                  <a:lnTo>
                    <a:pt x="1251837" y="2272543"/>
                  </a:lnTo>
                  <a:lnTo>
                    <a:pt x="1108065" y="2531525"/>
                  </a:lnTo>
                  <a:lnTo>
                    <a:pt x="739291" y="2432713"/>
                  </a:lnTo>
                  <a:lnTo>
                    <a:pt x="744274" y="2136543"/>
                  </a:lnTo>
                  <a:cubicBezTo>
                    <a:pt x="666128" y="2092006"/>
                    <a:pt x="595548" y="2037539"/>
                    <a:pt x="535891" y="1973098"/>
                  </a:cubicBezTo>
                  <a:lnTo>
                    <a:pt x="232276" y="2043090"/>
                  </a:lnTo>
                  <a:lnTo>
                    <a:pt x="70927" y="1697078"/>
                  </a:lnTo>
                  <a:lnTo>
                    <a:pt x="279495" y="1527966"/>
                  </a:lnTo>
                  <a:cubicBezTo>
                    <a:pt x="257233" y="1446371"/>
                    <a:pt x="245603" y="1361336"/>
                    <a:pt x="245586" y="1274796"/>
                  </a:cubicBezTo>
                  <a:lnTo>
                    <a:pt x="0" y="1138462"/>
                  </a:lnTo>
                  <a:lnTo>
                    <a:pt x="98812" y="769689"/>
                  </a:lnTo>
                  <a:lnTo>
                    <a:pt x="380240" y="774423"/>
                  </a:lnTo>
                  <a:cubicBezTo>
                    <a:pt x="418421" y="707046"/>
                    <a:pt x="464524" y="645614"/>
                    <a:pt x="516679" y="590627"/>
                  </a:cubicBezTo>
                  <a:lnTo>
                    <a:pt x="422419" y="299900"/>
                  </a:lnTo>
                  <a:lnTo>
                    <a:pt x="746189" y="97585"/>
                  </a:lnTo>
                  <a:lnTo>
                    <a:pt x="972292" y="315656"/>
                  </a:lnTo>
                  <a:lnTo>
                    <a:pt x="970019" y="317076"/>
                  </a:lnTo>
                  <a:cubicBezTo>
                    <a:pt x="1058903" y="289108"/>
                    <a:pt x="1152743" y="276181"/>
                    <a:pt x="1248316" y="277231"/>
                  </a:cubicBezTo>
                  <a:lnTo>
                    <a:pt x="1391137" y="0"/>
                  </a:lnTo>
                  <a:lnTo>
                    <a:pt x="1759910" y="98812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ko-KR" altLang="en-US" sz="2701"/>
            </a:p>
          </p:txBody>
        </p:sp>
      </p:grpSp>
      <p:pic>
        <p:nvPicPr>
          <p:cNvPr id="53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47599" y="2011808"/>
            <a:ext cx="1800200" cy="14216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7" name="Picture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64488" y="3546227"/>
            <a:ext cx="1783311" cy="117777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2494120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="" xmlns:a16="http://schemas.microsoft.com/office/drawing/2014/main" id="{DF44DC45-FD65-4909-8DE1-E52D496ED93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6827"/>
            <a:ext cx="12192000" cy="6886362"/>
          </a:xfrm>
          <a:prstGeom prst="rect">
            <a:avLst/>
          </a:prstGeom>
        </p:spPr>
      </p:pic>
      <p:grpSp>
        <p:nvGrpSpPr>
          <p:cNvPr id="7" name="Group 6">
            <a:extLst>
              <a:ext uri="{FF2B5EF4-FFF2-40B4-BE49-F238E27FC236}">
                <a16:creationId xmlns="" xmlns:a16="http://schemas.microsoft.com/office/drawing/2014/main" id="{433543E8-42F0-492F-96DA-E23ADF59E15D}"/>
              </a:ext>
            </a:extLst>
          </p:cNvPr>
          <p:cNvGrpSpPr/>
          <p:nvPr/>
        </p:nvGrpSpPr>
        <p:grpSpPr>
          <a:xfrm>
            <a:off x="2205" y="0"/>
            <a:ext cx="10924875" cy="686435"/>
            <a:chOff x="0" y="0"/>
            <a:chExt cx="12190413" cy="686594"/>
          </a:xfrm>
          <a:solidFill>
            <a:srgbClr val="2C89CB"/>
          </a:solidFill>
        </p:grpSpPr>
        <p:sp>
          <p:nvSpPr>
            <p:cNvPr id="8" name="Rectangle 7">
              <a:extLst>
                <a:ext uri="{FF2B5EF4-FFF2-40B4-BE49-F238E27FC236}">
                  <a16:creationId xmlns="" xmlns:a16="http://schemas.microsoft.com/office/drawing/2014/main" id="{3DD3A6C8-849F-4331-B4F9-4EEB9E49510A}"/>
                </a:ext>
              </a:extLst>
            </p:cNvPr>
            <p:cNvSpPr/>
            <p:nvPr/>
          </p:nvSpPr>
          <p:spPr>
            <a:xfrm>
              <a:off x="0" y="0"/>
              <a:ext cx="12190413" cy="686594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217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pic>
          <p:nvPicPr>
            <p:cNvPr id="9" name="Picture 2" descr="C:\Users\DELL\Downloads\LOGO KEMENKES TULISAN PUTIH copy.png">
              <a:extLst>
                <a:ext uri="{FF2B5EF4-FFF2-40B4-BE49-F238E27FC236}">
                  <a16:creationId xmlns="" xmlns:a16="http://schemas.microsoft.com/office/drawing/2014/main" id="{F6780A0E-13E6-413C-9515-9045DA1FA54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151606" y="108526"/>
              <a:ext cx="990600" cy="448706"/>
            </a:xfrm>
            <a:prstGeom prst="rect">
              <a:avLst/>
            </a:prstGeom>
            <a:grpFill/>
          </p:spPr>
        </p:pic>
        <p:sp>
          <p:nvSpPr>
            <p:cNvPr id="10" name="TextBox 9">
              <a:extLst>
                <a:ext uri="{FF2B5EF4-FFF2-40B4-BE49-F238E27FC236}">
                  <a16:creationId xmlns="" xmlns:a16="http://schemas.microsoft.com/office/drawing/2014/main" id="{6116EAEA-95FA-4E1A-AA81-772E87A6E5D2}"/>
                </a:ext>
              </a:extLst>
            </p:cNvPr>
            <p:cNvSpPr txBox="1"/>
            <p:nvPr/>
          </p:nvSpPr>
          <p:spPr>
            <a:xfrm>
              <a:off x="1523205" y="56396"/>
              <a:ext cx="10667207" cy="553998"/>
            </a:xfrm>
            <a:prstGeom prst="rect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marL="0" marR="0" lvl="0" indent="0" algn="ctr" defTabSz="914217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AU" sz="2999" b="1" dirty="0" smtClean="0">
                  <a:solidFill>
                    <a:prstClr val="white"/>
                  </a:solidFill>
                  <a:latin typeface="Calibri" pitchFamily="34" charset="0"/>
                </a:rPr>
                <a:t>MENGAPA </a:t>
              </a:r>
              <a:r>
                <a:rPr kumimoji="0" lang="id-ID" sz="2999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+mn-cs"/>
                </a:rPr>
                <a:t>SIMRS</a:t>
              </a:r>
              <a:r>
                <a:rPr kumimoji="0" lang="en-AU" sz="2999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+mn-cs"/>
                </a:rPr>
                <a:t> ?</a:t>
              </a:r>
              <a:r>
                <a:rPr kumimoji="0" lang="id-ID" sz="2999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+mn-cs"/>
                </a:rPr>
                <a:t> </a:t>
              </a:r>
              <a:endParaRPr kumimoji="0" lang="sv-SE" sz="2999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endParaRPr>
            </a:p>
          </p:txBody>
        </p:sp>
      </p:grpSp>
      <p:graphicFrame>
        <p:nvGraphicFramePr>
          <p:cNvPr id="2" name="Diagram 1">
            <a:extLst>
              <a:ext uri="{FF2B5EF4-FFF2-40B4-BE49-F238E27FC236}">
                <a16:creationId xmlns="" xmlns:a16="http://schemas.microsoft.com/office/drawing/2014/main" id="{859F8D7A-EBC6-4B13-9907-C568656B3D4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9441196"/>
              </p:ext>
            </p:extLst>
          </p:nvPr>
        </p:nvGraphicFramePr>
        <p:xfrm>
          <a:off x="1309925" y="822960"/>
          <a:ext cx="9856037" cy="603504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</p:spTree>
    <p:extLst>
      <p:ext uri="{BB962C8B-B14F-4D97-AF65-F5344CB8AC3E}">
        <p14:creationId xmlns:p14="http://schemas.microsoft.com/office/powerpoint/2010/main" val="2647456321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2" grpId="0">
        <p:bldAsOne/>
      </p:bldGraphic>
    </p:bld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711" y="1621"/>
          <a:ext cx="1620" cy="16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7" name="think-cell Slide" r:id="rId5" imgW="346" imgH="343" progId="TCLayout.ActiveDocument.1">
                  <p:embed/>
                </p:oleObj>
              </mc:Choice>
              <mc:Fallback>
                <p:oleObj name="think-cell Slide" r:id="rId5" imgW="346" imgH="3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11" y="1621"/>
                        <a:ext cx="1620" cy="162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="" xmlns:a16="http://schemas.microsoft.com/office/drawing/2014/main" id="{726A4BFE-89AF-4A97-B7F7-C11C4C4CE3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90139" y="2634671"/>
            <a:ext cx="5947094" cy="840230"/>
          </a:xfrm>
        </p:spPr>
        <p:txBody>
          <a:bodyPr/>
          <a:lstStyle/>
          <a:p>
            <a:pPr algn="ctr"/>
            <a:r>
              <a:rPr lang="en-AU" sz="54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anose="020B0A04020102020204" pitchFamily="34" charset="0"/>
                <a:hlinkClick r:id="rId7"/>
              </a:rPr>
              <a:t>APLIKASI</a:t>
            </a:r>
            <a:endParaRPr lang="en-IN" sz="54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 Black" panose="020B0A04020102020204" pitchFamily="34" charset="0"/>
            </a:endParaRPr>
          </a:p>
        </p:txBody>
      </p:sp>
      <p:pic>
        <p:nvPicPr>
          <p:cNvPr id="18" name="Graphic 17" descr="Earth Globe Americas">
            <a:extLst>
              <a:ext uri="{FF2B5EF4-FFF2-40B4-BE49-F238E27FC236}">
                <a16:creationId xmlns="" xmlns:a16="http://schemas.microsoft.com/office/drawing/2014/main" id="{38EBE1EE-1E98-4C65-ADF9-A7DE05ECF881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5805847" y="5423211"/>
            <a:ext cx="571500" cy="571500"/>
          </a:xfrm>
          <a:prstGeom prst="rect">
            <a:avLst/>
          </a:prstGeom>
        </p:spPr>
      </p:pic>
      <p:pic>
        <p:nvPicPr>
          <p:cNvPr id="25" name="Picture Placeholder 8">
            <a:extLst>
              <a:ext uri="{FF2B5EF4-FFF2-40B4-BE49-F238E27FC236}">
                <a16:creationId xmlns="" xmlns:a16="http://schemas.microsoft.com/office/drawing/2014/main" id="{FBC56542-58BD-4083-BBC8-425066A084B8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426" r="23708"/>
          <a:stretch/>
        </p:blipFill>
        <p:spPr>
          <a:xfrm flipH="1">
            <a:off x="0" y="3241"/>
            <a:ext cx="5874961" cy="6852952"/>
          </a:xfrm>
        </p:spPr>
      </p:pic>
    </p:spTree>
    <p:extLst>
      <p:ext uri="{BB962C8B-B14F-4D97-AF65-F5344CB8AC3E}">
        <p14:creationId xmlns:p14="http://schemas.microsoft.com/office/powerpoint/2010/main" val="23319004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Diagram 1"/>
          <p:cNvGraphicFramePr/>
          <p:nvPr>
            <p:extLst>
              <p:ext uri="{D42A27DB-BD31-4B8C-83A1-F6EECF244321}">
                <p14:modId xmlns:p14="http://schemas.microsoft.com/office/powerpoint/2010/main" val="1752387676"/>
              </p:ext>
            </p:extLst>
          </p:nvPr>
        </p:nvGraphicFramePr>
        <p:xfrm>
          <a:off x="2369821" y="1714501"/>
          <a:ext cx="6678080" cy="45415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3" name="TextBox 2"/>
          <p:cNvSpPr txBox="1"/>
          <p:nvPr/>
        </p:nvSpPr>
        <p:spPr>
          <a:xfrm>
            <a:off x="1748160" y="749339"/>
            <a:ext cx="8873199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4800" b="1" dirty="0" smtClean="0">
                <a:solidFill>
                  <a:schemeClr val="bg1"/>
                </a:solidFill>
              </a:rPr>
              <a:t>METODE PENGEMBANGAN SIMRS</a:t>
            </a:r>
            <a:endParaRPr lang="id-ID" sz="48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5988007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スライド番号プレースホルダー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3EB59E2-90B9-4CD3-AC74-D672227E13C3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18" name="テキスト プレースホルダー 17"/>
          <p:cNvSpPr>
            <a:spLocks noGrp="1"/>
          </p:cNvSpPr>
          <p:nvPr>
            <p:ph type="body" sz="quarter" idx="12"/>
          </p:nvPr>
        </p:nvSpPr>
        <p:spPr>
          <a:xfrm>
            <a:off x="839894" y="3225441"/>
            <a:ext cx="3832726" cy="986160"/>
          </a:xfrm>
        </p:spPr>
        <p:txBody>
          <a:bodyPr>
            <a:normAutofit/>
          </a:bodyPr>
          <a:lstStyle/>
          <a:p>
            <a:r>
              <a:rPr kumimoji="1" lang="en-US" altLang="ja-JP" sz="1300" dirty="0" smtClean="0"/>
              <a:t>TENTANG SISTEM INFORMASI MANAJEMEN RS</a:t>
            </a:r>
            <a:endParaRPr kumimoji="1" lang="ja-JP" altLang="en-US" sz="1300" dirty="0"/>
          </a:p>
        </p:txBody>
      </p:sp>
      <p:sp>
        <p:nvSpPr>
          <p:cNvPr id="20" name="テキスト プレースホルダー 19"/>
          <p:cNvSpPr>
            <a:spLocks noGrp="1"/>
          </p:cNvSpPr>
          <p:nvPr>
            <p:ph type="body" sz="quarter" idx="14"/>
          </p:nvPr>
        </p:nvSpPr>
        <p:spPr>
          <a:xfrm>
            <a:off x="1599972" y="2516588"/>
            <a:ext cx="3072647" cy="498098"/>
          </a:xfrm>
        </p:spPr>
        <p:txBody>
          <a:bodyPr/>
          <a:lstStyle/>
          <a:p>
            <a:r>
              <a:rPr kumimoji="1" lang="en-US" altLang="ja-JP" dirty="0" smtClean="0">
                <a:solidFill>
                  <a:schemeClr val="bg2"/>
                </a:solidFill>
              </a:rPr>
              <a:t>PERMENKES</a:t>
            </a:r>
          </a:p>
          <a:p>
            <a:r>
              <a:rPr kumimoji="1" lang="en-US" altLang="ja-JP" dirty="0" smtClean="0">
                <a:solidFill>
                  <a:schemeClr val="bg2"/>
                </a:solidFill>
              </a:rPr>
              <a:t>NOMOR 82 TAHUN 2013 </a:t>
            </a:r>
            <a:endParaRPr kumimoji="1" lang="en-US" altLang="ja-JP" dirty="0">
              <a:solidFill>
                <a:schemeClr val="bg2"/>
              </a:solidFill>
            </a:endParaRPr>
          </a:p>
        </p:txBody>
      </p:sp>
      <p:sp>
        <p:nvSpPr>
          <p:cNvPr id="21" name="テキスト プレースホルダー 20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kumimoji="1" lang="en-US" altLang="ja-JP" dirty="0" smtClean="0"/>
              <a:t>02</a:t>
            </a:r>
            <a:endParaRPr kumimoji="1" lang="ja-JP" altLang="en-US" dirty="0"/>
          </a:p>
        </p:txBody>
      </p:sp>
      <p:sp>
        <p:nvSpPr>
          <p:cNvPr id="22" name="テキスト プレースホルダー 21"/>
          <p:cNvSpPr>
            <a:spLocks noGrp="1"/>
          </p:cNvSpPr>
          <p:nvPr>
            <p:ph type="body" sz="quarter" idx="16"/>
          </p:nvPr>
        </p:nvSpPr>
        <p:spPr/>
        <p:txBody>
          <a:bodyPr>
            <a:normAutofit/>
          </a:bodyPr>
          <a:lstStyle/>
          <a:p>
            <a:r>
              <a:rPr kumimoji="1" lang="en-US" altLang="ja-JP" sz="1300" dirty="0" smtClean="0"/>
              <a:t>TENTANG RUMAH SAKIT</a:t>
            </a:r>
            <a:endParaRPr kumimoji="1" lang="ja-JP" altLang="en-US" sz="1300" dirty="0"/>
          </a:p>
        </p:txBody>
      </p:sp>
      <p:sp>
        <p:nvSpPr>
          <p:cNvPr id="23" name="テキスト プレースホルダー 22"/>
          <p:cNvSpPr>
            <a:spLocks noGrp="1"/>
          </p:cNvSpPr>
          <p:nvPr>
            <p:ph type="body" sz="quarter" idx="17"/>
          </p:nvPr>
        </p:nvSpPr>
        <p:spPr>
          <a:xfrm>
            <a:off x="7516796" y="3727436"/>
            <a:ext cx="3072647" cy="498098"/>
          </a:xfrm>
        </p:spPr>
        <p:txBody>
          <a:bodyPr/>
          <a:lstStyle/>
          <a:p>
            <a:r>
              <a:rPr kumimoji="1" lang="en-US" altLang="ja-JP" dirty="0" err="1" smtClean="0">
                <a:solidFill>
                  <a:schemeClr val="bg2"/>
                </a:solidFill>
              </a:rPr>
              <a:t>Undang</a:t>
            </a:r>
            <a:r>
              <a:rPr kumimoji="1" lang="en-US" altLang="ja-JP" dirty="0" smtClean="0">
                <a:solidFill>
                  <a:schemeClr val="bg2"/>
                </a:solidFill>
              </a:rPr>
              <a:t> </a:t>
            </a:r>
            <a:r>
              <a:rPr kumimoji="1" lang="en-US" altLang="ja-JP" dirty="0" err="1" smtClean="0">
                <a:solidFill>
                  <a:schemeClr val="bg2"/>
                </a:solidFill>
              </a:rPr>
              <a:t>Undang</a:t>
            </a:r>
            <a:endParaRPr kumimoji="1" lang="en-US" altLang="ja-JP" dirty="0" smtClean="0">
              <a:solidFill>
                <a:schemeClr val="bg2"/>
              </a:solidFill>
            </a:endParaRPr>
          </a:p>
          <a:p>
            <a:r>
              <a:rPr kumimoji="1" lang="en-US" altLang="ja-JP" dirty="0" err="1" smtClean="0">
                <a:solidFill>
                  <a:schemeClr val="bg2"/>
                </a:solidFill>
              </a:rPr>
              <a:t>Nomor</a:t>
            </a:r>
            <a:r>
              <a:rPr kumimoji="1" lang="en-US" altLang="ja-JP" dirty="0" smtClean="0">
                <a:solidFill>
                  <a:schemeClr val="bg2"/>
                </a:solidFill>
              </a:rPr>
              <a:t> 44 </a:t>
            </a:r>
            <a:r>
              <a:rPr kumimoji="1" lang="en-US" altLang="ja-JP" dirty="0" err="1" smtClean="0">
                <a:solidFill>
                  <a:schemeClr val="bg2"/>
                </a:solidFill>
              </a:rPr>
              <a:t>Tahun</a:t>
            </a:r>
            <a:r>
              <a:rPr kumimoji="1" lang="en-US" altLang="ja-JP" dirty="0" smtClean="0">
                <a:solidFill>
                  <a:schemeClr val="bg2"/>
                </a:solidFill>
              </a:rPr>
              <a:t> 2009</a:t>
            </a:r>
            <a:endParaRPr kumimoji="1" lang="ja-JP" altLang="en-US" dirty="0">
              <a:solidFill>
                <a:schemeClr val="bg2"/>
              </a:solidFill>
            </a:endParaRPr>
          </a:p>
        </p:txBody>
      </p:sp>
      <p:sp>
        <p:nvSpPr>
          <p:cNvPr id="25" name="テキスト プレースホルダー 24"/>
          <p:cNvSpPr>
            <a:spLocks noGrp="1"/>
          </p:cNvSpPr>
          <p:nvPr>
            <p:ph type="body" sz="quarter" idx="19"/>
          </p:nvPr>
        </p:nvSpPr>
        <p:spPr>
          <a:xfrm>
            <a:off x="935666" y="5665394"/>
            <a:ext cx="4763386" cy="986160"/>
          </a:xfrm>
        </p:spPr>
        <p:txBody>
          <a:bodyPr>
            <a:normAutofit/>
          </a:bodyPr>
          <a:lstStyle/>
          <a:p>
            <a:r>
              <a:rPr kumimoji="1" lang="nn-NO" altLang="ja-JP" sz="1300" dirty="0" smtClean="0"/>
              <a:t>TENTANG INFORMASI DAN TRANSAKSI ELEKTRONIK</a:t>
            </a:r>
            <a:endParaRPr kumimoji="1" lang="nn-NO" altLang="ja-JP" sz="1300" dirty="0"/>
          </a:p>
        </p:txBody>
      </p:sp>
      <p:sp>
        <p:nvSpPr>
          <p:cNvPr id="26" name="テキスト プレースホルダー 25"/>
          <p:cNvSpPr>
            <a:spLocks noGrp="1"/>
          </p:cNvSpPr>
          <p:nvPr>
            <p:ph type="body" sz="quarter" idx="20"/>
          </p:nvPr>
        </p:nvSpPr>
        <p:spPr>
          <a:xfrm>
            <a:off x="1599972" y="4983638"/>
            <a:ext cx="3072647" cy="498098"/>
          </a:xfrm>
        </p:spPr>
        <p:txBody>
          <a:bodyPr/>
          <a:lstStyle/>
          <a:p>
            <a:r>
              <a:rPr kumimoji="1" lang="en-US" altLang="ja-JP" dirty="0" smtClean="0">
                <a:solidFill>
                  <a:schemeClr val="bg2"/>
                </a:solidFill>
              </a:rPr>
              <a:t>UNDANG-UNDANG NOMOR 11 TAHUN 2008</a:t>
            </a:r>
            <a:endParaRPr kumimoji="1" lang="ja-JP" altLang="en-US" dirty="0">
              <a:solidFill>
                <a:schemeClr val="bg2"/>
              </a:solidFill>
            </a:endParaRPr>
          </a:p>
        </p:txBody>
      </p:sp>
      <p:sp>
        <p:nvSpPr>
          <p:cNvPr id="19" name="テキスト プレースホルダー 18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kumimoji="1" lang="en-US" altLang="ja-JP" dirty="0" smtClean="0"/>
              <a:t>01</a:t>
            </a:r>
            <a:endParaRPr kumimoji="1" lang="ja-JP" altLang="en-US" dirty="0"/>
          </a:p>
        </p:txBody>
      </p:sp>
      <p:sp>
        <p:nvSpPr>
          <p:cNvPr id="24" name="テキスト プレースホルダー 23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kumimoji="1" lang="en-US" altLang="ja-JP" dirty="0" smtClean="0"/>
              <a:t>03</a:t>
            </a:r>
            <a:endParaRPr kumimoji="1" lang="ja-JP" altLang="en-US" dirty="0"/>
          </a:p>
        </p:txBody>
      </p:sp>
      <p:sp>
        <p:nvSpPr>
          <p:cNvPr id="14" name="Title 11"/>
          <p:cNvSpPr txBox="1">
            <a:spLocks/>
          </p:cNvSpPr>
          <p:nvPr/>
        </p:nvSpPr>
        <p:spPr>
          <a:xfrm>
            <a:off x="1747403" y="219044"/>
            <a:ext cx="8697279" cy="518157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dirty="0" err="1" smtClean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Landasan</a:t>
            </a:r>
            <a:r>
              <a:rPr lang="en-US" sz="2800" dirty="0" smtClean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2800" dirty="0" err="1" smtClean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Hukum</a:t>
            </a:r>
            <a:r>
              <a:rPr lang="en-US" sz="2800" dirty="0" smtClean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2800" dirty="0" err="1" smtClean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Implementasi</a:t>
            </a:r>
            <a:r>
              <a:rPr lang="en-US" sz="2800" dirty="0" smtClean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SIMRS</a:t>
            </a:r>
            <a:endParaRPr lang="en-US" sz="2800" dirty="0">
              <a:solidFill>
                <a:schemeClr val="bg1"/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grpSp>
        <p:nvGrpSpPr>
          <p:cNvPr id="15" name="Group 4"/>
          <p:cNvGrpSpPr/>
          <p:nvPr/>
        </p:nvGrpSpPr>
        <p:grpSpPr>
          <a:xfrm>
            <a:off x="2714979" y="771967"/>
            <a:ext cx="6762044" cy="37787"/>
            <a:chOff x="1190978" y="1043012"/>
            <a:chExt cx="6762044" cy="37787"/>
          </a:xfrm>
        </p:grpSpPr>
        <p:cxnSp>
          <p:nvCxnSpPr>
            <p:cNvPr id="16" name="Straight Connector 15"/>
            <p:cNvCxnSpPr/>
            <p:nvPr/>
          </p:nvCxnSpPr>
          <p:spPr>
            <a:xfrm>
              <a:off x="1190978" y="1061905"/>
              <a:ext cx="6762044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7" name="Rectangle 26"/>
            <p:cNvSpPr/>
            <p:nvPr/>
          </p:nvSpPr>
          <p:spPr>
            <a:xfrm>
              <a:off x="3205152" y="1043012"/>
              <a:ext cx="2733735" cy="37787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8342788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3EB59E2-90B9-4CD3-AC74-D672227E13C3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342900" y="3225440"/>
            <a:ext cx="4329719" cy="1377039"/>
          </a:xfrm>
        </p:spPr>
        <p:txBody>
          <a:bodyPr>
            <a:noAutofit/>
          </a:bodyPr>
          <a:lstStyle/>
          <a:p>
            <a:pPr marL="0" lvl="0" indent="0" algn="ctr">
              <a:lnSpc>
                <a:spcPct val="100000"/>
              </a:lnSpc>
              <a:buNone/>
              <a:defRPr/>
            </a:pPr>
            <a:r>
              <a:rPr lang="id-ID" sz="1800" dirty="0">
                <a:solidFill>
                  <a:prstClr val="white"/>
                </a:solidFill>
                <a:latin typeface="Georgia" panose="02040502050405020303" pitchFamily="18" charset="0"/>
              </a:rPr>
              <a:t>Setiap Rumah Sakit Wajib melakukan pencatatan dan pelaporan tentang semua kegiatan penyelenggaraan RS dalam bentuk Sistem Informasi Manajemen Rumah Sakit</a:t>
            </a:r>
            <a:endParaRPr lang="id-ID" sz="180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lvl="0"/>
            <a:r>
              <a:rPr lang="id-ID" sz="2000" dirty="0">
                <a:solidFill>
                  <a:srgbClr val="FFFF00"/>
                </a:solidFill>
                <a:latin typeface="Calibri" panose="020F0502020204030204"/>
              </a:rPr>
              <a:t>UU No.44/2009 tentang Rumah Sakit</a:t>
            </a:r>
          </a:p>
          <a:p>
            <a:endParaRPr lang="en-AU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AU" dirty="0" smtClean="0"/>
              <a:t>05</a:t>
            </a:r>
            <a:endParaRPr lang="en-AU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6"/>
          </p:nvPr>
        </p:nvSpPr>
        <p:spPr>
          <a:xfrm>
            <a:off x="7516796" y="4463387"/>
            <a:ext cx="3501724" cy="986160"/>
          </a:xfrm>
        </p:spPr>
        <p:txBody>
          <a:bodyPr>
            <a:normAutofit/>
          </a:bodyPr>
          <a:lstStyle/>
          <a:p>
            <a:pPr marL="0" lvl="0" indent="0">
              <a:lnSpc>
                <a:spcPct val="100000"/>
              </a:lnSpc>
              <a:spcBef>
                <a:spcPts val="400"/>
              </a:spcBef>
              <a:buNone/>
              <a:defRPr/>
            </a:pPr>
            <a:r>
              <a:rPr lang="en-GB" sz="1800" dirty="0" err="1" smtClean="0">
                <a:latin typeface="Calibri" pitchFamily="34" charset="0"/>
                <a:cs typeface="Helvetica"/>
              </a:rPr>
              <a:t>Setiap</a:t>
            </a:r>
            <a:r>
              <a:rPr lang="en-GB" sz="1800" dirty="0" smtClean="0">
                <a:latin typeface="Calibri" pitchFamily="34" charset="0"/>
                <a:cs typeface="Helvetica"/>
              </a:rPr>
              <a:t> </a:t>
            </a:r>
            <a:r>
              <a:rPr lang="en-GB" sz="1800" dirty="0" err="1">
                <a:latin typeface="Calibri" pitchFamily="34" charset="0"/>
                <a:cs typeface="Helvetica"/>
              </a:rPr>
              <a:t>rumah</a:t>
            </a:r>
            <a:r>
              <a:rPr lang="en-GB" sz="1800" dirty="0">
                <a:latin typeface="Calibri" pitchFamily="34" charset="0"/>
                <a:cs typeface="Helvetica"/>
              </a:rPr>
              <a:t> </a:t>
            </a:r>
            <a:r>
              <a:rPr lang="en-GB" sz="1800" dirty="0" err="1">
                <a:latin typeface="Calibri" pitchFamily="34" charset="0"/>
                <a:cs typeface="Helvetica"/>
              </a:rPr>
              <a:t>sakit</a:t>
            </a:r>
            <a:r>
              <a:rPr lang="en-GB" sz="1800" dirty="0">
                <a:latin typeface="Calibri" pitchFamily="34" charset="0"/>
                <a:cs typeface="Helvetica"/>
              </a:rPr>
              <a:t> WAJIB </a:t>
            </a:r>
            <a:r>
              <a:rPr lang="en-GB" sz="1800" dirty="0" err="1">
                <a:latin typeface="Calibri" pitchFamily="34" charset="0"/>
                <a:cs typeface="Helvetica"/>
              </a:rPr>
              <a:t>menyelenggarakan</a:t>
            </a:r>
            <a:r>
              <a:rPr lang="en-GB" sz="1800" dirty="0">
                <a:latin typeface="Calibri" pitchFamily="34" charset="0"/>
                <a:cs typeface="Helvetica"/>
              </a:rPr>
              <a:t> SIMRS </a:t>
            </a:r>
          </a:p>
          <a:p>
            <a:pPr marL="0" lvl="0" indent="0">
              <a:buNone/>
            </a:pPr>
            <a:endParaRPr lang="id-ID" sz="2000" b="1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en-AU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id-ID" sz="1800" b="1" dirty="0" smtClean="0">
                <a:solidFill>
                  <a:srgbClr val="FFFF00"/>
                </a:solidFill>
                <a:latin typeface="Calibri" pitchFamily="34" charset="0"/>
                <a:cs typeface="Helvetica"/>
              </a:rPr>
              <a:t>Permenkes </a:t>
            </a:r>
            <a:r>
              <a:rPr lang="en-GB" sz="1800" b="1" dirty="0">
                <a:solidFill>
                  <a:srgbClr val="FFFF00"/>
                </a:solidFill>
                <a:latin typeface="Calibri" pitchFamily="34" charset="0"/>
                <a:cs typeface="Helvetica"/>
              </a:rPr>
              <a:t>No</a:t>
            </a:r>
            <a:r>
              <a:rPr lang="id-ID" sz="1800" b="1" dirty="0">
                <a:solidFill>
                  <a:srgbClr val="FFFF00"/>
                </a:solidFill>
                <a:latin typeface="Calibri" pitchFamily="34" charset="0"/>
                <a:cs typeface="Helvetica"/>
              </a:rPr>
              <a:t>. </a:t>
            </a:r>
            <a:r>
              <a:rPr lang="en-GB" sz="1800" b="1" dirty="0">
                <a:solidFill>
                  <a:srgbClr val="FFFF00"/>
                </a:solidFill>
                <a:latin typeface="Calibri" pitchFamily="34" charset="0"/>
                <a:cs typeface="Helvetica"/>
              </a:rPr>
              <a:t>82 </a:t>
            </a:r>
            <a:r>
              <a:rPr lang="en-GB" sz="1800" b="1" dirty="0" err="1">
                <a:solidFill>
                  <a:srgbClr val="FFFF00"/>
                </a:solidFill>
                <a:latin typeface="Calibri" pitchFamily="34" charset="0"/>
                <a:cs typeface="Helvetica"/>
              </a:rPr>
              <a:t>Tahun</a:t>
            </a:r>
            <a:r>
              <a:rPr lang="en-GB" sz="1800" b="1" dirty="0">
                <a:solidFill>
                  <a:srgbClr val="FFFF00"/>
                </a:solidFill>
                <a:latin typeface="Calibri" pitchFamily="34" charset="0"/>
                <a:cs typeface="Helvetica"/>
              </a:rPr>
              <a:t> 2013</a:t>
            </a:r>
            <a:endParaRPr lang="en-AU" sz="1800" dirty="0">
              <a:solidFill>
                <a:srgbClr val="FFFF00"/>
              </a:solidFill>
            </a:endParaRPr>
          </a:p>
          <a:p>
            <a:pPr lvl="0"/>
            <a:endParaRPr lang="id-ID" sz="1800" dirty="0">
              <a:solidFill>
                <a:srgbClr val="FFFF00"/>
              </a:solidFill>
              <a:latin typeface="Calibri" panose="020F0502020204030204"/>
            </a:endParaRPr>
          </a:p>
          <a:p>
            <a:endParaRPr lang="en-AU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571500" y="5665394"/>
            <a:ext cx="4101119" cy="986160"/>
          </a:xfrm>
        </p:spPr>
        <p:txBody>
          <a:bodyPr/>
          <a:lstStyle/>
          <a:p>
            <a:pPr lvl="0"/>
            <a:r>
              <a:rPr lang="id-ID" sz="14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Setiap RS wajib melaksanakan Sistem Informasi Rumah Sakit (SIRS)</a:t>
            </a:r>
            <a:r>
              <a:rPr lang="en-GB" sz="1400" b="1" dirty="0">
                <a:latin typeface="Calibri" pitchFamily="34" charset="0"/>
                <a:cs typeface="Helvetica"/>
              </a:rPr>
              <a:t> </a:t>
            </a:r>
            <a:r>
              <a:rPr lang="en-GB" sz="1400" b="1" dirty="0" err="1">
                <a:latin typeface="Calibri" pitchFamily="34" charset="0"/>
                <a:cs typeface="Helvetica"/>
              </a:rPr>
              <a:t>Tentang</a:t>
            </a:r>
            <a:r>
              <a:rPr lang="en-GB" sz="1400" b="1" dirty="0">
                <a:latin typeface="Calibri" pitchFamily="34" charset="0"/>
                <a:cs typeface="Helvetica"/>
              </a:rPr>
              <a:t> </a:t>
            </a:r>
            <a:r>
              <a:rPr lang="en-GB" sz="1400" b="1" dirty="0" err="1">
                <a:latin typeface="Calibri" pitchFamily="34" charset="0"/>
                <a:cs typeface="Helvetica"/>
              </a:rPr>
              <a:t>Sistem</a:t>
            </a:r>
            <a:r>
              <a:rPr lang="en-GB" sz="1400" b="1" dirty="0">
                <a:latin typeface="Calibri" pitchFamily="34" charset="0"/>
                <a:cs typeface="Helvetica"/>
              </a:rPr>
              <a:t> </a:t>
            </a:r>
            <a:r>
              <a:rPr lang="en-GB" sz="1400" b="1" dirty="0" err="1">
                <a:latin typeface="Calibri" pitchFamily="34" charset="0"/>
                <a:cs typeface="Helvetica"/>
              </a:rPr>
              <a:t>Informasi</a:t>
            </a:r>
            <a:r>
              <a:rPr lang="en-GB" sz="1400" b="1" dirty="0">
                <a:latin typeface="Calibri" pitchFamily="34" charset="0"/>
                <a:cs typeface="Helvetica"/>
              </a:rPr>
              <a:t> </a:t>
            </a:r>
            <a:r>
              <a:rPr lang="en-GB" sz="1400" b="1" dirty="0" err="1">
                <a:latin typeface="Calibri" pitchFamily="34" charset="0"/>
                <a:cs typeface="Helvetica"/>
              </a:rPr>
              <a:t>Manajemen</a:t>
            </a:r>
            <a:r>
              <a:rPr lang="en-GB" sz="1400" b="1" dirty="0">
                <a:latin typeface="Calibri" pitchFamily="34" charset="0"/>
                <a:cs typeface="Helvetica"/>
              </a:rPr>
              <a:t> </a:t>
            </a:r>
            <a:r>
              <a:rPr lang="en-GB" sz="1400" b="1" dirty="0" err="1">
                <a:latin typeface="Calibri" pitchFamily="34" charset="0"/>
                <a:cs typeface="Helvetica"/>
              </a:rPr>
              <a:t>Rumah</a:t>
            </a:r>
            <a:r>
              <a:rPr lang="en-GB" sz="1400" b="1" dirty="0">
                <a:latin typeface="Calibri" pitchFamily="34" charset="0"/>
                <a:cs typeface="Helvetica"/>
              </a:rPr>
              <a:t> </a:t>
            </a:r>
            <a:r>
              <a:rPr lang="en-GB" sz="1400" b="1" dirty="0" err="1">
                <a:latin typeface="Calibri" pitchFamily="34" charset="0"/>
                <a:cs typeface="Helvetica"/>
              </a:rPr>
              <a:t>Sakit</a:t>
            </a:r>
            <a:r>
              <a:rPr lang="id-ID" sz="1400" b="1" dirty="0">
                <a:latin typeface="Calibri" pitchFamily="34" charset="0"/>
                <a:cs typeface="Helvetica"/>
              </a:rPr>
              <a:t> (SIMRS)</a:t>
            </a:r>
          </a:p>
          <a:p>
            <a:endParaRPr lang="en-AU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20"/>
          </p:nvPr>
        </p:nvSpPr>
        <p:spPr>
          <a:xfrm>
            <a:off x="1599972" y="4893053"/>
            <a:ext cx="3072647" cy="498098"/>
          </a:xfrm>
        </p:spPr>
        <p:txBody>
          <a:bodyPr/>
          <a:lstStyle/>
          <a:p>
            <a:r>
              <a:rPr lang="id-ID" sz="2000" dirty="0">
                <a:solidFill>
                  <a:srgbClr val="FFFF00"/>
                </a:solidFill>
                <a:latin typeface="Calibri" panose="020F0502020204030204"/>
              </a:rPr>
              <a:t>Permenkes No. 1171 Tahun 2011</a:t>
            </a:r>
            <a:endParaRPr lang="en-AU" dirty="0">
              <a:solidFill>
                <a:srgbClr val="FFFF00"/>
              </a:solidFill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AU" dirty="0" smtClean="0"/>
              <a:t>04</a:t>
            </a:r>
            <a:endParaRPr lang="en-AU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AU" dirty="0" smtClean="0"/>
              <a:t>06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2758057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153776" y="5573358"/>
            <a:ext cx="11878567" cy="642942"/>
          </a:xfrm>
          <a:prstGeom prst="rect">
            <a:avLst/>
          </a:prstGeom>
          <a:solidFill>
            <a:srgbClr val="0066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sz="3600" b="1" dirty="0">
                <a:solidFill>
                  <a:schemeClr val="bg1"/>
                </a:solidFill>
              </a:rPr>
              <a:t>Sistem Informasi Manajemen Rumah Sakit (SIMRS)</a:t>
            </a:r>
          </a:p>
        </p:txBody>
      </p:sp>
      <p:sp>
        <p:nvSpPr>
          <p:cNvPr id="11" name="Oval 10"/>
          <p:cNvSpPr/>
          <p:nvPr/>
        </p:nvSpPr>
        <p:spPr>
          <a:xfrm>
            <a:off x="8653193" y="2604173"/>
            <a:ext cx="2071702" cy="71438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sz="40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SIRS</a:t>
            </a:r>
          </a:p>
        </p:txBody>
      </p:sp>
      <p:sp>
        <p:nvSpPr>
          <p:cNvPr id="17" name="Rectangle 16"/>
          <p:cNvSpPr/>
          <p:nvPr/>
        </p:nvSpPr>
        <p:spPr>
          <a:xfrm rot="51097">
            <a:off x="1321715" y="4198471"/>
            <a:ext cx="553998" cy="92398"/>
          </a:xfrm>
          <a:prstGeom prst="rect">
            <a:avLst/>
          </a:prstGeom>
          <a:noFill/>
        </p:spPr>
        <p:txBody>
          <a:bodyPr vert="vert270" wrap="none" lIns="91440" tIns="45720" rIns="91440" bIns="45720">
            <a:spAutoFit/>
          </a:bodyPr>
          <a:lstStyle/>
          <a:p>
            <a:pPr algn="ctr"/>
            <a:endParaRPr lang="id-ID" sz="24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5" name="Up Arrow 34"/>
          <p:cNvSpPr/>
          <p:nvPr/>
        </p:nvSpPr>
        <p:spPr>
          <a:xfrm rot="78690">
            <a:off x="2445070" y="3313242"/>
            <a:ext cx="919892" cy="2241484"/>
          </a:xfrm>
          <a:prstGeom prst="up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dirty="0"/>
          </a:p>
        </p:txBody>
      </p:sp>
      <p:sp>
        <p:nvSpPr>
          <p:cNvPr id="44" name="Up Arrow 43"/>
          <p:cNvSpPr/>
          <p:nvPr/>
        </p:nvSpPr>
        <p:spPr>
          <a:xfrm rot="78690">
            <a:off x="802222" y="2288008"/>
            <a:ext cx="957660" cy="3274819"/>
          </a:xfrm>
          <a:prstGeom prst="up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dirty="0"/>
          </a:p>
        </p:txBody>
      </p:sp>
      <p:sp>
        <p:nvSpPr>
          <p:cNvPr id="46" name="Oval 45"/>
          <p:cNvSpPr/>
          <p:nvPr/>
        </p:nvSpPr>
        <p:spPr>
          <a:xfrm>
            <a:off x="1919472" y="2588629"/>
            <a:ext cx="2071702" cy="714380"/>
          </a:xfrm>
          <a:prstGeom prst="ellipse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Pendaftran Online</a:t>
            </a:r>
          </a:p>
        </p:txBody>
      </p:sp>
      <p:sp>
        <p:nvSpPr>
          <p:cNvPr id="50" name="Oval 49"/>
          <p:cNvSpPr/>
          <p:nvPr/>
        </p:nvSpPr>
        <p:spPr>
          <a:xfrm>
            <a:off x="3583184" y="1553365"/>
            <a:ext cx="2071702" cy="714380"/>
          </a:xfrm>
          <a:prstGeom prst="ellipse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sz="20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SIRANAP</a:t>
            </a:r>
          </a:p>
        </p:txBody>
      </p:sp>
      <p:sp>
        <p:nvSpPr>
          <p:cNvPr id="52" name="Up Arrow 51"/>
          <p:cNvSpPr/>
          <p:nvPr/>
        </p:nvSpPr>
        <p:spPr>
          <a:xfrm rot="78690">
            <a:off x="4088370" y="2278276"/>
            <a:ext cx="957660" cy="3274819"/>
          </a:xfrm>
          <a:prstGeom prst="up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dirty="0"/>
          </a:p>
        </p:txBody>
      </p:sp>
      <p:sp>
        <p:nvSpPr>
          <p:cNvPr id="53" name="Up Arrow 52"/>
          <p:cNvSpPr/>
          <p:nvPr/>
        </p:nvSpPr>
        <p:spPr>
          <a:xfrm rot="78690">
            <a:off x="5751856" y="3315138"/>
            <a:ext cx="919892" cy="2241484"/>
          </a:xfrm>
          <a:prstGeom prst="up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dirty="0"/>
          </a:p>
        </p:txBody>
      </p:sp>
      <p:sp>
        <p:nvSpPr>
          <p:cNvPr id="55" name="Oval 54"/>
          <p:cNvSpPr/>
          <p:nvPr/>
        </p:nvSpPr>
        <p:spPr>
          <a:xfrm>
            <a:off x="5226258" y="2604173"/>
            <a:ext cx="2071702" cy="714380"/>
          </a:xfrm>
          <a:prstGeom prst="ellipse">
            <a:avLst/>
          </a:prstGeom>
          <a:solidFill>
            <a:schemeClr val="accent4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SISRUTE</a:t>
            </a:r>
          </a:p>
        </p:txBody>
      </p:sp>
      <p:sp>
        <p:nvSpPr>
          <p:cNvPr id="15" name="Oval 14">
            <a:extLst>
              <a:ext uri="{FF2B5EF4-FFF2-40B4-BE49-F238E27FC236}">
                <a16:creationId xmlns="" xmlns:a16="http://schemas.microsoft.com/office/drawing/2014/main" id="{D85E09F6-4907-4241-AD91-C22B2CDA51C8}"/>
              </a:ext>
            </a:extLst>
          </p:cNvPr>
          <p:cNvSpPr/>
          <p:nvPr/>
        </p:nvSpPr>
        <p:spPr>
          <a:xfrm>
            <a:off x="6961408" y="1566650"/>
            <a:ext cx="2071702" cy="714380"/>
          </a:xfrm>
          <a:prstGeom prst="ellipse">
            <a:avLst/>
          </a:prstGeom>
          <a:solidFill>
            <a:srgbClr val="00206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sz="28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SITT</a:t>
            </a:r>
          </a:p>
        </p:txBody>
      </p:sp>
      <p:sp>
        <p:nvSpPr>
          <p:cNvPr id="16" name="Up Arrow 51">
            <a:extLst>
              <a:ext uri="{FF2B5EF4-FFF2-40B4-BE49-F238E27FC236}">
                <a16:creationId xmlns="" xmlns:a16="http://schemas.microsoft.com/office/drawing/2014/main" id="{789EFE8E-2E7B-4BDF-BC0F-2DA15121B0BF}"/>
              </a:ext>
            </a:extLst>
          </p:cNvPr>
          <p:cNvSpPr/>
          <p:nvPr/>
        </p:nvSpPr>
        <p:spPr>
          <a:xfrm rot="78690">
            <a:off x="7466594" y="2277913"/>
            <a:ext cx="957660" cy="3274819"/>
          </a:xfrm>
          <a:prstGeom prst="up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dirty="0"/>
          </a:p>
        </p:txBody>
      </p:sp>
      <p:sp>
        <p:nvSpPr>
          <p:cNvPr id="18" name="Up Arrow 52">
            <a:extLst>
              <a:ext uri="{FF2B5EF4-FFF2-40B4-BE49-F238E27FC236}">
                <a16:creationId xmlns="" xmlns:a16="http://schemas.microsoft.com/office/drawing/2014/main" id="{7BE6A50F-CAE1-42B6-B832-D52E852A8507}"/>
              </a:ext>
            </a:extLst>
          </p:cNvPr>
          <p:cNvSpPr/>
          <p:nvPr/>
        </p:nvSpPr>
        <p:spPr>
          <a:xfrm rot="78690">
            <a:off x="9197306" y="3315138"/>
            <a:ext cx="919892" cy="2241484"/>
          </a:xfrm>
          <a:prstGeom prst="up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dirty="0"/>
          </a:p>
        </p:txBody>
      </p:sp>
      <p:sp>
        <p:nvSpPr>
          <p:cNvPr id="19" name="Oval 18">
            <a:extLst>
              <a:ext uri="{FF2B5EF4-FFF2-40B4-BE49-F238E27FC236}">
                <a16:creationId xmlns="" xmlns:a16="http://schemas.microsoft.com/office/drawing/2014/main" id="{9B617ACD-FCC7-4405-BA3C-1B7D9207DA09}"/>
              </a:ext>
            </a:extLst>
          </p:cNvPr>
          <p:cNvSpPr/>
          <p:nvPr/>
        </p:nvSpPr>
        <p:spPr>
          <a:xfrm>
            <a:off x="99993" y="1553002"/>
            <a:ext cx="2442130" cy="714380"/>
          </a:xfrm>
          <a:prstGeom prst="ellipse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DASHBOARD</a:t>
            </a:r>
          </a:p>
        </p:txBody>
      </p:sp>
      <p:grpSp>
        <p:nvGrpSpPr>
          <p:cNvPr id="20" name="Group 19">
            <a:extLst>
              <a:ext uri="{FF2B5EF4-FFF2-40B4-BE49-F238E27FC236}">
                <a16:creationId xmlns="" xmlns:a16="http://schemas.microsoft.com/office/drawing/2014/main" id="{A24A7305-55D3-40B6-BAD7-82EC4F336D4F}"/>
              </a:ext>
            </a:extLst>
          </p:cNvPr>
          <p:cNvGrpSpPr/>
          <p:nvPr/>
        </p:nvGrpSpPr>
        <p:grpSpPr>
          <a:xfrm>
            <a:off x="2205" y="-129540"/>
            <a:ext cx="12187592" cy="686435"/>
            <a:chOff x="0" y="0"/>
            <a:chExt cx="12190413" cy="686594"/>
          </a:xfrm>
          <a:solidFill>
            <a:srgbClr val="2C89CB"/>
          </a:solidFill>
        </p:grpSpPr>
        <p:sp>
          <p:nvSpPr>
            <p:cNvPr id="21" name="Rectangle 20">
              <a:extLst>
                <a:ext uri="{FF2B5EF4-FFF2-40B4-BE49-F238E27FC236}">
                  <a16:creationId xmlns="" xmlns:a16="http://schemas.microsoft.com/office/drawing/2014/main" id="{591DB073-85B5-4090-A75D-3186FABF2832}"/>
                </a:ext>
              </a:extLst>
            </p:cNvPr>
            <p:cNvSpPr/>
            <p:nvPr/>
          </p:nvSpPr>
          <p:spPr>
            <a:xfrm>
              <a:off x="0" y="0"/>
              <a:ext cx="12190413" cy="686594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217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pic>
          <p:nvPicPr>
            <p:cNvPr id="22" name="Picture 2" descr="C:\Users\DELL\Downloads\LOGO KEMENKES TULISAN PUTIH copy.png">
              <a:extLst>
                <a:ext uri="{FF2B5EF4-FFF2-40B4-BE49-F238E27FC236}">
                  <a16:creationId xmlns="" xmlns:a16="http://schemas.microsoft.com/office/drawing/2014/main" id="{26A0E1E6-1248-41DA-B254-CBE55867645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151606" y="108526"/>
              <a:ext cx="990600" cy="448706"/>
            </a:xfrm>
            <a:prstGeom prst="rect">
              <a:avLst/>
            </a:prstGeom>
            <a:grpFill/>
          </p:spPr>
        </p:pic>
        <p:sp>
          <p:nvSpPr>
            <p:cNvPr id="23" name="TextBox 22">
              <a:extLst>
                <a:ext uri="{FF2B5EF4-FFF2-40B4-BE49-F238E27FC236}">
                  <a16:creationId xmlns="" xmlns:a16="http://schemas.microsoft.com/office/drawing/2014/main" id="{C430FC89-EEA1-409C-AEB5-8D4A7D584FE6}"/>
                </a:ext>
              </a:extLst>
            </p:cNvPr>
            <p:cNvSpPr txBox="1"/>
            <p:nvPr/>
          </p:nvSpPr>
          <p:spPr>
            <a:xfrm>
              <a:off x="1523205" y="56396"/>
              <a:ext cx="10667207" cy="553998"/>
            </a:xfrm>
            <a:prstGeom prst="rect">
              <a:avLst/>
            </a:prstGeom>
            <a:solidFill>
              <a:srgbClr val="2C89CB"/>
            </a:solidFill>
          </p:spPr>
          <p:txBody>
            <a:bodyPr wrap="square" rtlCol="0">
              <a:spAutoFit/>
            </a:bodyPr>
            <a:lstStyle/>
            <a:p>
              <a:pPr marL="0" marR="0" lvl="0" indent="0" algn="ctr" defTabSz="914217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d-ID" sz="2999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+mn-cs"/>
                </a:rPr>
                <a:t>INTEGRASI SIMRS</a:t>
              </a:r>
              <a:endParaRPr kumimoji="0" lang="sv-SE" sz="2999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endParaRPr>
            </a:p>
          </p:txBody>
        </p:sp>
      </p:grpSp>
      <p:sp>
        <p:nvSpPr>
          <p:cNvPr id="24" name="Oval 23">
            <a:extLst>
              <a:ext uri="{FF2B5EF4-FFF2-40B4-BE49-F238E27FC236}">
                <a16:creationId xmlns="" xmlns:a16="http://schemas.microsoft.com/office/drawing/2014/main" id="{06B6F6B0-646D-4021-9CC9-1568FFCF3FB1}"/>
              </a:ext>
            </a:extLst>
          </p:cNvPr>
          <p:cNvSpPr/>
          <p:nvPr/>
        </p:nvSpPr>
        <p:spPr>
          <a:xfrm>
            <a:off x="9880586" y="1630090"/>
            <a:ext cx="2262196" cy="714380"/>
          </a:xfrm>
          <a:prstGeom prst="ellipse">
            <a:avLst/>
          </a:prstGeom>
          <a:solidFill>
            <a:schemeClr val="accent6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SIRSAK</a:t>
            </a:r>
            <a:endParaRPr lang="id-ID" sz="28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itchFamily="34" charset="0"/>
              <a:cs typeface="Arial" pitchFamily="34" charset="0"/>
            </a:endParaRPr>
          </a:p>
        </p:txBody>
      </p:sp>
      <p:sp>
        <p:nvSpPr>
          <p:cNvPr id="25" name="Up Arrow 51">
            <a:extLst>
              <a:ext uri="{FF2B5EF4-FFF2-40B4-BE49-F238E27FC236}">
                <a16:creationId xmlns="" xmlns:a16="http://schemas.microsoft.com/office/drawing/2014/main" id="{258CA134-14F9-45F2-88AF-DBAF831CC9B5}"/>
              </a:ext>
            </a:extLst>
          </p:cNvPr>
          <p:cNvSpPr/>
          <p:nvPr/>
        </p:nvSpPr>
        <p:spPr>
          <a:xfrm rot="78690">
            <a:off x="10798996" y="2323066"/>
            <a:ext cx="957660" cy="3274819"/>
          </a:xfrm>
          <a:prstGeom prst="up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dirty="0"/>
          </a:p>
        </p:txBody>
      </p:sp>
    </p:spTree>
    <p:extLst>
      <p:ext uri="{BB962C8B-B14F-4D97-AF65-F5344CB8AC3E}">
        <p14:creationId xmlns:p14="http://schemas.microsoft.com/office/powerpoint/2010/main" val="2389292530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b="1" dirty="0">
                <a:solidFill>
                  <a:srgbClr val="FFCC00"/>
                </a:solidFill>
              </a:rPr>
              <a:t>STANDARD MINIMAL SIMRS </a:t>
            </a:r>
            <a:br>
              <a:rPr lang="en-US" b="1" dirty="0">
                <a:solidFill>
                  <a:srgbClr val="FFCC00"/>
                </a:solidFill>
              </a:rPr>
            </a:br>
            <a:r>
              <a:rPr lang="en-US" sz="2400" b="1" dirty="0">
                <a:solidFill>
                  <a:srgbClr val="FFCC00"/>
                </a:solidFill>
              </a:rPr>
              <a:t>DITJEN PELAYANAN MEDIK</a:t>
            </a:r>
            <a:endParaRPr lang="en-AU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31520" y="1909763"/>
            <a:ext cx="3018155" cy="551497"/>
          </a:xfrm>
        </p:spPr>
        <p:txBody>
          <a:bodyPr/>
          <a:lstStyle/>
          <a:p>
            <a:r>
              <a:rPr lang="en-AU" dirty="0"/>
              <a:t>FRONT </a:t>
            </a:r>
            <a:r>
              <a:rPr lang="en-AU" dirty="0" smtClean="0"/>
              <a:t>OFFICE</a:t>
            </a:r>
            <a:endParaRPr lang="en-AU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56960" y="1935479"/>
            <a:ext cx="2606040" cy="440055"/>
          </a:xfrm>
        </p:spPr>
        <p:txBody>
          <a:bodyPr/>
          <a:lstStyle/>
          <a:p>
            <a:r>
              <a:rPr lang="en-AU" dirty="0"/>
              <a:t>FRONT </a:t>
            </a:r>
            <a:r>
              <a:rPr lang="en-AU" dirty="0" smtClean="0"/>
              <a:t>OFFICE</a:t>
            </a:r>
            <a:endParaRPr lang="en-AU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ln>
            <a:solidFill>
              <a:srgbClr val="FFFF00"/>
            </a:solidFill>
          </a:ln>
        </p:spPr>
        <p:txBody>
          <a:bodyPr>
            <a:normAutofit fontScale="70000" lnSpcReduction="20000"/>
          </a:bodyPr>
          <a:lstStyle/>
          <a:p>
            <a:pPr marL="609600" indent="-609600">
              <a:buNone/>
            </a:pPr>
            <a:endParaRPr lang="en-US" sz="2400" b="1" dirty="0" smtClean="0"/>
          </a:p>
          <a:p>
            <a:pPr marL="609600" indent="-609600">
              <a:buNone/>
            </a:pPr>
            <a:r>
              <a:rPr lang="en-US" sz="2400" b="1" dirty="0" smtClean="0"/>
              <a:t>4.       RAWAT </a:t>
            </a:r>
            <a:r>
              <a:rPr lang="en-US" sz="2400" b="1" dirty="0"/>
              <a:t>DARURAT</a:t>
            </a:r>
          </a:p>
          <a:p>
            <a:pPr marL="990600" lvl="1" indent="-266700"/>
            <a:r>
              <a:rPr lang="en-US" sz="1800" dirty="0"/>
              <a:t>Form </a:t>
            </a:r>
            <a:r>
              <a:rPr lang="en-US" sz="1800" dirty="0" err="1"/>
              <a:t>Kunjungan</a:t>
            </a:r>
            <a:r>
              <a:rPr lang="en-US" sz="1800" dirty="0"/>
              <a:t> </a:t>
            </a:r>
            <a:r>
              <a:rPr lang="en-US" sz="1800" dirty="0" err="1"/>
              <a:t>Rawat</a:t>
            </a:r>
            <a:r>
              <a:rPr lang="en-US" sz="1800" dirty="0"/>
              <a:t> </a:t>
            </a:r>
            <a:r>
              <a:rPr lang="en-US" sz="1800" dirty="0" err="1"/>
              <a:t>Darurat</a:t>
            </a:r>
            <a:endParaRPr lang="en-US" sz="1800" dirty="0"/>
          </a:p>
          <a:p>
            <a:pPr marL="990600" lvl="1" indent="-266700"/>
            <a:r>
              <a:rPr lang="en-US" sz="1800" dirty="0"/>
              <a:t>Form </a:t>
            </a:r>
            <a:r>
              <a:rPr lang="en-US" sz="1800" dirty="0" err="1"/>
              <a:t>Tindakan</a:t>
            </a:r>
            <a:r>
              <a:rPr lang="en-US" sz="1800" dirty="0"/>
              <a:t> </a:t>
            </a:r>
            <a:r>
              <a:rPr lang="en-US" sz="1800" dirty="0" err="1"/>
              <a:t>Rawat</a:t>
            </a:r>
            <a:r>
              <a:rPr lang="en-US" sz="1800" dirty="0"/>
              <a:t> </a:t>
            </a:r>
            <a:r>
              <a:rPr lang="en-US" sz="1800" dirty="0" err="1"/>
              <a:t>Darurat</a:t>
            </a:r>
            <a:endParaRPr lang="en-US" sz="1800" dirty="0"/>
          </a:p>
          <a:p>
            <a:pPr marL="990600" lvl="1" indent="-266700"/>
            <a:r>
              <a:rPr lang="en-US" sz="1800" dirty="0"/>
              <a:t>Form </a:t>
            </a:r>
            <a:r>
              <a:rPr lang="en-US" sz="1800" dirty="0" err="1"/>
              <a:t>Diagnosa</a:t>
            </a:r>
            <a:r>
              <a:rPr lang="en-US" sz="1800" dirty="0"/>
              <a:t> </a:t>
            </a:r>
            <a:r>
              <a:rPr lang="en-US" sz="1800" dirty="0" err="1"/>
              <a:t>Rawat</a:t>
            </a:r>
            <a:r>
              <a:rPr lang="en-US" sz="1800" dirty="0"/>
              <a:t> </a:t>
            </a:r>
            <a:r>
              <a:rPr lang="en-US" sz="1800" dirty="0" err="1"/>
              <a:t>Darurat</a:t>
            </a:r>
            <a:endParaRPr lang="en-US" sz="1800" dirty="0"/>
          </a:p>
          <a:p>
            <a:pPr marL="990600" lvl="1" indent="-266700">
              <a:buNone/>
            </a:pPr>
            <a:endParaRPr lang="en-US" sz="1800" dirty="0"/>
          </a:p>
          <a:p>
            <a:pPr marL="609600" indent="-609600">
              <a:buNone/>
            </a:pPr>
            <a:r>
              <a:rPr lang="en-US" sz="2400" b="1" dirty="0"/>
              <a:t>5.	PENUNJANG (LAB/RADIOLOGI/DIAGNOSTIC/FISIOTERAPI</a:t>
            </a:r>
            <a:r>
              <a:rPr lang="en-US" b="1" dirty="0"/>
              <a:t>)</a:t>
            </a:r>
          </a:p>
          <a:p>
            <a:pPr marL="990600" lvl="1" indent="-266700"/>
            <a:r>
              <a:rPr lang="en-US" sz="1600" dirty="0"/>
              <a:t>Form </a:t>
            </a:r>
            <a:r>
              <a:rPr lang="en-US" sz="1600" dirty="0" err="1"/>
              <a:t>Kunjungan</a:t>
            </a:r>
            <a:r>
              <a:rPr lang="en-US" sz="1600" dirty="0"/>
              <a:t> </a:t>
            </a:r>
            <a:r>
              <a:rPr lang="en-US" sz="1600" dirty="0" err="1"/>
              <a:t>Laboratorium</a:t>
            </a:r>
            <a:endParaRPr lang="en-US" sz="1600" dirty="0"/>
          </a:p>
          <a:p>
            <a:pPr marL="990600" lvl="1" indent="-266700"/>
            <a:r>
              <a:rPr lang="en-US" sz="1600" dirty="0"/>
              <a:t>Form </a:t>
            </a:r>
            <a:r>
              <a:rPr lang="en-US" sz="1600" dirty="0" err="1"/>
              <a:t>Kunjungan</a:t>
            </a:r>
            <a:r>
              <a:rPr lang="en-US" sz="1600" dirty="0"/>
              <a:t> </a:t>
            </a:r>
            <a:r>
              <a:rPr lang="en-US" sz="1600" dirty="0" err="1"/>
              <a:t>Radiologi</a:t>
            </a:r>
            <a:endParaRPr lang="en-US" sz="1600" dirty="0"/>
          </a:p>
          <a:p>
            <a:pPr marL="990600" lvl="1" indent="-266700"/>
            <a:r>
              <a:rPr lang="en-US" sz="1600" dirty="0"/>
              <a:t>Form </a:t>
            </a:r>
            <a:r>
              <a:rPr lang="en-US" sz="1600" dirty="0" err="1"/>
              <a:t>Kunjungan</a:t>
            </a:r>
            <a:r>
              <a:rPr lang="en-US" sz="1600" dirty="0"/>
              <a:t> Diagnostic</a:t>
            </a:r>
          </a:p>
          <a:p>
            <a:pPr marL="990600" lvl="1" indent="-266700"/>
            <a:r>
              <a:rPr lang="en-US" sz="1600" dirty="0"/>
              <a:t>Form </a:t>
            </a:r>
            <a:r>
              <a:rPr lang="en-US" sz="1600" dirty="0" err="1"/>
              <a:t>Kunjungan</a:t>
            </a:r>
            <a:r>
              <a:rPr lang="en-US" sz="1600" dirty="0"/>
              <a:t> </a:t>
            </a:r>
            <a:r>
              <a:rPr lang="en-US" sz="1600" dirty="0" err="1"/>
              <a:t>Fisioterapi</a:t>
            </a:r>
            <a:endParaRPr lang="en-US" sz="1600" dirty="0"/>
          </a:p>
          <a:p>
            <a:pPr marL="990600" lvl="1" indent="-266700">
              <a:buNone/>
            </a:pPr>
            <a:endParaRPr lang="en-US" sz="1600" dirty="0"/>
          </a:p>
          <a:p>
            <a:pPr marL="609600" indent="-609600">
              <a:buNone/>
            </a:pPr>
            <a:r>
              <a:rPr lang="en-US" sz="2400" b="1" dirty="0"/>
              <a:t>6.	FARMASI</a:t>
            </a:r>
          </a:p>
          <a:p>
            <a:pPr marL="990600" lvl="1" indent="-266700"/>
            <a:r>
              <a:rPr lang="en-US" sz="1600" dirty="0"/>
              <a:t>Form </a:t>
            </a:r>
            <a:r>
              <a:rPr lang="en-US" sz="1600" dirty="0" err="1"/>
              <a:t>Kunjungan</a:t>
            </a:r>
            <a:r>
              <a:rPr lang="en-US" sz="1600" dirty="0"/>
              <a:t> </a:t>
            </a:r>
            <a:r>
              <a:rPr lang="en-US" sz="1600" dirty="0" err="1"/>
              <a:t>Farmasi</a:t>
            </a:r>
            <a:endParaRPr lang="en-US" sz="1600" dirty="0"/>
          </a:p>
          <a:p>
            <a:pPr marL="990600" lvl="1" indent="-266700"/>
            <a:r>
              <a:rPr lang="en-US" sz="1600" dirty="0"/>
              <a:t>Form Item </a:t>
            </a:r>
            <a:r>
              <a:rPr lang="en-US" sz="1600" dirty="0" err="1"/>
              <a:t>Obat</a:t>
            </a:r>
            <a:endParaRPr lang="en-US" sz="1600" dirty="0"/>
          </a:p>
          <a:p>
            <a:pPr marL="0" indent="0">
              <a:buNone/>
            </a:pPr>
            <a:endParaRPr lang="en-AU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127D4A-83D3-4DC7-98F9-90950AAF487A}" type="slidenum">
              <a:rPr lang="id-ID" smtClean="0"/>
              <a:t>9</a:t>
            </a:fld>
            <a:endParaRPr lang="id-ID"/>
          </a:p>
        </p:txBody>
      </p:sp>
      <p:sp>
        <p:nvSpPr>
          <p:cNvPr id="11" name="Content Placeholder 5"/>
          <p:cNvSpPr>
            <a:spLocks noGrp="1"/>
          </p:cNvSpPr>
          <p:nvPr>
            <p:ph sz="quarter" idx="4"/>
          </p:nvPr>
        </p:nvSpPr>
        <p:spPr>
          <a:xfrm>
            <a:off x="739140" y="2497455"/>
            <a:ext cx="5183188" cy="3684588"/>
          </a:xfrm>
          <a:ln>
            <a:solidFill>
              <a:srgbClr val="FFFF00"/>
            </a:solidFill>
          </a:ln>
        </p:spPr>
        <p:txBody>
          <a:bodyPr>
            <a:normAutofit fontScale="92500" lnSpcReduction="20000"/>
          </a:bodyPr>
          <a:lstStyle/>
          <a:p>
            <a:pPr marL="609600" indent="-609600">
              <a:buNone/>
            </a:pPr>
            <a:endParaRPr lang="en-US" sz="2400" b="1" dirty="0" smtClean="0"/>
          </a:p>
          <a:p>
            <a:pPr lvl="1">
              <a:lnSpc>
                <a:spcPct val="80000"/>
              </a:lnSpc>
              <a:buNone/>
            </a:pPr>
            <a:r>
              <a:rPr lang="en-US" sz="2000" b="1" dirty="0" smtClean="0"/>
              <a:t>1</a:t>
            </a:r>
            <a:r>
              <a:rPr lang="en-US" sz="2000" b="1" dirty="0"/>
              <a:t>.	DATA PRIBADI PASIEN</a:t>
            </a:r>
          </a:p>
          <a:p>
            <a:pPr lvl="1">
              <a:lnSpc>
                <a:spcPct val="80000"/>
              </a:lnSpc>
              <a:buNone/>
            </a:pPr>
            <a:r>
              <a:rPr lang="en-US" sz="1400" dirty="0"/>
              <a:t>	</a:t>
            </a:r>
            <a:r>
              <a:rPr lang="en-US" sz="1800" dirty="0"/>
              <a:t>- Form </a:t>
            </a:r>
            <a:r>
              <a:rPr lang="en-US" sz="1800" dirty="0" err="1"/>
              <a:t>Indentitas</a:t>
            </a:r>
            <a:r>
              <a:rPr lang="en-US" sz="1800" dirty="0"/>
              <a:t> </a:t>
            </a:r>
            <a:r>
              <a:rPr lang="en-US" sz="1800" dirty="0" err="1"/>
              <a:t>Pasien</a:t>
            </a:r>
            <a:endParaRPr lang="en-US" sz="1800" dirty="0"/>
          </a:p>
          <a:p>
            <a:pPr lvl="1">
              <a:lnSpc>
                <a:spcPct val="80000"/>
              </a:lnSpc>
              <a:buNone/>
            </a:pPr>
            <a:endParaRPr lang="en-US" sz="1800" dirty="0"/>
          </a:p>
          <a:p>
            <a:pPr lvl="1">
              <a:lnSpc>
                <a:spcPct val="80000"/>
              </a:lnSpc>
              <a:buNone/>
            </a:pPr>
            <a:r>
              <a:rPr lang="en-US" sz="2000" b="1" dirty="0"/>
              <a:t>2.	RAWAT JALAN</a:t>
            </a:r>
          </a:p>
          <a:p>
            <a:pPr lvl="1">
              <a:lnSpc>
                <a:spcPct val="80000"/>
              </a:lnSpc>
              <a:buNone/>
            </a:pPr>
            <a:r>
              <a:rPr lang="en-US" sz="1400" dirty="0"/>
              <a:t>	- Form </a:t>
            </a:r>
            <a:r>
              <a:rPr lang="en-US" sz="1400" dirty="0" err="1"/>
              <a:t>Kunjungan</a:t>
            </a:r>
            <a:r>
              <a:rPr lang="en-US" sz="1400" dirty="0"/>
              <a:t> </a:t>
            </a:r>
            <a:r>
              <a:rPr lang="en-US" sz="1400" dirty="0" err="1"/>
              <a:t>Rawat</a:t>
            </a:r>
            <a:r>
              <a:rPr lang="en-US" sz="1400" dirty="0"/>
              <a:t> </a:t>
            </a:r>
            <a:r>
              <a:rPr lang="en-US" sz="1400" dirty="0" err="1"/>
              <a:t>Jalan</a:t>
            </a:r>
            <a:endParaRPr lang="en-US" sz="1400" dirty="0"/>
          </a:p>
          <a:p>
            <a:pPr lvl="1">
              <a:lnSpc>
                <a:spcPct val="80000"/>
              </a:lnSpc>
              <a:buNone/>
            </a:pPr>
            <a:r>
              <a:rPr lang="en-US" sz="1400" dirty="0"/>
              <a:t>	- Form </a:t>
            </a:r>
            <a:r>
              <a:rPr lang="en-US" sz="1400" dirty="0" err="1"/>
              <a:t>Tindakan</a:t>
            </a:r>
            <a:r>
              <a:rPr lang="en-US" sz="1400" dirty="0"/>
              <a:t> </a:t>
            </a:r>
            <a:r>
              <a:rPr lang="en-US" sz="1400" dirty="0" err="1"/>
              <a:t>Rawat</a:t>
            </a:r>
            <a:r>
              <a:rPr lang="en-US" sz="1400" dirty="0"/>
              <a:t> </a:t>
            </a:r>
            <a:r>
              <a:rPr lang="en-US" sz="1400" dirty="0" err="1"/>
              <a:t>Jalan</a:t>
            </a:r>
            <a:endParaRPr lang="en-US" sz="1400" dirty="0"/>
          </a:p>
          <a:p>
            <a:pPr lvl="1">
              <a:lnSpc>
                <a:spcPct val="80000"/>
              </a:lnSpc>
              <a:buNone/>
            </a:pPr>
            <a:r>
              <a:rPr lang="en-US" sz="1400" dirty="0"/>
              <a:t>	- Form </a:t>
            </a:r>
            <a:r>
              <a:rPr lang="en-US" sz="1400" dirty="0" err="1"/>
              <a:t>Diagnosa</a:t>
            </a:r>
            <a:r>
              <a:rPr lang="en-US" sz="1400" dirty="0"/>
              <a:t> </a:t>
            </a:r>
            <a:r>
              <a:rPr lang="en-US" sz="1400" dirty="0" err="1"/>
              <a:t>Rawat</a:t>
            </a:r>
            <a:r>
              <a:rPr lang="en-US" sz="1400" dirty="0"/>
              <a:t> </a:t>
            </a:r>
            <a:r>
              <a:rPr lang="en-US" sz="1400" dirty="0" err="1"/>
              <a:t>Jalan</a:t>
            </a:r>
            <a:endParaRPr lang="en-US" sz="1400" dirty="0"/>
          </a:p>
          <a:p>
            <a:pPr lvl="1">
              <a:lnSpc>
                <a:spcPct val="80000"/>
              </a:lnSpc>
              <a:buNone/>
            </a:pPr>
            <a:endParaRPr lang="en-US" sz="1400" dirty="0"/>
          </a:p>
          <a:p>
            <a:pPr lvl="1">
              <a:lnSpc>
                <a:spcPct val="80000"/>
              </a:lnSpc>
              <a:buNone/>
            </a:pPr>
            <a:r>
              <a:rPr lang="en-US" sz="2000" b="1" dirty="0"/>
              <a:t>3.	RAWAT INAP</a:t>
            </a:r>
          </a:p>
          <a:p>
            <a:pPr lvl="1">
              <a:lnSpc>
                <a:spcPct val="80000"/>
              </a:lnSpc>
              <a:buNone/>
            </a:pPr>
            <a:r>
              <a:rPr lang="en-US" sz="1400" dirty="0"/>
              <a:t>	- Form </a:t>
            </a:r>
            <a:r>
              <a:rPr lang="en-US" sz="1400" dirty="0" err="1"/>
              <a:t>Kunjungan</a:t>
            </a:r>
            <a:r>
              <a:rPr lang="en-US" sz="1400" dirty="0"/>
              <a:t> </a:t>
            </a:r>
            <a:r>
              <a:rPr lang="en-US" sz="1400" dirty="0" err="1"/>
              <a:t>Rawat</a:t>
            </a:r>
            <a:r>
              <a:rPr lang="en-US" sz="1400" dirty="0"/>
              <a:t> </a:t>
            </a:r>
            <a:r>
              <a:rPr lang="en-US" sz="1400" dirty="0" err="1"/>
              <a:t>Inap</a:t>
            </a:r>
            <a:endParaRPr lang="en-US" sz="1400" dirty="0"/>
          </a:p>
          <a:p>
            <a:pPr lvl="1">
              <a:lnSpc>
                <a:spcPct val="80000"/>
              </a:lnSpc>
              <a:buNone/>
            </a:pPr>
            <a:r>
              <a:rPr lang="en-US" sz="1400" dirty="0"/>
              <a:t>	- Form </a:t>
            </a:r>
            <a:r>
              <a:rPr lang="en-US" sz="1400" dirty="0" err="1"/>
              <a:t>Diagnosa</a:t>
            </a:r>
            <a:r>
              <a:rPr lang="en-US" sz="1400" dirty="0"/>
              <a:t> </a:t>
            </a:r>
            <a:r>
              <a:rPr lang="en-US" sz="1400" dirty="0" err="1"/>
              <a:t>Rawat</a:t>
            </a:r>
            <a:r>
              <a:rPr lang="en-US" sz="1400" dirty="0"/>
              <a:t> </a:t>
            </a:r>
            <a:r>
              <a:rPr lang="en-US" sz="1400" dirty="0" err="1"/>
              <a:t>Inap</a:t>
            </a:r>
            <a:endParaRPr lang="en-US" sz="1400" dirty="0"/>
          </a:p>
          <a:p>
            <a:pPr lvl="1">
              <a:lnSpc>
                <a:spcPct val="80000"/>
              </a:lnSpc>
              <a:buNone/>
            </a:pPr>
            <a:r>
              <a:rPr lang="en-US" sz="1400" dirty="0"/>
              <a:t>	- Form </a:t>
            </a:r>
            <a:r>
              <a:rPr lang="en-US" sz="1400" dirty="0" err="1"/>
              <a:t>Sensus</a:t>
            </a:r>
            <a:r>
              <a:rPr lang="en-US" sz="1400" dirty="0"/>
              <a:t> </a:t>
            </a:r>
            <a:r>
              <a:rPr lang="en-US" sz="1400" dirty="0" err="1"/>
              <a:t>rawat</a:t>
            </a:r>
            <a:r>
              <a:rPr lang="en-US" sz="1400" dirty="0"/>
              <a:t> </a:t>
            </a:r>
            <a:r>
              <a:rPr lang="en-US" sz="1400" dirty="0" err="1"/>
              <a:t>Inap</a:t>
            </a:r>
            <a:endParaRPr lang="en-US" sz="1400" dirty="0"/>
          </a:p>
          <a:p>
            <a:pPr lvl="1">
              <a:lnSpc>
                <a:spcPct val="80000"/>
              </a:lnSpc>
              <a:buNone/>
            </a:pPr>
            <a:r>
              <a:rPr lang="en-US" sz="1400" dirty="0"/>
              <a:t>	- Form </a:t>
            </a:r>
            <a:r>
              <a:rPr lang="en-US" sz="1400" dirty="0" err="1"/>
              <a:t>Tindakan</a:t>
            </a:r>
            <a:r>
              <a:rPr lang="en-US" sz="1400" dirty="0"/>
              <a:t> </a:t>
            </a:r>
            <a:r>
              <a:rPr lang="en-US" sz="1400" dirty="0" err="1"/>
              <a:t>Rawat</a:t>
            </a:r>
            <a:r>
              <a:rPr lang="en-US" sz="1400" dirty="0"/>
              <a:t> </a:t>
            </a:r>
            <a:r>
              <a:rPr lang="en-US" sz="1400" dirty="0" err="1"/>
              <a:t>inap</a:t>
            </a:r>
            <a:endParaRPr lang="en-US" sz="1400" dirty="0"/>
          </a:p>
          <a:p>
            <a:pPr lvl="1">
              <a:lnSpc>
                <a:spcPct val="80000"/>
              </a:lnSpc>
              <a:buNone/>
            </a:pPr>
            <a:r>
              <a:rPr lang="en-US" sz="1400" dirty="0"/>
              <a:t>	- Form </a:t>
            </a:r>
            <a:r>
              <a:rPr lang="en-US" sz="1400" dirty="0" err="1"/>
              <a:t>Visite</a:t>
            </a:r>
            <a:r>
              <a:rPr lang="en-US" sz="1400" dirty="0"/>
              <a:t> </a:t>
            </a:r>
            <a:r>
              <a:rPr lang="en-US" sz="1400" dirty="0" err="1"/>
              <a:t>Rawat</a:t>
            </a:r>
            <a:r>
              <a:rPr lang="en-US" sz="1400" dirty="0"/>
              <a:t> </a:t>
            </a:r>
            <a:r>
              <a:rPr lang="en-US" sz="1400" dirty="0" err="1"/>
              <a:t>Inap</a:t>
            </a:r>
            <a:endParaRPr lang="en-US" sz="1400" dirty="0"/>
          </a:p>
          <a:p>
            <a:pPr lvl="1">
              <a:lnSpc>
                <a:spcPct val="80000"/>
              </a:lnSpc>
              <a:buNone/>
            </a:pPr>
            <a:r>
              <a:rPr lang="en-US" sz="1400" dirty="0"/>
              <a:t>	- Form </a:t>
            </a:r>
            <a:r>
              <a:rPr lang="en-US" sz="1400" dirty="0" err="1"/>
              <a:t>Obat</a:t>
            </a:r>
            <a:r>
              <a:rPr lang="en-US" sz="1400" dirty="0"/>
              <a:t> </a:t>
            </a:r>
            <a:r>
              <a:rPr lang="en-US" sz="1400" dirty="0" err="1"/>
              <a:t>Rawat</a:t>
            </a:r>
            <a:r>
              <a:rPr lang="en-US" sz="1400" dirty="0"/>
              <a:t> </a:t>
            </a:r>
            <a:r>
              <a:rPr lang="en-US" sz="1400" dirty="0" err="1"/>
              <a:t>Inap</a:t>
            </a:r>
            <a:endParaRPr lang="en-US" sz="1400" dirty="0"/>
          </a:p>
          <a:p>
            <a:pPr lvl="1">
              <a:lnSpc>
                <a:spcPct val="80000"/>
              </a:lnSpc>
              <a:buNone/>
            </a:pPr>
            <a:r>
              <a:rPr lang="en-US" sz="1400" dirty="0"/>
              <a:t>	- Form </a:t>
            </a:r>
            <a:r>
              <a:rPr lang="en-US" sz="1400" dirty="0" err="1"/>
              <a:t>Pembayaran</a:t>
            </a:r>
            <a:r>
              <a:rPr lang="en-US" sz="1400" dirty="0"/>
              <a:t> </a:t>
            </a:r>
            <a:r>
              <a:rPr lang="en-US" sz="1400" dirty="0" err="1"/>
              <a:t>Rawat</a:t>
            </a:r>
            <a:r>
              <a:rPr lang="en-US" sz="1400" dirty="0"/>
              <a:t> </a:t>
            </a:r>
            <a:r>
              <a:rPr lang="en-US" sz="1400" dirty="0" err="1"/>
              <a:t>Inap</a:t>
            </a:r>
            <a:endParaRPr lang="en-US" sz="1400" dirty="0"/>
          </a:p>
          <a:p>
            <a:pPr marL="0" indent="0">
              <a:buNone/>
            </a:pP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239997113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11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11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11">
                                            <p:bg/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1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1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1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1000"/>
                                        <p:tgtEl>
                                          <p:spTgt spid="1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7" dur="1000" fill="hold"/>
                                        <p:tgtEl>
                                          <p:spTgt spid="1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1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1000"/>
                                        <p:tgtEl>
                                          <p:spTgt spid="11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4" dur="1000" fill="hold"/>
                                        <p:tgtEl>
                                          <p:spTgt spid="11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5" dur="1000" fill="hold"/>
                                        <p:tgtEl>
                                          <p:spTgt spid="11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1000"/>
                                        <p:tgtEl>
                                          <p:spTgt spid="11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1" dur="1000" fill="hold"/>
                                        <p:tgtEl>
                                          <p:spTgt spid="11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" dur="1000" fill="hold"/>
                                        <p:tgtEl>
                                          <p:spTgt spid="11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1000"/>
                                        <p:tgtEl>
                                          <p:spTgt spid="11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8" dur="1000" fill="hold"/>
                                        <p:tgtEl>
                                          <p:spTgt spid="11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9" dur="1000" fill="hold"/>
                                        <p:tgtEl>
                                          <p:spTgt spid="11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0" fill="hold">
                      <p:stCondLst>
                        <p:cond delay="indefinite"/>
                      </p:stCondLst>
                      <p:childTnLst>
                        <p:par>
                          <p:cTn id="51" fill="hold">
                            <p:stCondLst>
                              <p:cond delay="0"/>
                            </p:stCondLst>
                            <p:childTnLst>
                              <p:par>
                                <p:cTn id="52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1000"/>
                                        <p:tgtEl>
                                          <p:spTgt spid="11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5" dur="1000" fill="hold"/>
                                        <p:tgtEl>
                                          <p:spTgt spid="11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6" dur="1000" fill="hold"/>
                                        <p:tgtEl>
                                          <p:spTgt spid="11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1000"/>
                                        <p:tgtEl>
                                          <p:spTgt spid="11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2" dur="1000" fill="hold"/>
                                        <p:tgtEl>
                                          <p:spTgt spid="11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3" dur="1000" fill="hold"/>
                                        <p:tgtEl>
                                          <p:spTgt spid="11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4" fill="hold">
                      <p:stCondLst>
                        <p:cond delay="indefinite"/>
                      </p:stCondLst>
                      <p:childTnLst>
                        <p:par>
                          <p:cTn id="65" fill="hold">
                            <p:stCondLst>
                              <p:cond delay="0"/>
                            </p:stCondLst>
                            <p:childTnLst>
                              <p:par>
                                <p:cTn id="66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8" dur="1000"/>
                                        <p:tgtEl>
                                          <p:spTgt spid="11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9" dur="1000" fill="hold"/>
                                        <p:tgtEl>
                                          <p:spTgt spid="11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0" dur="1000" fill="hold"/>
                                        <p:tgtEl>
                                          <p:spTgt spid="11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1" fill="hold">
                      <p:stCondLst>
                        <p:cond delay="indefinite"/>
                      </p:stCondLst>
                      <p:childTnLst>
                        <p:par>
                          <p:cTn id="72" fill="hold">
                            <p:stCondLst>
                              <p:cond delay="0"/>
                            </p:stCondLst>
                            <p:childTnLst>
                              <p:par>
                                <p:cTn id="73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5" dur="1000"/>
                                        <p:tgtEl>
                                          <p:spTgt spid="11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6" dur="1000" fill="hold"/>
                                        <p:tgtEl>
                                          <p:spTgt spid="11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7" dur="1000" fill="hold"/>
                                        <p:tgtEl>
                                          <p:spTgt spid="11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8" fill="hold">
                      <p:stCondLst>
                        <p:cond delay="indefinite"/>
                      </p:stCondLst>
                      <p:childTnLst>
                        <p:par>
                          <p:cTn id="79" fill="hold">
                            <p:stCondLst>
                              <p:cond delay="0"/>
                            </p:stCondLst>
                            <p:childTnLst>
                              <p:par>
                                <p:cTn id="80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2" dur="1000"/>
                                        <p:tgtEl>
                                          <p:spTgt spid="11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3" dur="1000" fill="hold"/>
                                        <p:tgtEl>
                                          <p:spTgt spid="11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4" dur="1000" fill="hold"/>
                                        <p:tgtEl>
                                          <p:spTgt spid="11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5" fill="hold">
                      <p:stCondLst>
                        <p:cond delay="indefinite"/>
                      </p:stCondLst>
                      <p:childTnLst>
                        <p:par>
                          <p:cTn id="86" fill="hold">
                            <p:stCondLst>
                              <p:cond delay="0"/>
                            </p:stCondLst>
                            <p:childTnLst>
                              <p:par>
                                <p:cTn id="87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9" dur="1000"/>
                                        <p:tgtEl>
                                          <p:spTgt spid="11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90" dur="1000" fill="hold"/>
                                        <p:tgtEl>
                                          <p:spTgt spid="11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1" dur="1000" fill="hold"/>
                                        <p:tgtEl>
                                          <p:spTgt spid="11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2" fill="hold">
                      <p:stCondLst>
                        <p:cond delay="indefinite"/>
                      </p:stCondLst>
                      <p:childTnLst>
                        <p:par>
                          <p:cTn id="93" fill="hold">
                            <p:stCondLst>
                              <p:cond delay="0"/>
                            </p:stCondLst>
                            <p:childTnLst>
                              <p:par>
                                <p:cTn id="94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6" dur="1000"/>
                                        <p:tgtEl>
                                          <p:spTgt spid="11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97" dur="1000" fill="hold"/>
                                        <p:tgtEl>
                                          <p:spTgt spid="11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8" dur="1000" fill="hold"/>
                                        <p:tgtEl>
                                          <p:spTgt spid="11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9" fill="hold">
                      <p:stCondLst>
                        <p:cond delay="indefinite"/>
                      </p:stCondLst>
                      <p:childTnLst>
                        <p:par>
                          <p:cTn id="100" fill="hold">
                            <p:stCondLst>
                              <p:cond delay="0"/>
                            </p:stCondLst>
                            <p:childTnLst>
                              <p:par>
                                <p:cTn id="101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3" dur="1000"/>
                                        <p:tgtEl>
                                          <p:spTgt spid="11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04" dur="1000" fill="hold"/>
                                        <p:tgtEl>
                                          <p:spTgt spid="11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5" dur="1000" fill="hold"/>
                                        <p:tgtEl>
                                          <p:spTgt spid="11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6" fill="hold">
                      <p:stCondLst>
                        <p:cond delay="indefinite"/>
                      </p:stCondLst>
                      <p:childTnLst>
                        <p:par>
                          <p:cTn id="107" fill="hold">
                            <p:stCondLst>
                              <p:cond delay="0"/>
                            </p:stCondLst>
                            <p:childTnLst>
                              <p:par>
                                <p:cTn id="108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16" end="1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0" dur="1000"/>
                                        <p:tgtEl>
                                          <p:spTgt spid="11">
                                            <p:txEl>
                                              <p:pRg st="16" end="1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11" dur="1000" fill="hold"/>
                                        <p:tgtEl>
                                          <p:spTgt spid="11">
                                            <p:txEl>
                                              <p:pRg st="16" end="1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2" dur="1000" fill="hold"/>
                                        <p:tgtEl>
                                          <p:spTgt spid="11">
                                            <p:txEl>
                                              <p:pRg st="16" end="1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3" fill="hold">
                      <p:stCondLst>
                        <p:cond delay="indefinite"/>
                      </p:stCondLst>
                      <p:childTnLst>
                        <p:par>
                          <p:cTn id="114" fill="hold">
                            <p:stCondLst>
                              <p:cond delay="0"/>
                            </p:stCondLst>
                            <p:childTnLst>
                              <p:par>
                                <p:cTn id="11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7" dur="10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18" dur="1000" fill="hold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9" dur="1000" fill="hold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2" dur="1000"/>
                                        <p:tgtEl>
                                          <p:spTgt spid="6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3" dur="1000" fill="hold"/>
                                        <p:tgtEl>
                                          <p:spTgt spid="6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4" dur="1000" fill="hold"/>
                                        <p:tgtEl>
                                          <p:spTgt spid="6">
                                            <p:bg/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5" fill="hold">
                      <p:stCondLst>
                        <p:cond delay="indefinite"/>
                      </p:stCondLst>
                      <p:childTnLst>
                        <p:par>
                          <p:cTn id="126" fill="hold">
                            <p:stCondLst>
                              <p:cond delay="0"/>
                            </p:stCondLst>
                            <p:childTnLst>
                              <p:par>
                                <p:cTn id="127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9" dur="1000"/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0" dur="1000" fill="hold"/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1" dur="1000" fill="hold"/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2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4" dur="1000"/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5" dur="1000" fill="hold"/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6" dur="1000" fill="hold"/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7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9" dur="1000"/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0" dur="1000" fill="hold"/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1" dur="1000" fill="hold"/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2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4" dur="1000"/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5" dur="1000" fill="hold"/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6" dur="1000" fill="hold"/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7" fill="hold">
                      <p:stCondLst>
                        <p:cond delay="indefinite"/>
                      </p:stCondLst>
                      <p:childTnLst>
                        <p:par>
                          <p:cTn id="148" fill="hold">
                            <p:stCondLst>
                              <p:cond delay="0"/>
                            </p:stCondLst>
                            <p:childTnLst>
                              <p:par>
                                <p:cTn id="149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1" dur="1000"/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2" dur="1000" fill="hold"/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3" dur="1000" fill="hold"/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4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6" dur="1000"/>
                                        <p:tgtEl>
                                          <p:spTgt spid="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7" dur="1000" fill="hold"/>
                                        <p:tgtEl>
                                          <p:spTgt spid="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8" dur="1000" fill="hold"/>
                                        <p:tgtEl>
                                          <p:spTgt spid="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9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1" dur="1000"/>
                                        <p:tgtEl>
                                          <p:spTgt spid="6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62" dur="1000" fill="hold"/>
                                        <p:tgtEl>
                                          <p:spTgt spid="6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3" dur="1000" fill="hold"/>
                                        <p:tgtEl>
                                          <p:spTgt spid="6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64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6" dur="1000"/>
                                        <p:tgtEl>
                                          <p:spTgt spid="6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67" dur="1000" fill="hold"/>
                                        <p:tgtEl>
                                          <p:spTgt spid="6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8" dur="1000" fill="hold"/>
                                        <p:tgtEl>
                                          <p:spTgt spid="6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69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1" dur="1000"/>
                                        <p:tgtEl>
                                          <p:spTgt spid="6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72" dur="1000" fill="hold"/>
                                        <p:tgtEl>
                                          <p:spTgt spid="6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3" dur="1000" fill="hold"/>
                                        <p:tgtEl>
                                          <p:spTgt spid="6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4" fill="hold">
                      <p:stCondLst>
                        <p:cond delay="indefinite"/>
                      </p:stCondLst>
                      <p:childTnLst>
                        <p:par>
                          <p:cTn id="175" fill="hold">
                            <p:stCondLst>
                              <p:cond delay="0"/>
                            </p:stCondLst>
                            <p:childTnLst>
                              <p:par>
                                <p:cTn id="176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8" dur="1000"/>
                                        <p:tgtEl>
                                          <p:spTgt spid="6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79" dur="1000" fill="hold"/>
                                        <p:tgtEl>
                                          <p:spTgt spid="6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0" dur="1000" fill="hold"/>
                                        <p:tgtEl>
                                          <p:spTgt spid="6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81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3" dur="1000"/>
                                        <p:tgtEl>
                                          <p:spTgt spid="6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4" dur="1000" fill="hold"/>
                                        <p:tgtEl>
                                          <p:spTgt spid="6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5" dur="1000" fill="hold"/>
                                        <p:tgtEl>
                                          <p:spTgt spid="6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86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8" dur="1000"/>
                                        <p:tgtEl>
                                          <p:spTgt spid="6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9" dur="1000" fill="hold"/>
                                        <p:tgtEl>
                                          <p:spTgt spid="6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0" dur="1000" fill="hold"/>
                                        <p:tgtEl>
                                          <p:spTgt spid="6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  <p:bldP spid="5" grpId="0" build="p"/>
      <p:bldP spid="6" grpId="0" build="p" animBg="1"/>
      <p:bldP spid="11" grpId="0" build="p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11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0B393"/>
      </a:accent1>
      <a:accent2>
        <a:srgbClr val="92D050"/>
      </a:accent2>
      <a:accent3>
        <a:srgbClr val="00BAF7"/>
      </a:accent3>
      <a:accent4>
        <a:srgbClr val="FFC000"/>
      </a:accent4>
      <a:accent5>
        <a:srgbClr val="FF3505"/>
      </a:accent5>
      <a:accent6>
        <a:srgbClr val="44546A"/>
      </a:accent6>
      <a:hlink>
        <a:srgbClr val="8496B0"/>
      </a:hlink>
      <a:folHlink>
        <a:srgbClr val="A5A5A5"/>
      </a:folHlink>
    </a:clrScheme>
    <a:fontScheme name="Office Them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6965</TotalTime>
  <Words>1194</Words>
  <Application>Microsoft Office PowerPoint</Application>
  <PresentationFormat>Custom</PresentationFormat>
  <Paragraphs>330</Paragraphs>
  <Slides>40</Slides>
  <Notes>6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0</vt:i4>
      </vt:variant>
    </vt:vector>
  </HeadingPairs>
  <TitlesOfParts>
    <vt:vector size="42" baseType="lpstr">
      <vt:lpstr>Office Theme</vt:lpstr>
      <vt:lpstr>think-cell Slide</vt:lpstr>
      <vt:lpstr>PowerPoint Presentation</vt:lpstr>
      <vt:lpstr>Widi Budianto ST,M.kom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STANDARD MINIMAL SIMRS  DITJEN PELAYANAN MEDIK</vt:lpstr>
      <vt:lpstr>STANDARD MINIMAL SIMRS  DITJEN PELAYANAN MEDIK</vt:lpstr>
      <vt:lpstr>INTEGRASI - BRIDGING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APLIKASI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long island</dc:creator>
  <cp:lastModifiedBy>SIMRSIPDE</cp:lastModifiedBy>
  <cp:revision>755</cp:revision>
  <dcterms:created xsi:type="dcterms:W3CDTF">2015-10-12T07:46:28Z</dcterms:created>
  <dcterms:modified xsi:type="dcterms:W3CDTF">2019-07-26T00:21:49Z</dcterms:modified>
</cp:coreProperties>
</file>